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3.xml" ContentType="application/vnd.openxmlformats-officedocument.drawingml.chartshapes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3.xml" ContentType="application/vnd.openxmlformats-officedocument.presentationml.notesSl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18.xml" ContentType="application/vnd.openxmlformats-officedocument.presentationml.notesSlid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19.xml" ContentType="application/vnd.openxmlformats-officedocument.presentationml.notesSlide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20.xml" ContentType="application/vnd.openxmlformats-officedocument.presentationml.notesSlide+xml"/>
  <Override PartName="/ppt/charts/chart19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0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0"/>
  </p:notesMasterIdLst>
  <p:sldIdLst>
    <p:sldId id="256" r:id="rId3"/>
    <p:sldId id="5353" r:id="rId4"/>
    <p:sldId id="5356" r:id="rId5"/>
    <p:sldId id="5414" r:id="rId6"/>
    <p:sldId id="5388" r:id="rId7"/>
    <p:sldId id="5415" r:id="rId8"/>
    <p:sldId id="774" r:id="rId9"/>
    <p:sldId id="767" r:id="rId10"/>
    <p:sldId id="5369" r:id="rId11"/>
    <p:sldId id="772" r:id="rId12"/>
    <p:sldId id="5354" r:id="rId13"/>
    <p:sldId id="5371" r:id="rId14"/>
    <p:sldId id="5416" r:id="rId15"/>
    <p:sldId id="5417" r:id="rId16"/>
    <p:sldId id="746" r:id="rId17"/>
    <p:sldId id="5385" r:id="rId18"/>
    <p:sldId id="780" r:id="rId19"/>
    <p:sldId id="5418" r:id="rId20"/>
    <p:sldId id="781" r:id="rId21"/>
    <p:sldId id="5355" r:id="rId22"/>
    <p:sldId id="5375" r:id="rId23"/>
    <p:sldId id="5379" r:id="rId24"/>
    <p:sldId id="5359" r:id="rId25"/>
    <p:sldId id="5419" r:id="rId26"/>
    <p:sldId id="5361" r:id="rId27"/>
    <p:sldId id="5367" r:id="rId28"/>
    <p:sldId id="739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7CE"/>
    <a:srgbClr val="2AAA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25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73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1%20&#1588;&#1575;&#1582;&#1589;%20&#1705;&#1604;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6%20risk-free-rate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8%20&#1601;&#1585;&#1605;&#1608;&#1604;%20&#1711;&#1575;&#1586;%20&#1582;&#1608;&#1575;&#1585;&#1705;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9%20&#1576;&#1608;&#1585;&#1587;%20&#1604;&#1606;&#1583;&#1606;%20&#1602;&#1740;&#1605;&#1578;%20%20&#1608;%20&#1605;&#1608;&#1580;&#1608;&#1583;&#1740;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10%20&#1583;&#1740;&#1578;&#1575;%20&#1601;&#1605;&#1604;&#1740;%20-%20&#1606;&#1605;&#1608;&#1583;&#1575;&#1585;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10%20&#1583;&#1740;&#1578;&#1575;%20&#1601;&#1605;&#1604;&#1740;%20-%20&#1606;&#1605;&#1608;&#1583;&#1575;&#1585;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10%20&#1583;&#1740;&#1578;&#1575;%20&#1601;&#1605;&#1604;&#1740;%20-%20&#1606;&#1605;&#1608;&#1583;&#1575;&#1585;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10%20&#1583;&#1740;&#1578;&#1575;%20&#1601;&#1605;&#1604;&#1740;%20-%20&#1606;&#1605;&#1608;&#1583;&#1575;&#1585;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11%20&#1583;&#1740;&#1578;&#1575;%20&#1601;&#1605;&#1604;&#1740;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11%20&#1583;&#1740;&#1578;&#1575;%20&#1601;&#1605;&#1604;&#1740;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11%20&#1583;&#1740;&#1578;&#1575;%20&#1601;&#1605;&#1604;&#1740;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1%20&#1588;&#1575;&#1582;&#1589;%20&#1705;&#1604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11%20&#1583;&#1740;&#1578;&#1575;%20&#1601;&#1605;&#1604;&#1740;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2%20&#1575;&#1585;&#1586;&#1588;%20&#1605;&#1593;&#1575;&#1605;&#1604;&#1575;&#1578;%20&#1582;&#1585;&#1583;%20&#1576;&#1575;&#1586;&#1575;&#1585;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2%20&#1575;&#1585;&#1586;&#1588;%20&#1605;&#1593;&#1575;&#1605;&#1604;&#1575;&#1578;%20&#1582;&#1585;&#1583;%20&#1576;&#1575;&#1586;&#1575;&#1585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2%20&#1575;&#1585;&#1586;&#1588;%20&#1605;&#1593;&#1575;&#1605;&#1604;&#1575;&#1578;%20&#1582;&#1585;&#1583;%20&#1576;&#1575;&#1586;&#1575;&#1585;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3%20&#1608;&#1585;&#1608;&#1583;%20&#1608;%20&#1582;&#1585;&#1608;&#1580;%20&#1662;&#1608;&#1604;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4%20&#1575;&#1585;&#1586;&#1588;%20&#1583;&#1604;&#1575;&#1585;&#1740;%20&#1576;&#1575;&#1586;&#1575;&#1585;%20&#1587;&#1585;&#1605;&#1575;&#1740;&#1607;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5%20&#1583;&#1604;&#1575;&#1585;%20&#1606;&#1740;&#1605;&#1575;%20&#1608;%20&#1575;&#1586;&#1575;&#1583;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\\kmifs01\005-Investment\&#1711;&#1586;&#1575;&#1585;&#1588;&#1575;&#1578;\&#1711;&#1586;&#1575;&#1585;&#1588;&#1575;&#1578;%20&#1607;&#1601;&#1578;&#1711;&#1740;\New%20folder\05%20&#1583;&#1604;&#1575;&#1585;%20&#1606;&#1740;&#1605;&#1575;%20&#1608;%20&#1575;&#1586;&#1575;&#1583;.xlsx" TargetMode="Externa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 sz="1200"/>
              <a:t>شاخص</a:t>
            </a:r>
            <a:r>
              <a:rPr lang="fa-IR" sz="1200" baseline="0"/>
              <a:t> کل از ابتدای سال</a:t>
            </a:r>
            <a:r>
              <a:rPr lang="en-US" sz="1200" baseline="0"/>
              <a:t>1397 </a:t>
            </a:r>
            <a:endParaRPr lang="fa-IR" sz="12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1105459860558602E-2"/>
          <c:y val="7.4680950084890604E-2"/>
          <c:w val="0.9354774928829106"/>
          <c:h val="0.8301151280939103"/>
        </c:manualLayout>
      </c:layout>
      <c:lineChart>
        <c:grouping val="standard"/>
        <c:varyColors val="0"/>
        <c:ser>
          <c:idx val="0"/>
          <c:order val="0"/>
          <c:tx>
            <c:strRef>
              <c:f>'  بورس ایران-شاخص بورس ایران   '!$C$2</c:f>
              <c:strCache>
                <c:ptCount val="1"/>
                <c:pt idx="0">
                  <c:v> مقدار 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Pt>
            <c:idx val="1440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A600-4ED6-AD43-B001D48714EF}"/>
              </c:ext>
            </c:extLst>
          </c:dPt>
          <c:cat>
            <c:strRef>
              <c:f>'  بورس ایران-شاخص بورس ایران   '!$B$3:$B$1700</c:f>
              <c:strCache>
                <c:ptCount val="1671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6</c:v>
                </c:pt>
                <c:pt idx="12">
                  <c:v>1397-01-27</c:v>
                </c:pt>
                <c:pt idx="13">
                  <c:v>1397-01-28</c:v>
                </c:pt>
                <c:pt idx="14">
                  <c:v>1397-01-29</c:v>
                </c:pt>
                <c:pt idx="15">
                  <c:v>1397-02-01</c:v>
                </c:pt>
                <c:pt idx="16">
                  <c:v>1397-02-02</c:v>
                </c:pt>
                <c:pt idx="17">
                  <c:v>1397-02-03</c:v>
                </c:pt>
                <c:pt idx="18">
                  <c:v>1397-02-04</c:v>
                </c:pt>
                <c:pt idx="19">
                  <c:v>1397-02-05</c:v>
                </c:pt>
                <c:pt idx="20">
                  <c:v>1397-02-08</c:v>
                </c:pt>
                <c:pt idx="21">
                  <c:v>1397-02-09</c:v>
                </c:pt>
                <c:pt idx="22">
                  <c:v>1397-02-10</c:v>
                </c:pt>
                <c:pt idx="23">
                  <c:v>1397-02-11</c:v>
                </c:pt>
                <c:pt idx="24">
                  <c:v>1397-02-15</c:v>
                </c:pt>
                <c:pt idx="25">
                  <c:v>1397-02-16</c:v>
                </c:pt>
                <c:pt idx="26">
                  <c:v>1397-02-17</c:v>
                </c:pt>
                <c:pt idx="27">
                  <c:v>1397-02-18</c:v>
                </c:pt>
                <c:pt idx="28">
                  <c:v>1397-02-19</c:v>
                </c:pt>
                <c:pt idx="29">
                  <c:v>1397-02-22</c:v>
                </c:pt>
                <c:pt idx="30">
                  <c:v>1397-02-23</c:v>
                </c:pt>
                <c:pt idx="31">
                  <c:v>1397-02-24</c:v>
                </c:pt>
                <c:pt idx="32">
                  <c:v>1397-02-25</c:v>
                </c:pt>
                <c:pt idx="33">
                  <c:v>1397-02-26</c:v>
                </c:pt>
                <c:pt idx="34">
                  <c:v>1397-02-29</c:v>
                </c:pt>
                <c:pt idx="35">
                  <c:v>1397-02-30</c:v>
                </c:pt>
                <c:pt idx="36">
                  <c:v>1397-02-31</c:v>
                </c:pt>
                <c:pt idx="37">
                  <c:v>1397-03-01</c:v>
                </c:pt>
                <c:pt idx="38">
                  <c:v>1397-03-02</c:v>
                </c:pt>
                <c:pt idx="39">
                  <c:v>1397-03-05</c:v>
                </c:pt>
                <c:pt idx="40">
                  <c:v>1397-03-06</c:v>
                </c:pt>
                <c:pt idx="41">
                  <c:v>1397-03-07</c:v>
                </c:pt>
                <c:pt idx="42">
                  <c:v>1397-03-08</c:v>
                </c:pt>
                <c:pt idx="43">
                  <c:v>1397-03-09</c:v>
                </c:pt>
                <c:pt idx="44">
                  <c:v>1397-03-12</c:v>
                </c:pt>
                <c:pt idx="45">
                  <c:v>1397-03-13</c:v>
                </c:pt>
                <c:pt idx="46">
                  <c:v>1397-03-19</c:v>
                </c:pt>
                <c:pt idx="47">
                  <c:v>1397-03-20</c:v>
                </c:pt>
                <c:pt idx="48">
                  <c:v>1397-03-21</c:v>
                </c:pt>
                <c:pt idx="49">
                  <c:v>1397-03-22</c:v>
                </c:pt>
                <c:pt idx="50">
                  <c:v>1397-03-23</c:v>
                </c:pt>
                <c:pt idx="51">
                  <c:v>1397-03-27</c:v>
                </c:pt>
                <c:pt idx="52">
                  <c:v>1397-03-28</c:v>
                </c:pt>
                <c:pt idx="53">
                  <c:v>1397-03-29</c:v>
                </c:pt>
                <c:pt idx="54">
                  <c:v>1397-03-30</c:v>
                </c:pt>
                <c:pt idx="55">
                  <c:v>1397-04-02</c:v>
                </c:pt>
                <c:pt idx="56">
                  <c:v>1397-04-03</c:v>
                </c:pt>
                <c:pt idx="57">
                  <c:v>1397-04-04</c:v>
                </c:pt>
                <c:pt idx="58">
                  <c:v>1397-04-05</c:v>
                </c:pt>
                <c:pt idx="59">
                  <c:v>1397-04-06</c:v>
                </c:pt>
                <c:pt idx="60">
                  <c:v>1397-04-09</c:v>
                </c:pt>
                <c:pt idx="61">
                  <c:v>1397-04-10</c:v>
                </c:pt>
                <c:pt idx="62">
                  <c:v>1397-04-11</c:v>
                </c:pt>
                <c:pt idx="63">
                  <c:v>1397-04-12</c:v>
                </c:pt>
                <c:pt idx="64">
                  <c:v>1397-04-13</c:v>
                </c:pt>
                <c:pt idx="65">
                  <c:v>1397-04-16</c:v>
                </c:pt>
                <c:pt idx="66">
                  <c:v>1397-04-17</c:v>
                </c:pt>
                <c:pt idx="67">
                  <c:v>1397-04-19</c:v>
                </c:pt>
                <c:pt idx="68">
                  <c:v>1397-04-20</c:v>
                </c:pt>
                <c:pt idx="69">
                  <c:v>1397-04-23</c:v>
                </c:pt>
                <c:pt idx="70">
                  <c:v>1397-04-24</c:v>
                </c:pt>
                <c:pt idx="71">
                  <c:v>1397-04-25</c:v>
                </c:pt>
                <c:pt idx="72">
                  <c:v>1397-04-26</c:v>
                </c:pt>
                <c:pt idx="73">
                  <c:v>1397-04-27</c:v>
                </c:pt>
                <c:pt idx="74">
                  <c:v>1397-04-30</c:v>
                </c:pt>
                <c:pt idx="75">
                  <c:v>1397-04-31</c:v>
                </c:pt>
                <c:pt idx="76">
                  <c:v>1397-05-01</c:v>
                </c:pt>
                <c:pt idx="77">
                  <c:v>1397-05-02</c:v>
                </c:pt>
                <c:pt idx="78">
                  <c:v>1397-05-03</c:v>
                </c:pt>
                <c:pt idx="79">
                  <c:v>1397-05-06</c:v>
                </c:pt>
                <c:pt idx="80">
                  <c:v>1397-05-07</c:v>
                </c:pt>
                <c:pt idx="81">
                  <c:v>1397-05-08</c:v>
                </c:pt>
                <c:pt idx="82">
                  <c:v>1397-05-09</c:v>
                </c:pt>
                <c:pt idx="83">
                  <c:v>1397-05-10</c:v>
                </c:pt>
                <c:pt idx="84">
                  <c:v>1397-05-13</c:v>
                </c:pt>
                <c:pt idx="85">
                  <c:v>1397-05-14</c:v>
                </c:pt>
                <c:pt idx="86">
                  <c:v>1397-05-15</c:v>
                </c:pt>
                <c:pt idx="87">
                  <c:v>1397-05-16</c:v>
                </c:pt>
                <c:pt idx="88">
                  <c:v>1397-05-17</c:v>
                </c:pt>
                <c:pt idx="89">
                  <c:v>1397-05-20</c:v>
                </c:pt>
                <c:pt idx="90">
                  <c:v>1397-05-21</c:v>
                </c:pt>
                <c:pt idx="91">
                  <c:v>1397-05-22</c:v>
                </c:pt>
                <c:pt idx="92">
                  <c:v>1397-05-23</c:v>
                </c:pt>
                <c:pt idx="93">
                  <c:v>1397-05-24</c:v>
                </c:pt>
                <c:pt idx="94">
                  <c:v>1397-05-27</c:v>
                </c:pt>
                <c:pt idx="95">
                  <c:v>1397-05-28</c:v>
                </c:pt>
                <c:pt idx="96">
                  <c:v>1397-05-29</c:v>
                </c:pt>
                <c:pt idx="97">
                  <c:v>1397-05-30</c:v>
                </c:pt>
                <c:pt idx="98">
                  <c:v>1397-06-03</c:v>
                </c:pt>
                <c:pt idx="99">
                  <c:v>1397-06-04</c:v>
                </c:pt>
                <c:pt idx="100">
                  <c:v>1397-06-05</c:v>
                </c:pt>
                <c:pt idx="101">
                  <c:v>1397-06-06</c:v>
                </c:pt>
                <c:pt idx="102">
                  <c:v>1397-06-07</c:v>
                </c:pt>
                <c:pt idx="103">
                  <c:v>1397-06-10</c:v>
                </c:pt>
                <c:pt idx="104">
                  <c:v>1397-06-11</c:v>
                </c:pt>
                <c:pt idx="105">
                  <c:v>1397-06-12</c:v>
                </c:pt>
                <c:pt idx="106">
                  <c:v>1397-06-13</c:v>
                </c:pt>
                <c:pt idx="107">
                  <c:v>1397-06-14</c:v>
                </c:pt>
                <c:pt idx="108">
                  <c:v>1397-06-17</c:v>
                </c:pt>
                <c:pt idx="109">
                  <c:v>1397-06-18</c:v>
                </c:pt>
                <c:pt idx="110">
                  <c:v>1397-06-19</c:v>
                </c:pt>
                <c:pt idx="111">
                  <c:v>1397-06-20</c:v>
                </c:pt>
                <c:pt idx="112">
                  <c:v>1397-06-21</c:v>
                </c:pt>
                <c:pt idx="113">
                  <c:v>1397-06-24</c:v>
                </c:pt>
                <c:pt idx="114">
                  <c:v>1397-06-25</c:v>
                </c:pt>
                <c:pt idx="115">
                  <c:v>1397-06-26</c:v>
                </c:pt>
                <c:pt idx="116">
                  <c:v>1397-06-27</c:v>
                </c:pt>
                <c:pt idx="117">
                  <c:v>1397-06-31</c:v>
                </c:pt>
                <c:pt idx="118">
                  <c:v>1397-07-01</c:v>
                </c:pt>
                <c:pt idx="119">
                  <c:v>1397-07-02</c:v>
                </c:pt>
                <c:pt idx="120">
                  <c:v>1397-07-03</c:v>
                </c:pt>
                <c:pt idx="121">
                  <c:v>1397-07-04</c:v>
                </c:pt>
                <c:pt idx="122">
                  <c:v>1397-07-07</c:v>
                </c:pt>
                <c:pt idx="123">
                  <c:v>1397-07-08</c:v>
                </c:pt>
                <c:pt idx="124">
                  <c:v>1397-07-09</c:v>
                </c:pt>
                <c:pt idx="125">
                  <c:v>1397-07-10</c:v>
                </c:pt>
                <c:pt idx="126">
                  <c:v>1397-07-11</c:v>
                </c:pt>
                <c:pt idx="127">
                  <c:v>1397-07-14</c:v>
                </c:pt>
                <c:pt idx="128">
                  <c:v>1397-07-15</c:v>
                </c:pt>
                <c:pt idx="129">
                  <c:v>1397-07-16</c:v>
                </c:pt>
                <c:pt idx="130">
                  <c:v>1397-07-17</c:v>
                </c:pt>
                <c:pt idx="131">
                  <c:v>1397-07-18</c:v>
                </c:pt>
                <c:pt idx="132">
                  <c:v>1397-07-21</c:v>
                </c:pt>
                <c:pt idx="133">
                  <c:v>1397-07-22</c:v>
                </c:pt>
                <c:pt idx="134">
                  <c:v>1397-07-23</c:v>
                </c:pt>
                <c:pt idx="135">
                  <c:v>1397-07-24</c:v>
                </c:pt>
                <c:pt idx="136">
                  <c:v>1397-07-25</c:v>
                </c:pt>
                <c:pt idx="137">
                  <c:v>1397-07-28</c:v>
                </c:pt>
                <c:pt idx="138">
                  <c:v>1397-07-29</c:v>
                </c:pt>
                <c:pt idx="139">
                  <c:v>1397-07-30</c:v>
                </c:pt>
                <c:pt idx="140">
                  <c:v>1397-08-01</c:v>
                </c:pt>
                <c:pt idx="141">
                  <c:v>1397-08-02</c:v>
                </c:pt>
                <c:pt idx="142">
                  <c:v>1397-08-05</c:v>
                </c:pt>
                <c:pt idx="143">
                  <c:v>1397-08-06</c:v>
                </c:pt>
                <c:pt idx="144">
                  <c:v>1397-08-07</c:v>
                </c:pt>
                <c:pt idx="145">
                  <c:v>1397-08-09</c:v>
                </c:pt>
                <c:pt idx="146">
                  <c:v>1397-08-12</c:v>
                </c:pt>
                <c:pt idx="147">
                  <c:v>1397-08-13</c:v>
                </c:pt>
                <c:pt idx="148">
                  <c:v>1397-08-14</c:v>
                </c:pt>
                <c:pt idx="149">
                  <c:v>1397-08-15</c:v>
                </c:pt>
                <c:pt idx="150">
                  <c:v>1397-08-19</c:v>
                </c:pt>
                <c:pt idx="151">
                  <c:v>1397-08-20</c:v>
                </c:pt>
                <c:pt idx="152">
                  <c:v>1397-08-21</c:v>
                </c:pt>
                <c:pt idx="153">
                  <c:v>1397-08-22</c:v>
                </c:pt>
                <c:pt idx="154">
                  <c:v>1397-08-23</c:v>
                </c:pt>
                <c:pt idx="155">
                  <c:v>1397-08-26</c:v>
                </c:pt>
                <c:pt idx="156">
                  <c:v>1397-08-27</c:v>
                </c:pt>
                <c:pt idx="157">
                  <c:v>1397-08-28</c:v>
                </c:pt>
                <c:pt idx="158">
                  <c:v>1397-08-29</c:v>
                </c:pt>
                <c:pt idx="159">
                  <c:v>1397-08-30</c:v>
                </c:pt>
                <c:pt idx="160">
                  <c:v>1397-09-03</c:v>
                </c:pt>
                <c:pt idx="161">
                  <c:v>1397-09-05</c:v>
                </c:pt>
                <c:pt idx="162">
                  <c:v>1397-09-06</c:v>
                </c:pt>
                <c:pt idx="163">
                  <c:v>1397-09-07</c:v>
                </c:pt>
                <c:pt idx="164">
                  <c:v>1397-09-10</c:v>
                </c:pt>
                <c:pt idx="165">
                  <c:v>1397-09-11</c:v>
                </c:pt>
                <c:pt idx="166">
                  <c:v>1397-09-12</c:v>
                </c:pt>
                <c:pt idx="167">
                  <c:v>1397-09-13</c:v>
                </c:pt>
                <c:pt idx="168">
                  <c:v>1397-09-14</c:v>
                </c:pt>
                <c:pt idx="169">
                  <c:v>1397-09-17</c:v>
                </c:pt>
                <c:pt idx="170">
                  <c:v>1397-09-18</c:v>
                </c:pt>
                <c:pt idx="171">
                  <c:v>1397-09-19</c:v>
                </c:pt>
                <c:pt idx="172">
                  <c:v>1397-09-20</c:v>
                </c:pt>
                <c:pt idx="173">
                  <c:v>1397-09-21</c:v>
                </c:pt>
                <c:pt idx="174">
                  <c:v>1397-09-24</c:v>
                </c:pt>
                <c:pt idx="175">
                  <c:v>1397-09-25</c:v>
                </c:pt>
                <c:pt idx="176">
                  <c:v>1397-09-26</c:v>
                </c:pt>
                <c:pt idx="177">
                  <c:v>1397-09-27</c:v>
                </c:pt>
                <c:pt idx="178">
                  <c:v>1397-09-28</c:v>
                </c:pt>
                <c:pt idx="179">
                  <c:v>1397-10-01</c:v>
                </c:pt>
                <c:pt idx="180">
                  <c:v>1397-10-02</c:v>
                </c:pt>
                <c:pt idx="181">
                  <c:v>1397-10-03</c:v>
                </c:pt>
                <c:pt idx="182">
                  <c:v>1397-10-04</c:v>
                </c:pt>
                <c:pt idx="183">
                  <c:v>1397-10-05</c:v>
                </c:pt>
                <c:pt idx="184">
                  <c:v>1397-10-08</c:v>
                </c:pt>
                <c:pt idx="185">
                  <c:v>1397-10-09</c:v>
                </c:pt>
                <c:pt idx="186">
                  <c:v>1397-10-10</c:v>
                </c:pt>
                <c:pt idx="187">
                  <c:v>1397-10-11</c:v>
                </c:pt>
                <c:pt idx="188">
                  <c:v>1397-10-12</c:v>
                </c:pt>
                <c:pt idx="189">
                  <c:v>1397-10-15</c:v>
                </c:pt>
                <c:pt idx="190">
                  <c:v>1397-10-16</c:v>
                </c:pt>
                <c:pt idx="191">
                  <c:v>1397-10-17</c:v>
                </c:pt>
                <c:pt idx="192">
                  <c:v>1397-10-18</c:v>
                </c:pt>
                <c:pt idx="193">
                  <c:v>1397-10-19</c:v>
                </c:pt>
                <c:pt idx="194">
                  <c:v>1397-10-22</c:v>
                </c:pt>
                <c:pt idx="195">
                  <c:v>1397-10-23</c:v>
                </c:pt>
                <c:pt idx="196">
                  <c:v>1397-10-24</c:v>
                </c:pt>
                <c:pt idx="197">
                  <c:v>1397-10-25</c:v>
                </c:pt>
                <c:pt idx="198">
                  <c:v>1397-10-26</c:v>
                </c:pt>
                <c:pt idx="199">
                  <c:v>1397-10-29</c:v>
                </c:pt>
                <c:pt idx="200">
                  <c:v>1397-10-30</c:v>
                </c:pt>
                <c:pt idx="201">
                  <c:v>1397-11-01</c:v>
                </c:pt>
                <c:pt idx="202">
                  <c:v>1397-11-02</c:v>
                </c:pt>
                <c:pt idx="203">
                  <c:v>1397-11-03</c:v>
                </c:pt>
                <c:pt idx="204">
                  <c:v>1397-11-06</c:v>
                </c:pt>
                <c:pt idx="205">
                  <c:v>1397-11-07</c:v>
                </c:pt>
                <c:pt idx="206">
                  <c:v>1397-11-08</c:v>
                </c:pt>
                <c:pt idx="207">
                  <c:v>1397-11-09</c:v>
                </c:pt>
                <c:pt idx="208">
                  <c:v>1397-11-10</c:v>
                </c:pt>
                <c:pt idx="209">
                  <c:v>1397-11-13</c:v>
                </c:pt>
                <c:pt idx="210">
                  <c:v>1397-11-14</c:v>
                </c:pt>
                <c:pt idx="211">
                  <c:v>1397-11-15</c:v>
                </c:pt>
                <c:pt idx="212">
                  <c:v>1397-11-16</c:v>
                </c:pt>
                <c:pt idx="213">
                  <c:v>1397-11-17</c:v>
                </c:pt>
                <c:pt idx="214">
                  <c:v>1397-11-21</c:v>
                </c:pt>
                <c:pt idx="215">
                  <c:v>1397-11-23</c:v>
                </c:pt>
                <c:pt idx="216">
                  <c:v>1397-11-24</c:v>
                </c:pt>
                <c:pt idx="217">
                  <c:v>1397-11-27</c:v>
                </c:pt>
                <c:pt idx="218">
                  <c:v>1397-11-28</c:v>
                </c:pt>
                <c:pt idx="219">
                  <c:v>1397-11-29</c:v>
                </c:pt>
                <c:pt idx="220">
                  <c:v>1397-11-30</c:v>
                </c:pt>
                <c:pt idx="221">
                  <c:v>1397-12-01</c:v>
                </c:pt>
                <c:pt idx="222">
                  <c:v>1397-12-04</c:v>
                </c:pt>
                <c:pt idx="223">
                  <c:v>1397-12-05</c:v>
                </c:pt>
                <c:pt idx="224">
                  <c:v>1397-12-06</c:v>
                </c:pt>
                <c:pt idx="225">
                  <c:v>1397-12-07</c:v>
                </c:pt>
                <c:pt idx="226">
                  <c:v>1397-12-08</c:v>
                </c:pt>
                <c:pt idx="227">
                  <c:v>1397-12-11</c:v>
                </c:pt>
                <c:pt idx="228">
                  <c:v>1397-12-12</c:v>
                </c:pt>
                <c:pt idx="229">
                  <c:v>1397-12-13</c:v>
                </c:pt>
                <c:pt idx="230">
                  <c:v>1397-12-14</c:v>
                </c:pt>
                <c:pt idx="231">
                  <c:v>1397-12-15</c:v>
                </c:pt>
                <c:pt idx="232">
                  <c:v>1397-12-18</c:v>
                </c:pt>
                <c:pt idx="233">
                  <c:v>1397-12-19</c:v>
                </c:pt>
                <c:pt idx="234">
                  <c:v>1397-12-20</c:v>
                </c:pt>
                <c:pt idx="235">
                  <c:v>1397-12-21</c:v>
                </c:pt>
                <c:pt idx="236">
                  <c:v>1397-12-22</c:v>
                </c:pt>
                <c:pt idx="237">
                  <c:v>1397-12-25</c:v>
                </c:pt>
                <c:pt idx="238">
                  <c:v>1397-12-26</c:v>
                </c:pt>
                <c:pt idx="239">
                  <c:v>1397-12-27</c:v>
                </c:pt>
                <c:pt idx="240">
                  <c:v>1397-12-28</c:v>
                </c:pt>
                <c:pt idx="241">
                  <c:v>1398-01-05</c:v>
                </c:pt>
                <c:pt idx="242">
                  <c:v>1398-01-06</c:v>
                </c:pt>
                <c:pt idx="243">
                  <c:v>1398-01-07</c:v>
                </c:pt>
                <c:pt idx="244">
                  <c:v>1398-01-10</c:v>
                </c:pt>
                <c:pt idx="245">
                  <c:v>1398-01-11</c:v>
                </c:pt>
                <c:pt idx="246">
                  <c:v>1398-01-17</c:v>
                </c:pt>
                <c:pt idx="247">
                  <c:v>1398-01-18</c:v>
                </c:pt>
                <c:pt idx="248">
                  <c:v>1398-01-19</c:v>
                </c:pt>
                <c:pt idx="249">
                  <c:v>1398-01-20</c:v>
                </c:pt>
                <c:pt idx="250">
                  <c:v>1398-01-21</c:v>
                </c:pt>
                <c:pt idx="251">
                  <c:v>1398-01-24</c:v>
                </c:pt>
                <c:pt idx="252">
                  <c:v>1398-01-25</c:v>
                </c:pt>
                <c:pt idx="253">
                  <c:v>1398-01-26</c:v>
                </c:pt>
                <c:pt idx="254">
                  <c:v>1398-01-27</c:v>
                </c:pt>
                <c:pt idx="255">
                  <c:v>1398-01-28</c:v>
                </c:pt>
                <c:pt idx="256">
                  <c:v>1398-01-31</c:v>
                </c:pt>
                <c:pt idx="257">
                  <c:v>1398-02-02</c:v>
                </c:pt>
                <c:pt idx="258">
                  <c:v>1398-02-03</c:v>
                </c:pt>
                <c:pt idx="259">
                  <c:v>1398-02-04</c:v>
                </c:pt>
                <c:pt idx="260">
                  <c:v>1398-02-07</c:v>
                </c:pt>
                <c:pt idx="261">
                  <c:v>1398-02-08</c:v>
                </c:pt>
                <c:pt idx="262">
                  <c:v>1398-02-09</c:v>
                </c:pt>
                <c:pt idx="263">
                  <c:v>1398-02-10</c:v>
                </c:pt>
                <c:pt idx="264">
                  <c:v>1398-02-11</c:v>
                </c:pt>
                <c:pt idx="265">
                  <c:v>1398-02-14</c:v>
                </c:pt>
                <c:pt idx="266">
                  <c:v>1398-02-15</c:v>
                </c:pt>
                <c:pt idx="267">
                  <c:v>1398-02-16</c:v>
                </c:pt>
                <c:pt idx="268">
                  <c:v>1398-02-17</c:v>
                </c:pt>
                <c:pt idx="269">
                  <c:v>1398-02-18</c:v>
                </c:pt>
                <c:pt idx="270">
                  <c:v>1398-02-21</c:v>
                </c:pt>
                <c:pt idx="271">
                  <c:v>1398-02-22</c:v>
                </c:pt>
                <c:pt idx="272">
                  <c:v>1398-02-23</c:v>
                </c:pt>
                <c:pt idx="273">
                  <c:v>1398-02-24</c:v>
                </c:pt>
                <c:pt idx="274">
                  <c:v>1398-02-25</c:v>
                </c:pt>
                <c:pt idx="275">
                  <c:v>1398-02-28</c:v>
                </c:pt>
                <c:pt idx="276">
                  <c:v>1398-02-29</c:v>
                </c:pt>
                <c:pt idx="277">
                  <c:v>1398-02-30</c:v>
                </c:pt>
                <c:pt idx="278">
                  <c:v>1398-02-31</c:v>
                </c:pt>
                <c:pt idx="279">
                  <c:v>1398-03-01</c:v>
                </c:pt>
                <c:pt idx="280">
                  <c:v>1398-03-04</c:v>
                </c:pt>
                <c:pt idx="281">
                  <c:v>1398-03-05</c:v>
                </c:pt>
                <c:pt idx="282">
                  <c:v>1398-03-07</c:v>
                </c:pt>
                <c:pt idx="283">
                  <c:v>1398-03-08</c:v>
                </c:pt>
                <c:pt idx="284">
                  <c:v>1398-03-11</c:v>
                </c:pt>
                <c:pt idx="285">
                  <c:v>1398-03-12</c:v>
                </c:pt>
                <c:pt idx="286">
                  <c:v>1398-03-13</c:v>
                </c:pt>
                <c:pt idx="287">
                  <c:v>1398-03-18</c:v>
                </c:pt>
                <c:pt idx="288">
                  <c:v>1398-03-19</c:v>
                </c:pt>
                <c:pt idx="289">
                  <c:v>1398-03-20</c:v>
                </c:pt>
                <c:pt idx="290">
                  <c:v>1398-03-21</c:v>
                </c:pt>
                <c:pt idx="291">
                  <c:v>1398-03-22</c:v>
                </c:pt>
                <c:pt idx="292">
                  <c:v>1398-03-25</c:v>
                </c:pt>
                <c:pt idx="293">
                  <c:v>1398-03-26</c:v>
                </c:pt>
                <c:pt idx="294">
                  <c:v>1398-03-27</c:v>
                </c:pt>
                <c:pt idx="295">
                  <c:v>1398-03-28</c:v>
                </c:pt>
                <c:pt idx="296">
                  <c:v>1398-03-29</c:v>
                </c:pt>
                <c:pt idx="297">
                  <c:v>1398-04-01</c:v>
                </c:pt>
                <c:pt idx="298">
                  <c:v>1398-04-02</c:v>
                </c:pt>
                <c:pt idx="299">
                  <c:v>1398-04-03</c:v>
                </c:pt>
                <c:pt idx="300">
                  <c:v>1398-04-04</c:v>
                </c:pt>
                <c:pt idx="301">
                  <c:v>1398-04-05</c:v>
                </c:pt>
                <c:pt idx="302">
                  <c:v>1398-04-09</c:v>
                </c:pt>
                <c:pt idx="303">
                  <c:v>1398-04-10</c:v>
                </c:pt>
                <c:pt idx="304">
                  <c:v>1398-04-11</c:v>
                </c:pt>
                <c:pt idx="305">
                  <c:v>1398-04-12</c:v>
                </c:pt>
                <c:pt idx="306">
                  <c:v>1398-04-15</c:v>
                </c:pt>
                <c:pt idx="307">
                  <c:v>1398-04-16</c:v>
                </c:pt>
                <c:pt idx="308">
                  <c:v>1398-04-17</c:v>
                </c:pt>
                <c:pt idx="309">
                  <c:v>1398-04-18</c:v>
                </c:pt>
                <c:pt idx="310">
                  <c:v>1398-04-19</c:v>
                </c:pt>
                <c:pt idx="311">
                  <c:v>1398-04-22</c:v>
                </c:pt>
                <c:pt idx="312">
                  <c:v>1398-04-23</c:v>
                </c:pt>
                <c:pt idx="313">
                  <c:v>1398-04-24</c:v>
                </c:pt>
                <c:pt idx="314">
                  <c:v>1398-04-25</c:v>
                </c:pt>
                <c:pt idx="315">
                  <c:v>1398-04-26</c:v>
                </c:pt>
                <c:pt idx="316">
                  <c:v>1398-04-29</c:v>
                </c:pt>
                <c:pt idx="317">
                  <c:v>1398-04-30</c:v>
                </c:pt>
                <c:pt idx="318">
                  <c:v>1398-04-31</c:v>
                </c:pt>
                <c:pt idx="319">
                  <c:v>1398-05-01</c:v>
                </c:pt>
                <c:pt idx="320">
                  <c:v>1398-05-02</c:v>
                </c:pt>
                <c:pt idx="321">
                  <c:v>1398-05-05</c:v>
                </c:pt>
                <c:pt idx="322">
                  <c:v>1398-05-06</c:v>
                </c:pt>
                <c:pt idx="323">
                  <c:v>1398-05-07</c:v>
                </c:pt>
                <c:pt idx="324">
                  <c:v>1398-05-08</c:v>
                </c:pt>
                <c:pt idx="325">
                  <c:v>1398-05-09</c:v>
                </c:pt>
                <c:pt idx="326">
                  <c:v>1398-05-12</c:v>
                </c:pt>
                <c:pt idx="327">
                  <c:v>1398-05-13</c:v>
                </c:pt>
                <c:pt idx="328">
                  <c:v>1398-05-14</c:v>
                </c:pt>
                <c:pt idx="329">
                  <c:v>1398-05-15</c:v>
                </c:pt>
                <c:pt idx="330">
                  <c:v>1398-05-16</c:v>
                </c:pt>
                <c:pt idx="331">
                  <c:v>1398-05-19</c:v>
                </c:pt>
                <c:pt idx="332">
                  <c:v>1398-05-20</c:v>
                </c:pt>
                <c:pt idx="333">
                  <c:v>1398-05-22</c:v>
                </c:pt>
                <c:pt idx="334">
                  <c:v>1398-05-23</c:v>
                </c:pt>
                <c:pt idx="335">
                  <c:v>1398-05-26</c:v>
                </c:pt>
                <c:pt idx="336">
                  <c:v>1398-05-27</c:v>
                </c:pt>
                <c:pt idx="337">
                  <c:v>1398-05-28</c:v>
                </c:pt>
                <c:pt idx="338">
                  <c:v>1398-05-30</c:v>
                </c:pt>
                <c:pt idx="339">
                  <c:v>1398-06-02</c:v>
                </c:pt>
                <c:pt idx="340">
                  <c:v>1398-06-03</c:v>
                </c:pt>
                <c:pt idx="341">
                  <c:v>1398-06-04</c:v>
                </c:pt>
                <c:pt idx="342">
                  <c:v>1398-06-05</c:v>
                </c:pt>
                <c:pt idx="343">
                  <c:v>1398-06-06</c:v>
                </c:pt>
                <c:pt idx="344">
                  <c:v>1398-06-09</c:v>
                </c:pt>
                <c:pt idx="345">
                  <c:v>1398-06-10</c:v>
                </c:pt>
                <c:pt idx="346">
                  <c:v>1398-06-11</c:v>
                </c:pt>
                <c:pt idx="347">
                  <c:v>1398-06-12</c:v>
                </c:pt>
                <c:pt idx="348">
                  <c:v>1398-06-13</c:v>
                </c:pt>
                <c:pt idx="349">
                  <c:v>1398-06-16</c:v>
                </c:pt>
                <c:pt idx="350">
                  <c:v>1398-06-17</c:v>
                </c:pt>
                <c:pt idx="351">
                  <c:v>1398-06-20</c:v>
                </c:pt>
                <c:pt idx="352">
                  <c:v>1398-06-23</c:v>
                </c:pt>
                <c:pt idx="353">
                  <c:v>1398-06-24</c:v>
                </c:pt>
                <c:pt idx="354">
                  <c:v>1398-06-25</c:v>
                </c:pt>
                <c:pt idx="355">
                  <c:v>1398-06-26</c:v>
                </c:pt>
                <c:pt idx="356">
                  <c:v>1398-06-27</c:v>
                </c:pt>
                <c:pt idx="357">
                  <c:v>1398-06-30</c:v>
                </c:pt>
                <c:pt idx="358">
                  <c:v>1398-06-31</c:v>
                </c:pt>
                <c:pt idx="359">
                  <c:v>1398-07-01</c:v>
                </c:pt>
                <c:pt idx="360">
                  <c:v>1398-07-02</c:v>
                </c:pt>
                <c:pt idx="361">
                  <c:v>1398-07-03</c:v>
                </c:pt>
                <c:pt idx="362">
                  <c:v>1398-07-06</c:v>
                </c:pt>
                <c:pt idx="363">
                  <c:v>1398-07-07</c:v>
                </c:pt>
                <c:pt idx="364">
                  <c:v>1398-07-08</c:v>
                </c:pt>
                <c:pt idx="365">
                  <c:v>1398-07-09</c:v>
                </c:pt>
                <c:pt idx="366">
                  <c:v>1398-07-10</c:v>
                </c:pt>
                <c:pt idx="367">
                  <c:v>1398-07-13</c:v>
                </c:pt>
                <c:pt idx="368">
                  <c:v>1398-07-14</c:v>
                </c:pt>
                <c:pt idx="369">
                  <c:v>1398-07-15</c:v>
                </c:pt>
                <c:pt idx="370">
                  <c:v>1398-07-16</c:v>
                </c:pt>
                <c:pt idx="371">
                  <c:v>1398-07-17</c:v>
                </c:pt>
                <c:pt idx="372">
                  <c:v>1398-07-20</c:v>
                </c:pt>
                <c:pt idx="373">
                  <c:v>1398-07-21</c:v>
                </c:pt>
                <c:pt idx="374">
                  <c:v>1398-07-22</c:v>
                </c:pt>
                <c:pt idx="375">
                  <c:v>1398-07-23</c:v>
                </c:pt>
                <c:pt idx="376">
                  <c:v>1398-07-24</c:v>
                </c:pt>
                <c:pt idx="377">
                  <c:v>1398-07-28</c:v>
                </c:pt>
                <c:pt idx="378">
                  <c:v>1398-07-29</c:v>
                </c:pt>
                <c:pt idx="379">
                  <c:v>1398-07-30</c:v>
                </c:pt>
                <c:pt idx="380">
                  <c:v>1398-08-01</c:v>
                </c:pt>
                <c:pt idx="381">
                  <c:v>1398-08-04</c:v>
                </c:pt>
                <c:pt idx="382">
                  <c:v>1398-08-06</c:v>
                </c:pt>
                <c:pt idx="383">
                  <c:v>1398-08-08</c:v>
                </c:pt>
                <c:pt idx="384">
                  <c:v>1398-08-11</c:v>
                </c:pt>
                <c:pt idx="385">
                  <c:v>1398-08-12</c:v>
                </c:pt>
                <c:pt idx="386">
                  <c:v>1398-08-13</c:v>
                </c:pt>
                <c:pt idx="387">
                  <c:v>1398-08-14</c:v>
                </c:pt>
                <c:pt idx="388">
                  <c:v>1398-08-18</c:v>
                </c:pt>
                <c:pt idx="389">
                  <c:v>1398-08-19</c:v>
                </c:pt>
                <c:pt idx="390">
                  <c:v>1398-08-20</c:v>
                </c:pt>
                <c:pt idx="391">
                  <c:v>1398-08-21</c:v>
                </c:pt>
                <c:pt idx="392">
                  <c:v>1398-08-22</c:v>
                </c:pt>
                <c:pt idx="393">
                  <c:v>1398-08-25</c:v>
                </c:pt>
                <c:pt idx="394">
                  <c:v>1398-08-26</c:v>
                </c:pt>
                <c:pt idx="395">
                  <c:v>1398-08-27</c:v>
                </c:pt>
                <c:pt idx="396">
                  <c:v>1398-08-28</c:v>
                </c:pt>
                <c:pt idx="397">
                  <c:v>1398-08-29</c:v>
                </c:pt>
                <c:pt idx="398">
                  <c:v>1398-09-02</c:v>
                </c:pt>
                <c:pt idx="399">
                  <c:v>1398-09-03</c:v>
                </c:pt>
                <c:pt idx="400">
                  <c:v>1398-09-04</c:v>
                </c:pt>
                <c:pt idx="401">
                  <c:v>1398-09-05</c:v>
                </c:pt>
                <c:pt idx="402">
                  <c:v>1398-09-06</c:v>
                </c:pt>
                <c:pt idx="403">
                  <c:v>1398-09-09</c:v>
                </c:pt>
                <c:pt idx="404">
                  <c:v>1398-09-10</c:v>
                </c:pt>
                <c:pt idx="405">
                  <c:v>1398-09-11</c:v>
                </c:pt>
                <c:pt idx="406">
                  <c:v>1398-09-12</c:v>
                </c:pt>
                <c:pt idx="407">
                  <c:v>1398-09-13</c:v>
                </c:pt>
                <c:pt idx="408">
                  <c:v>1398-09-16</c:v>
                </c:pt>
                <c:pt idx="409">
                  <c:v>1398-09-17</c:v>
                </c:pt>
                <c:pt idx="410">
                  <c:v>1398-09-18</c:v>
                </c:pt>
                <c:pt idx="411">
                  <c:v>1398-09-19</c:v>
                </c:pt>
                <c:pt idx="412">
                  <c:v>1398-09-20</c:v>
                </c:pt>
                <c:pt idx="413">
                  <c:v>1398-09-23</c:v>
                </c:pt>
                <c:pt idx="414">
                  <c:v>1398-09-24</c:v>
                </c:pt>
                <c:pt idx="415">
                  <c:v>1398-09-25</c:v>
                </c:pt>
                <c:pt idx="416">
                  <c:v>1398-09-26</c:v>
                </c:pt>
                <c:pt idx="417">
                  <c:v>1398-09-27</c:v>
                </c:pt>
                <c:pt idx="418">
                  <c:v>1398-09-30</c:v>
                </c:pt>
                <c:pt idx="419">
                  <c:v>1398-10-01</c:v>
                </c:pt>
                <c:pt idx="420">
                  <c:v>1398-10-02</c:v>
                </c:pt>
                <c:pt idx="421">
                  <c:v>1398-10-03</c:v>
                </c:pt>
                <c:pt idx="422">
                  <c:v>1398-10-04</c:v>
                </c:pt>
                <c:pt idx="423">
                  <c:v>1398-10-07</c:v>
                </c:pt>
                <c:pt idx="424">
                  <c:v>1398-10-08</c:v>
                </c:pt>
                <c:pt idx="425">
                  <c:v>1398-10-09</c:v>
                </c:pt>
                <c:pt idx="426">
                  <c:v>1398-10-10</c:v>
                </c:pt>
                <c:pt idx="427">
                  <c:v>1398-10-11</c:v>
                </c:pt>
                <c:pt idx="428">
                  <c:v>1398-10-14</c:v>
                </c:pt>
                <c:pt idx="429">
                  <c:v>1398-10-15</c:v>
                </c:pt>
                <c:pt idx="430">
                  <c:v>1398-10-17</c:v>
                </c:pt>
                <c:pt idx="431">
                  <c:v>1398-10-18</c:v>
                </c:pt>
                <c:pt idx="432">
                  <c:v>1398-10-21</c:v>
                </c:pt>
                <c:pt idx="433">
                  <c:v>1398-10-22</c:v>
                </c:pt>
                <c:pt idx="434">
                  <c:v>1398-10-23</c:v>
                </c:pt>
                <c:pt idx="435">
                  <c:v>1398-10-24</c:v>
                </c:pt>
                <c:pt idx="436">
                  <c:v>1398-10-25</c:v>
                </c:pt>
                <c:pt idx="437">
                  <c:v>1398-10-28</c:v>
                </c:pt>
                <c:pt idx="438">
                  <c:v>1398-10-29</c:v>
                </c:pt>
                <c:pt idx="439">
                  <c:v>1398-10-30</c:v>
                </c:pt>
                <c:pt idx="440">
                  <c:v>1398-11-01</c:v>
                </c:pt>
                <c:pt idx="441">
                  <c:v>1398-11-02</c:v>
                </c:pt>
                <c:pt idx="442">
                  <c:v>1398-11-05</c:v>
                </c:pt>
                <c:pt idx="443">
                  <c:v>1398-11-06</c:v>
                </c:pt>
                <c:pt idx="444">
                  <c:v>1398-11-07</c:v>
                </c:pt>
                <c:pt idx="445">
                  <c:v>1398-11-08</c:v>
                </c:pt>
                <c:pt idx="446">
                  <c:v>1398-11-12</c:v>
                </c:pt>
                <c:pt idx="447">
                  <c:v>1398-11-13</c:v>
                </c:pt>
                <c:pt idx="448">
                  <c:v>1398-11-14</c:v>
                </c:pt>
                <c:pt idx="449">
                  <c:v>1398-11-15</c:v>
                </c:pt>
                <c:pt idx="450">
                  <c:v>1398-11-16</c:v>
                </c:pt>
                <c:pt idx="451">
                  <c:v>1398-11-19</c:v>
                </c:pt>
                <c:pt idx="452">
                  <c:v>1398-11-20</c:v>
                </c:pt>
                <c:pt idx="453">
                  <c:v>1398-11-21</c:v>
                </c:pt>
                <c:pt idx="454">
                  <c:v>1398-11-23</c:v>
                </c:pt>
                <c:pt idx="455">
                  <c:v>1398-11-26</c:v>
                </c:pt>
                <c:pt idx="456">
                  <c:v>1398-11-27</c:v>
                </c:pt>
                <c:pt idx="457">
                  <c:v>1398-11-28</c:v>
                </c:pt>
                <c:pt idx="458">
                  <c:v>1398-11-29</c:v>
                </c:pt>
                <c:pt idx="459">
                  <c:v>1398-11-30</c:v>
                </c:pt>
                <c:pt idx="460">
                  <c:v>1398-12-03</c:v>
                </c:pt>
                <c:pt idx="461">
                  <c:v>1398-12-04</c:v>
                </c:pt>
                <c:pt idx="462">
                  <c:v>1398-12-05</c:v>
                </c:pt>
                <c:pt idx="463">
                  <c:v>1398-12-06</c:v>
                </c:pt>
                <c:pt idx="464">
                  <c:v>1398-12-07</c:v>
                </c:pt>
                <c:pt idx="465">
                  <c:v>1398-12-10</c:v>
                </c:pt>
                <c:pt idx="466">
                  <c:v>1398-12-11</c:v>
                </c:pt>
                <c:pt idx="467">
                  <c:v>1398-12-12</c:v>
                </c:pt>
                <c:pt idx="468">
                  <c:v>1398-12-13</c:v>
                </c:pt>
                <c:pt idx="469">
                  <c:v>1398-12-14</c:v>
                </c:pt>
                <c:pt idx="470">
                  <c:v>1398-12-17</c:v>
                </c:pt>
                <c:pt idx="471">
                  <c:v>1398-12-19</c:v>
                </c:pt>
                <c:pt idx="472">
                  <c:v>1398-12-20</c:v>
                </c:pt>
                <c:pt idx="473">
                  <c:v>1398-12-21</c:v>
                </c:pt>
                <c:pt idx="474">
                  <c:v>1398-12-24</c:v>
                </c:pt>
                <c:pt idx="475">
                  <c:v>1398-12-25</c:v>
                </c:pt>
                <c:pt idx="476">
                  <c:v>1398-12-26</c:v>
                </c:pt>
                <c:pt idx="477">
                  <c:v>1398-12-27</c:v>
                </c:pt>
                <c:pt idx="478">
                  <c:v>1398-12-28</c:v>
                </c:pt>
                <c:pt idx="479">
                  <c:v>1399-01-05</c:v>
                </c:pt>
                <c:pt idx="480">
                  <c:v>1399-01-06</c:v>
                </c:pt>
                <c:pt idx="481">
                  <c:v>1399-01-09</c:v>
                </c:pt>
                <c:pt idx="482">
                  <c:v>1399-01-10</c:v>
                </c:pt>
                <c:pt idx="483">
                  <c:v>1399-01-11</c:v>
                </c:pt>
                <c:pt idx="484">
                  <c:v>1399-01-16</c:v>
                </c:pt>
                <c:pt idx="485">
                  <c:v>1399-01-17</c:v>
                </c:pt>
                <c:pt idx="486">
                  <c:v>1399-01-18</c:v>
                </c:pt>
                <c:pt idx="487">
                  <c:v>1399-01-19</c:v>
                </c:pt>
                <c:pt idx="488">
                  <c:v>1399-01-20</c:v>
                </c:pt>
                <c:pt idx="489">
                  <c:v>1399-01-23</c:v>
                </c:pt>
                <c:pt idx="490">
                  <c:v>1399-01-24</c:v>
                </c:pt>
                <c:pt idx="491">
                  <c:v>1399-01-25</c:v>
                </c:pt>
                <c:pt idx="492">
                  <c:v>1399-01-26</c:v>
                </c:pt>
                <c:pt idx="493">
                  <c:v>1399-01-27</c:v>
                </c:pt>
                <c:pt idx="494">
                  <c:v>1399-01-30</c:v>
                </c:pt>
                <c:pt idx="495">
                  <c:v>1399-01-31</c:v>
                </c:pt>
                <c:pt idx="496">
                  <c:v>1399-02-01</c:v>
                </c:pt>
                <c:pt idx="497">
                  <c:v>1399-02-02</c:v>
                </c:pt>
                <c:pt idx="498">
                  <c:v>1399-02-03</c:v>
                </c:pt>
                <c:pt idx="499">
                  <c:v>1399-02-06</c:v>
                </c:pt>
                <c:pt idx="500">
                  <c:v>1399-02-07</c:v>
                </c:pt>
                <c:pt idx="501">
                  <c:v>1399-02-08</c:v>
                </c:pt>
                <c:pt idx="502">
                  <c:v>1399-02-09</c:v>
                </c:pt>
                <c:pt idx="503">
                  <c:v>1399-02-10</c:v>
                </c:pt>
                <c:pt idx="504">
                  <c:v>1399-02-13</c:v>
                </c:pt>
                <c:pt idx="505">
                  <c:v>1399-02-14</c:v>
                </c:pt>
                <c:pt idx="506">
                  <c:v>1399-02-15</c:v>
                </c:pt>
                <c:pt idx="507">
                  <c:v>1399-02-16</c:v>
                </c:pt>
                <c:pt idx="508">
                  <c:v>1399-02-17</c:v>
                </c:pt>
                <c:pt idx="509">
                  <c:v>1399-02-20</c:v>
                </c:pt>
                <c:pt idx="510">
                  <c:v>1399-02-21</c:v>
                </c:pt>
                <c:pt idx="511">
                  <c:v>1399-02-22</c:v>
                </c:pt>
                <c:pt idx="512">
                  <c:v>1399-02-23</c:v>
                </c:pt>
                <c:pt idx="513">
                  <c:v>1399-02-24</c:v>
                </c:pt>
                <c:pt idx="514">
                  <c:v>1399-02-27</c:v>
                </c:pt>
                <c:pt idx="515">
                  <c:v>1399-02-28</c:v>
                </c:pt>
                <c:pt idx="516">
                  <c:v>1399-02-29</c:v>
                </c:pt>
                <c:pt idx="517">
                  <c:v>1399-02-30</c:v>
                </c:pt>
                <c:pt idx="518">
                  <c:v>1399-02-31</c:v>
                </c:pt>
                <c:pt idx="519">
                  <c:v>1399-03-03</c:v>
                </c:pt>
                <c:pt idx="520">
                  <c:v>1399-03-06</c:v>
                </c:pt>
                <c:pt idx="521">
                  <c:v>1399-03-07</c:v>
                </c:pt>
                <c:pt idx="522">
                  <c:v>1399-03-10</c:v>
                </c:pt>
                <c:pt idx="523">
                  <c:v>1399-03-11</c:v>
                </c:pt>
                <c:pt idx="524">
                  <c:v>1399-03-12</c:v>
                </c:pt>
                <c:pt idx="525">
                  <c:v>1399-03-13</c:v>
                </c:pt>
                <c:pt idx="526">
                  <c:v>1399-03-17</c:v>
                </c:pt>
                <c:pt idx="527">
                  <c:v>1399-03-18</c:v>
                </c:pt>
                <c:pt idx="528">
                  <c:v>1399-03-19</c:v>
                </c:pt>
                <c:pt idx="529">
                  <c:v>1399-03-20</c:v>
                </c:pt>
                <c:pt idx="530">
                  <c:v>1399-03-21</c:v>
                </c:pt>
                <c:pt idx="531">
                  <c:v>1399-03-24</c:v>
                </c:pt>
                <c:pt idx="532">
                  <c:v>1399-03-25</c:v>
                </c:pt>
                <c:pt idx="533">
                  <c:v>1399-03-26</c:v>
                </c:pt>
                <c:pt idx="534">
                  <c:v>1399-03-27</c:v>
                </c:pt>
                <c:pt idx="535">
                  <c:v>1399-03-31</c:v>
                </c:pt>
                <c:pt idx="536">
                  <c:v>1399-04-01</c:v>
                </c:pt>
                <c:pt idx="537">
                  <c:v>1399-04-02</c:v>
                </c:pt>
                <c:pt idx="538">
                  <c:v>1399-04-03</c:v>
                </c:pt>
                <c:pt idx="539">
                  <c:v>1399-04-04</c:v>
                </c:pt>
                <c:pt idx="540">
                  <c:v>1399-04-07</c:v>
                </c:pt>
                <c:pt idx="541">
                  <c:v>1399-04-08</c:v>
                </c:pt>
                <c:pt idx="542">
                  <c:v>1399-04-09</c:v>
                </c:pt>
                <c:pt idx="543">
                  <c:v>1399-04-10</c:v>
                </c:pt>
                <c:pt idx="544">
                  <c:v>1399-04-11</c:v>
                </c:pt>
                <c:pt idx="545">
                  <c:v>1399-04-14</c:v>
                </c:pt>
                <c:pt idx="546">
                  <c:v>1399-04-15</c:v>
                </c:pt>
                <c:pt idx="547">
                  <c:v>1399-04-16</c:v>
                </c:pt>
                <c:pt idx="548">
                  <c:v>1399-04-17</c:v>
                </c:pt>
                <c:pt idx="549">
                  <c:v>1399-04-18</c:v>
                </c:pt>
                <c:pt idx="550">
                  <c:v>1399-04-21</c:v>
                </c:pt>
                <c:pt idx="551">
                  <c:v>1399-04-22</c:v>
                </c:pt>
                <c:pt idx="552">
                  <c:v>1399-04-23</c:v>
                </c:pt>
                <c:pt idx="553">
                  <c:v>1399-04-24</c:v>
                </c:pt>
                <c:pt idx="554">
                  <c:v>1399-04-25</c:v>
                </c:pt>
                <c:pt idx="555">
                  <c:v>1399-04-28</c:v>
                </c:pt>
                <c:pt idx="556">
                  <c:v>1399-04-29</c:v>
                </c:pt>
                <c:pt idx="557">
                  <c:v>1399-04-30</c:v>
                </c:pt>
                <c:pt idx="558">
                  <c:v>1399-04-31</c:v>
                </c:pt>
                <c:pt idx="559">
                  <c:v>1399-05-01</c:v>
                </c:pt>
                <c:pt idx="560">
                  <c:v>1399-05-04</c:v>
                </c:pt>
                <c:pt idx="561">
                  <c:v>1399-05-05</c:v>
                </c:pt>
                <c:pt idx="562">
                  <c:v>1399-05-06</c:v>
                </c:pt>
                <c:pt idx="563">
                  <c:v>1399-05-07</c:v>
                </c:pt>
                <c:pt idx="564">
                  <c:v>1399-05-08</c:v>
                </c:pt>
                <c:pt idx="565">
                  <c:v>1399-05-11</c:v>
                </c:pt>
                <c:pt idx="566">
                  <c:v>1399-05-12</c:v>
                </c:pt>
                <c:pt idx="567">
                  <c:v>1399-05-13</c:v>
                </c:pt>
                <c:pt idx="568">
                  <c:v>1399-05-14</c:v>
                </c:pt>
                <c:pt idx="569">
                  <c:v>1399-05-15</c:v>
                </c:pt>
                <c:pt idx="570">
                  <c:v>1399-05-19</c:v>
                </c:pt>
                <c:pt idx="571">
                  <c:v>1399-05-20</c:v>
                </c:pt>
                <c:pt idx="572">
                  <c:v>1399-05-21</c:v>
                </c:pt>
                <c:pt idx="573">
                  <c:v>1399-05-22</c:v>
                </c:pt>
                <c:pt idx="574">
                  <c:v>1399-05-25</c:v>
                </c:pt>
                <c:pt idx="575">
                  <c:v>1399-05-26</c:v>
                </c:pt>
                <c:pt idx="576">
                  <c:v>1399-05-27</c:v>
                </c:pt>
                <c:pt idx="577">
                  <c:v>1399-05-28</c:v>
                </c:pt>
                <c:pt idx="578">
                  <c:v>1399-05-29</c:v>
                </c:pt>
                <c:pt idx="579">
                  <c:v>1399-06-01</c:v>
                </c:pt>
                <c:pt idx="580">
                  <c:v>1399-06-02</c:v>
                </c:pt>
                <c:pt idx="581">
                  <c:v>1399-06-03</c:v>
                </c:pt>
                <c:pt idx="582">
                  <c:v>1399-06-04</c:v>
                </c:pt>
                <c:pt idx="583">
                  <c:v>1399-06-05</c:v>
                </c:pt>
                <c:pt idx="584">
                  <c:v>1399-06-10</c:v>
                </c:pt>
                <c:pt idx="585">
                  <c:v>1399-06-11</c:v>
                </c:pt>
                <c:pt idx="586">
                  <c:v>1399-06-12</c:v>
                </c:pt>
                <c:pt idx="587">
                  <c:v>1399-06-15</c:v>
                </c:pt>
                <c:pt idx="588">
                  <c:v>1399-06-16</c:v>
                </c:pt>
                <c:pt idx="589">
                  <c:v>1399-06-17</c:v>
                </c:pt>
                <c:pt idx="590">
                  <c:v>1399-06-18</c:v>
                </c:pt>
                <c:pt idx="591">
                  <c:v>1399-06-19</c:v>
                </c:pt>
                <c:pt idx="592">
                  <c:v>1399-06-22</c:v>
                </c:pt>
                <c:pt idx="593">
                  <c:v>1399-06-23</c:v>
                </c:pt>
                <c:pt idx="594">
                  <c:v>1399-06-24</c:v>
                </c:pt>
                <c:pt idx="595">
                  <c:v>1399-06-25</c:v>
                </c:pt>
                <c:pt idx="596">
                  <c:v>1399-06-26</c:v>
                </c:pt>
                <c:pt idx="597">
                  <c:v>1399-06-29</c:v>
                </c:pt>
                <c:pt idx="598">
                  <c:v>1399-06-30</c:v>
                </c:pt>
                <c:pt idx="599">
                  <c:v>1399-06-31</c:v>
                </c:pt>
                <c:pt idx="600">
                  <c:v>1399-07-01</c:v>
                </c:pt>
                <c:pt idx="601">
                  <c:v>1399-07-02</c:v>
                </c:pt>
                <c:pt idx="602">
                  <c:v>1399-07-05</c:v>
                </c:pt>
                <c:pt idx="603">
                  <c:v>1399-07-06</c:v>
                </c:pt>
                <c:pt idx="604">
                  <c:v>1399-07-07</c:v>
                </c:pt>
                <c:pt idx="605">
                  <c:v>1399-07-08</c:v>
                </c:pt>
                <c:pt idx="606">
                  <c:v>1399-07-09</c:v>
                </c:pt>
                <c:pt idx="607">
                  <c:v>1399-07-12</c:v>
                </c:pt>
                <c:pt idx="608">
                  <c:v>1399-07-13</c:v>
                </c:pt>
                <c:pt idx="609">
                  <c:v>1399-07-14</c:v>
                </c:pt>
                <c:pt idx="610">
                  <c:v>1399-07-15</c:v>
                </c:pt>
                <c:pt idx="611">
                  <c:v>1399-07-16</c:v>
                </c:pt>
                <c:pt idx="612">
                  <c:v>1399-07-19</c:v>
                </c:pt>
                <c:pt idx="613">
                  <c:v>1399-07-20</c:v>
                </c:pt>
                <c:pt idx="614">
                  <c:v>1399-07-21</c:v>
                </c:pt>
                <c:pt idx="615">
                  <c:v>1399-07-22</c:v>
                </c:pt>
                <c:pt idx="616">
                  <c:v>1399-07-23</c:v>
                </c:pt>
                <c:pt idx="617">
                  <c:v>1399-07-27</c:v>
                </c:pt>
                <c:pt idx="618">
                  <c:v>1399-07-28</c:v>
                </c:pt>
                <c:pt idx="619">
                  <c:v>1399-07-29</c:v>
                </c:pt>
                <c:pt idx="620">
                  <c:v>1399-07-30</c:v>
                </c:pt>
                <c:pt idx="621">
                  <c:v>1399-08-03</c:v>
                </c:pt>
                <c:pt idx="622">
                  <c:v>1399-08-05</c:v>
                </c:pt>
                <c:pt idx="623">
                  <c:v>1399-08-06</c:v>
                </c:pt>
                <c:pt idx="624">
                  <c:v>1399-08-07</c:v>
                </c:pt>
                <c:pt idx="625">
                  <c:v>1399-08-10</c:v>
                </c:pt>
                <c:pt idx="626">
                  <c:v>1399-08-11</c:v>
                </c:pt>
                <c:pt idx="627">
                  <c:v>1399-08-12</c:v>
                </c:pt>
                <c:pt idx="628">
                  <c:v>1399-08-14</c:v>
                </c:pt>
                <c:pt idx="629">
                  <c:v>1399-08-17</c:v>
                </c:pt>
                <c:pt idx="630">
                  <c:v>1399-08-18</c:v>
                </c:pt>
                <c:pt idx="631">
                  <c:v>1399-08-19</c:v>
                </c:pt>
                <c:pt idx="632">
                  <c:v>1399-08-20</c:v>
                </c:pt>
                <c:pt idx="633">
                  <c:v>1399-08-21</c:v>
                </c:pt>
                <c:pt idx="634">
                  <c:v>1399-08-24</c:v>
                </c:pt>
                <c:pt idx="635">
                  <c:v>1399-08-25</c:v>
                </c:pt>
                <c:pt idx="636">
                  <c:v>1399-08-26</c:v>
                </c:pt>
                <c:pt idx="637">
                  <c:v>1399-08-27</c:v>
                </c:pt>
                <c:pt idx="638">
                  <c:v>1399-08-28</c:v>
                </c:pt>
                <c:pt idx="639">
                  <c:v>1399-09-01</c:v>
                </c:pt>
                <c:pt idx="640">
                  <c:v>1399-09-02</c:v>
                </c:pt>
                <c:pt idx="641">
                  <c:v>1399-09-03</c:v>
                </c:pt>
                <c:pt idx="642">
                  <c:v>1399-09-04</c:v>
                </c:pt>
                <c:pt idx="643">
                  <c:v>1399-09-05</c:v>
                </c:pt>
                <c:pt idx="644">
                  <c:v>1399-09-08</c:v>
                </c:pt>
                <c:pt idx="645">
                  <c:v>1399-09-09</c:v>
                </c:pt>
                <c:pt idx="646">
                  <c:v>1399-09-10</c:v>
                </c:pt>
                <c:pt idx="647">
                  <c:v>1399-09-11</c:v>
                </c:pt>
                <c:pt idx="648">
                  <c:v>1399-09-12</c:v>
                </c:pt>
                <c:pt idx="649">
                  <c:v>1399-09-15</c:v>
                </c:pt>
                <c:pt idx="650">
                  <c:v>1399-09-16</c:v>
                </c:pt>
                <c:pt idx="651">
                  <c:v>1399-09-17</c:v>
                </c:pt>
                <c:pt idx="652">
                  <c:v>1399-09-18</c:v>
                </c:pt>
                <c:pt idx="653">
                  <c:v>1399-09-19</c:v>
                </c:pt>
                <c:pt idx="654">
                  <c:v>1399-09-22</c:v>
                </c:pt>
                <c:pt idx="655">
                  <c:v>1399-09-23</c:v>
                </c:pt>
                <c:pt idx="656">
                  <c:v>1399-09-24</c:v>
                </c:pt>
                <c:pt idx="657">
                  <c:v>1399-09-25</c:v>
                </c:pt>
                <c:pt idx="658">
                  <c:v>1399-09-26</c:v>
                </c:pt>
                <c:pt idx="659">
                  <c:v>1399-09-29</c:v>
                </c:pt>
                <c:pt idx="660">
                  <c:v>1399-09-30</c:v>
                </c:pt>
                <c:pt idx="661">
                  <c:v>1399-10-01</c:v>
                </c:pt>
                <c:pt idx="662">
                  <c:v>1399-10-02</c:v>
                </c:pt>
                <c:pt idx="663">
                  <c:v>1399-10-03</c:v>
                </c:pt>
                <c:pt idx="664">
                  <c:v>1399-10-06</c:v>
                </c:pt>
                <c:pt idx="665">
                  <c:v>1399-10-07</c:v>
                </c:pt>
                <c:pt idx="666">
                  <c:v>1399-10-08</c:v>
                </c:pt>
                <c:pt idx="667">
                  <c:v>1399-10-09</c:v>
                </c:pt>
                <c:pt idx="668">
                  <c:v>1399-10-10</c:v>
                </c:pt>
                <c:pt idx="669">
                  <c:v>1399-10-13</c:v>
                </c:pt>
                <c:pt idx="670">
                  <c:v>1399-10-14</c:v>
                </c:pt>
                <c:pt idx="671">
                  <c:v>1399-10-15</c:v>
                </c:pt>
                <c:pt idx="672">
                  <c:v>1399-10-16</c:v>
                </c:pt>
                <c:pt idx="673">
                  <c:v>1399-10-17</c:v>
                </c:pt>
                <c:pt idx="674">
                  <c:v>1399-10-20</c:v>
                </c:pt>
                <c:pt idx="675">
                  <c:v>1399-10-21</c:v>
                </c:pt>
                <c:pt idx="676">
                  <c:v>1399-10-22</c:v>
                </c:pt>
                <c:pt idx="677">
                  <c:v>1399-10-23</c:v>
                </c:pt>
                <c:pt idx="678">
                  <c:v>1399-10-24</c:v>
                </c:pt>
                <c:pt idx="679">
                  <c:v>1399-10-27</c:v>
                </c:pt>
                <c:pt idx="680">
                  <c:v>1399-10-29</c:v>
                </c:pt>
                <c:pt idx="681">
                  <c:v>1399-10-30</c:v>
                </c:pt>
                <c:pt idx="682">
                  <c:v>1399-11-01</c:v>
                </c:pt>
                <c:pt idx="683">
                  <c:v>1399-11-04</c:v>
                </c:pt>
                <c:pt idx="684">
                  <c:v>1399-11-05</c:v>
                </c:pt>
                <c:pt idx="685">
                  <c:v>1399-11-06</c:v>
                </c:pt>
                <c:pt idx="686">
                  <c:v>1399-11-07</c:v>
                </c:pt>
                <c:pt idx="687">
                  <c:v>1399-11-08</c:v>
                </c:pt>
                <c:pt idx="688">
                  <c:v>1399-11-11</c:v>
                </c:pt>
                <c:pt idx="689">
                  <c:v>1399-11-12</c:v>
                </c:pt>
                <c:pt idx="690">
                  <c:v>1399-11-13</c:v>
                </c:pt>
                <c:pt idx="691">
                  <c:v>1399-11-14</c:v>
                </c:pt>
                <c:pt idx="692">
                  <c:v>1399-11-15</c:v>
                </c:pt>
                <c:pt idx="693">
                  <c:v>1399-11-18</c:v>
                </c:pt>
                <c:pt idx="694">
                  <c:v>1399-11-19</c:v>
                </c:pt>
                <c:pt idx="695">
                  <c:v>1399-11-20</c:v>
                </c:pt>
                <c:pt idx="696">
                  <c:v>1399-11-21</c:v>
                </c:pt>
                <c:pt idx="697">
                  <c:v>1399-11-25</c:v>
                </c:pt>
                <c:pt idx="698">
                  <c:v>1399-11-26</c:v>
                </c:pt>
                <c:pt idx="699">
                  <c:v>1399-11-27</c:v>
                </c:pt>
                <c:pt idx="700">
                  <c:v>1399-11-28</c:v>
                </c:pt>
                <c:pt idx="701">
                  <c:v>1399-11-29</c:v>
                </c:pt>
                <c:pt idx="702">
                  <c:v>1399-12-02</c:v>
                </c:pt>
                <c:pt idx="703">
                  <c:v>1399-12-03</c:v>
                </c:pt>
                <c:pt idx="704">
                  <c:v>1399-12-04</c:v>
                </c:pt>
                <c:pt idx="705">
                  <c:v>1399-12-05</c:v>
                </c:pt>
                <c:pt idx="706">
                  <c:v>1399-12-06</c:v>
                </c:pt>
                <c:pt idx="707">
                  <c:v>1399-12-09</c:v>
                </c:pt>
                <c:pt idx="708">
                  <c:v>1399-12-10</c:v>
                </c:pt>
                <c:pt idx="709">
                  <c:v>1399-12-11</c:v>
                </c:pt>
                <c:pt idx="710">
                  <c:v>1399-12-12</c:v>
                </c:pt>
                <c:pt idx="711">
                  <c:v>1399-12-13</c:v>
                </c:pt>
                <c:pt idx="712">
                  <c:v>1399-12-16</c:v>
                </c:pt>
                <c:pt idx="713">
                  <c:v>1399-12-17</c:v>
                </c:pt>
                <c:pt idx="714">
                  <c:v>1399-12-18</c:v>
                </c:pt>
                <c:pt idx="715">
                  <c:v>1399-12-19</c:v>
                </c:pt>
                <c:pt idx="716">
                  <c:v>1399-12-20</c:v>
                </c:pt>
                <c:pt idx="717">
                  <c:v>1399-12-23</c:v>
                </c:pt>
                <c:pt idx="718">
                  <c:v>1399-12-24</c:v>
                </c:pt>
                <c:pt idx="719">
                  <c:v>1399-12-25</c:v>
                </c:pt>
                <c:pt idx="720">
                  <c:v>1399-12-26</c:v>
                </c:pt>
                <c:pt idx="721">
                  <c:v>1399-12-27</c:v>
                </c:pt>
                <c:pt idx="722">
                  <c:v>1400-01-07</c:v>
                </c:pt>
                <c:pt idx="723">
                  <c:v>1400-01-08</c:v>
                </c:pt>
                <c:pt idx="724">
                  <c:v>1400-01-10</c:v>
                </c:pt>
                <c:pt idx="725">
                  <c:v>1400-01-11</c:v>
                </c:pt>
                <c:pt idx="726">
                  <c:v>1400-01-14</c:v>
                </c:pt>
                <c:pt idx="727">
                  <c:v>1400-01-15</c:v>
                </c:pt>
                <c:pt idx="728">
                  <c:v>1400-01-16</c:v>
                </c:pt>
                <c:pt idx="729">
                  <c:v>1400-01-17</c:v>
                </c:pt>
                <c:pt idx="730">
                  <c:v>1400-01-18</c:v>
                </c:pt>
                <c:pt idx="731">
                  <c:v>1400-01-21</c:v>
                </c:pt>
                <c:pt idx="732">
                  <c:v>1400-01-22</c:v>
                </c:pt>
                <c:pt idx="733">
                  <c:v>1400-01-23</c:v>
                </c:pt>
                <c:pt idx="734">
                  <c:v>1400-01-24</c:v>
                </c:pt>
                <c:pt idx="735">
                  <c:v>1400-01-25</c:v>
                </c:pt>
                <c:pt idx="736">
                  <c:v>1400-01-28</c:v>
                </c:pt>
                <c:pt idx="737">
                  <c:v>1400-01-29</c:v>
                </c:pt>
                <c:pt idx="738">
                  <c:v>1400-01-30</c:v>
                </c:pt>
                <c:pt idx="739">
                  <c:v>1400-01-31</c:v>
                </c:pt>
                <c:pt idx="740">
                  <c:v>1400-02-01</c:v>
                </c:pt>
                <c:pt idx="741">
                  <c:v>1400-02-04</c:v>
                </c:pt>
                <c:pt idx="742">
                  <c:v>1400-02-05</c:v>
                </c:pt>
                <c:pt idx="743">
                  <c:v>1400-02-06</c:v>
                </c:pt>
                <c:pt idx="744">
                  <c:v>1400-02-07</c:v>
                </c:pt>
                <c:pt idx="745">
                  <c:v>1400-02-08</c:v>
                </c:pt>
                <c:pt idx="746">
                  <c:v>1400-02-11</c:v>
                </c:pt>
                <c:pt idx="747">
                  <c:v>1400-02-12</c:v>
                </c:pt>
                <c:pt idx="748">
                  <c:v>1400-02-13</c:v>
                </c:pt>
                <c:pt idx="749">
                  <c:v>1400-02-15</c:v>
                </c:pt>
                <c:pt idx="750">
                  <c:v>1400-02-18</c:v>
                </c:pt>
                <c:pt idx="751">
                  <c:v>1400-02-19</c:v>
                </c:pt>
                <c:pt idx="752">
                  <c:v>1400-02-20</c:v>
                </c:pt>
                <c:pt idx="753">
                  <c:v>1400-02-21</c:v>
                </c:pt>
                <c:pt idx="754">
                  <c:v>1400-02-22</c:v>
                </c:pt>
                <c:pt idx="755">
                  <c:v>1400-02-25</c:v>
                </c:pt>
                <c:pt idx="756">
                  <c:v>1400-02-26</c:v>
                </c:pt>
                <c:pt idx="757">
                  <c:v>1400-02-27</c:v>
                </c:pt>
                <c:pt idx="758">
                  <c:v>1400-02-28</c:v>
                </c:pt>
                <c:pt idx="759">
                  <c:v>1400-02-29</c:v>
                </c:pt>
                <c:pt idx="760">
                  <c:v>1400-03-01</c:v>
                </c:pt>
                <c:pt idx="761">
                  <c:v>1400-03-02</c:v>
                </c:pt>
                <c:pt idx="762">
                  <c:v>1400-03-03</c:v>
                </c:pt>
                <c:pt idx="763">
                  <c:v>1400-03-04</c:v>
                </c:pt>
                <c:pt idx="764">
                  <c:v>1400-03-05</c:v>
                </c:pt>
                <c:pt idx="765">
                  <c:v>1400-03-08</c:v>
                </c:pt>
                <c:pt idx="766">
                  <c:v>1400-03-09</c:v>
                </c:pt>
                <c:pt idx="767">
                  <c:v>1400-03-10</c:v>
                </c:pt>
                <c:pt idx="768">
                  <c:v>1400-03-11</c:v>
                </c:pt>
                <c:pt idx="769">
                  <c:v>1400-03-12</c:v>
                </c:pt>
                <c:pt idx="770">
                  <c:v>1400-03-17</c:v>
                </c:pt>
                <c:pt idx="771">
                  <c:v>1400-03-18</c:v>
                </c:pt>
                <c:pt idx="772">
                  <c:v>1400-03-19</c:v>
                </c:pt>
                <c:pt idx="773">
                  <c:v>1400-03-22</c:v>
                </c:pt>
                <c:pt idx="774">
                  <c:v>1400-03-23</c:v>
                </c:pt>
                <c:pt idx="775">
                  <c:v>1400-03-24</c:v>
                </c:pt>
                <c:pt idx="776">
                  <c:v>1400-03-25</c:v>
                </c:pt>
                <c:pt idx="777">
                  <c:v>1400-03-26</c:v>
                </c:pt>
                <c:pt idx="778">
                  <c:v>1400-03-29</c:v>
                </c:pt>
                <c:pt idx="779">
                  <c:v>1400-03-30</c:v>
                </c:pt>
                <c:pt idx="780">
                  <c:v>1400-03-31</c:v>
                </c:pt>
                <c:pt idx="781">
                  <c:v>1400-04-01</c:v>
                </c:pt>
                <c:pt idx="782">
                  <c:v>1400-04-02</c:v>
                </c:pt>
                <c:pt idx="783">
                  <c:v>1400-04-05</c:v>
                </c:pt>
                <c:pt idx="784">
                  <c:v>1400-04-06</c:v>
                </c:pt>
                <c:pt idx="785">
                  <c:v>1400-04-07</c:v>
                </c:pt>
                <c:pt idx="786">
                  <c:v>1400-04-08</c:v>
                </c:pt>
                <c:pt idx="787">
                  <c:v>1400-04-09</c:v>
                </c:pt>
                <c:pt idx="788">
                  <c:v>1400-04-12</c:v>
                </c:pt>
                <c:pt idx="789">
                  <c:v>1400-04-13</c:v>
                </c:pt>
                <c:pt idx="790">
                  <c:v>1400-04-14</c:v>
                </c:pt>
                <c:pt idx="791">
                  <c:v>1400-04-15</c:v>
                </c:pt>
                <c:pt idx="792">
                  <c:v>1400-04-16</c:v>
                </c:pt>
                <c:pt idx="793">
                  <c:v>1400-04-19</c:v>
                </c:pt>
                <c:pt idx="794">
                  <c:v>1400-04-20</c:v>
                </c:pt>
                <c:pt idx="795">
                  <c:v>1400-04-21</c:v>
                </c:pt>
                <c:pt idx="796">
                  <c:v>1400-04-22</c:v>
                </c:pt>
                <c:pt idx="797">
                  <c:v>1400-04-23</c:v>
                </c:pt>
                <c:pt idx="798">
                  <c:v>1400-04-26</c:v>
                </c:pt>
                <c:pt idx="799">
                  <c:v>1400-04-27</c:v>
                </c:pt>
                <c:pt idx="800">
                  <c:v>1400-04-28</c:v>
                </c:pt>
                <c:pt idx="801">
                  <c:v>1400-05-04</c:v>
                </c:pt>
                <c:pt idx="802">
                  <c:v>1400-05-05</c:v>
                </c:pt>
                <c:pt idx="803">
                  <c:v>1400-05-06</c:v>
                </c:pt>
                <c:pt idx="804">
                  <c:v>1400-05-09</c:v>
                </c:pt>
                <c:pt idx="805">
                  <c:v>1400-05-10</c:v>
                </c:pt>
                <c:pt idx="806">
                  <c:v>1400-05-11</c:v>
                </c:pt>
                <c:pt idx="807">
                  <c:v>1400-05-12</c:v>
                </c:pt>
                <c:pt idx="808">
                  <c:v>1400-05-13</c:v>
                </c:pt>
                <c:pt idx="809">
                  <c:v>1400-05-16</c:v>
                </c:pt>
                <c:pt idx="810">
                  <c:v>1400-05-17</c:v>
                </c:pt>
                <c:pt idx="811">
                  <c:v>1400-05-18</c:v>
                </c:pt>
                <c:pt idx="812">
                  <c:v>1400-05-19</c:v>
                </c:pt>
                <c:pt idx="813">
                  <c:v>1400-05-20</c:v>
                </c:pt>
                <c:pt idx="814">
                  <c:v>1400-05-23</c:v>
                </c:pt>
                <c:pt idx="815">
                  <c:v>1400-05-24</c:v>
                </c:pt>
                <c:pt idx="816">
                  <c:v>1400-05-31</c:v>
                </c:pt>
                <c:pt idx="817">
                  <c:v>1400-06-01</c:v>
                </c:pt>
                <c:pt idx="818">
                  <c:v>1400-06-02</c:v>
                </c:pt>
                <c:pt idx="819">
                  <c:v>1400-06-03</c:v>
                </c:pt>
                <c:pt idx="820">
                  <c:v>1400-06-06</c:v>
                </c:pt>
                <c:pt idx="821">
                  <c:v>1400-06-07</c:v>
                </c:pt>
                <c:pt idx="822">
                  <c:v>1400-06-08</c:v>
                </c:pt>
                <c:pt idx="823">
                  <c:v>1400-06-09</c:v>
                </c:pt>
                <c:pt idx="824">
                  <c:v>1400-06-10</c:v>
                </c:pt>
                <c:pt idx="825">
                  <c:v>1400-06-13</c:v>
                </c:pt>
                <c:pt idx="826">
                  <c:v>1400-06-14</c:v>
                </c:pt>
                <c:pt idx="827">
                  <c:v>1400-06-15</c:v>
                </c:pt>
                <c:pt idx="828">
                  <c:v>1400-06-16</c:v>
                </c:pt>
                <c:pt idx="829">
                  <c:v>1400-06-17</c:v>
                </c:pt>
                <c:pt idx="830">
                  <c:v>1400-06-20</c:v>
                </c:pt>
                <c:pt idx="831">
                  <c:v>1400-06-21</c:v>
                </c:pt>
                <c:pt idx="832">
                  <c:v>1400-06-22</c:v>
                </c:pt>
                <c:pt idx="833">
                  <c:v>1400-06-23</c:v>
                </c:pt>
                <c:pt idx="834">
                  <c:v>1400-06-24</c:v>
                </c:pt>
                <c:pt idx="835">
                  <c:v>1400-06-27</c:v>
                </c:pt>
                <c:pt idx="836">
                  <c:v>1400-06-28</c:v>
                </c:pt>
                <c:pt idx="837">
                  <c:v>1400-06-29</c:v>
                </c:pt>
                <c:pt idx="838">
                  <c:v>1400-06-30</c:v>
                </c:pt>
                <c:pt idx="839">
                  <c:v>1400-06-31</c:v>
                </c:pt>
                <c:pt idx="840">
                  <c:v>1400-07-03</c:v>
                </c:pt>
                <c:pt idx="841">
                  <c:v>1400-07-04</c:v>
                </c:pt>
                <c:pt idx="842">
                  <c:v>1400-07-06</c:v>
                </c:pt>
                <c:pt idx="843">
                  <c:v>1400-07-07</c:v>
                </c:pt>
                <c:pt idx="844">
                  <c:v>1400-07-10</c:v>
                </c:pt>
                <c:pt idx="845">
                  <c:v>1400-07-11</c:v>
                </c:pt>
                <c:pt idx="846">
                  <c:v>1400-07-12</c:v>
                </c:pt>
                <c:pt idx="847">
                  <c:v>1400-07-14</c:v>
                </c:pt>
                <c:pt idx="848">
                  <c:v>1400-07-17</c:v>
                </c:pt>
                <c:pt idx="849">
                  <c:v>1400-07-18</c:v>
                </c:pt>
                <c:pt idx="850">
                  <c:v>1400-07-19</c:v>
                </c:pt>
                <c:pt idx="851">
                  <c:v>1400-07-20</c:v>
                </c:pt>
                <c:pt idx="852">
                  <c:v>1400-07-21</c:v>
                </c:pt>
                <c:pt idx="853">
                  <c:v>1400-07-24</c:v>
                </c:pt>
                <c:pt idx="854">
                  <c:v>1400-07-25</c:v>
                </c:pt>
                <c:pt idx="855">
                  <c:v>1400-07-26</c:v>
                </c:pt>
                <c:pt idx="856">
                  <c:v>1400-07-27</c:v>
                </c:pt>
                <c:pt idx="857">
                  <c:v>1400-07-28</c:v>
                </c:pt>
                <c:pt idx="858">
                  <c:v>1400-08-01</c:v>
                </c:pt>
                <c:pt idx="859">
                  <c:v>1400-08-03</c:v>
                </c:pt>
                <c:pt idx="860">
                  <c:v>1400-08-04</c:v>
                </c:pt>
                <c:pt idx="861">
                  <c:v>1400-08-05</c:v>
                </c:pt>
                <c:pt idx="862">
                  <c:v>1400-08-08</c:v>
                </c:pt>
                <c:pt idx="863">
                  <c:v>1400-08-09</c:v>
                </c:pt>
                <c:pt idx="864">
                  <c:v>1400-08-10</c:v>
                </c:pt>
                <c:pt idx="865">
                  <c:v>1400-08-11</c:v>
                </c:pt>
                <c:pt idx="866">
                  <c:v>1400-08-12</c:v>
                </c:pt>
                <c:pt idx="867">
                  <c:v>1400-08-15</c:v>
                </c:pt>
                <c:pt idx="868">
                  <c:v>1400-08-16</c:v>
                </c:pt>
                <c:pt idx="869">
                  <c:v>1400-08-17</c:v>
                </c:pt>
                <c:pt idx="870">
                  <c:v>1400-08-18</c:v>
                </c:pt>
                <c:pt idx="871">
                  <c:v>1400-08-19</c:v>
                </c:pt>
                <c:pt idx="872">
                  <c:v>1400-08-22</c:v>
                </c:pt>
                <c:pt idx="873">
                  <c:v>1400-08-23</c:v>
                </c:pt>
                <c:pt idx="874">
                  <c:v>1400-08-24</c:v>
                </c:pt>
                <c:pt idx="875">
                  <c:v>1400-08-25</c:v>
                </c:pt>
                <c:pt idx="876">
                  <c:v>1400-08-26</c:v>
                </c:pt>
                <c:pt idx="877">
                  <c:v>1400-08-29</c:v>
                </c:pt>
                <c:pt idx="878">
                  <c:v>1400-08-30</c:v>
                </c:pt>
                <c:pt idx="879">
                  <c:v>1400-09-01</c:v>
                </c:pt>
                <c:pt idx="880">
                  <c:v>1400-09-02</c:v>
                </c:pt>
                <c:pt idx="881">
                  <c:v>1400-09-03</c:v>
                </c:pt>
                <c:pt idx="882">
                  <c:v>1400-09-06</c:v>
                </c:pt>
                <c:pt idx="883">
                  <c:v>1400-09-07</c:v>
                </c:pt>
                <c:pt idx="884">
                  <c:v>1400-09-08</c:v>
                </c:pt>
                <c:pt idx="885">
                  <c:v>1400-09-09</c:v>
                </c:pt>
                <c:pt idx="886">
                  <c:v>1400-09-10</c:v>
                </c:pt>
                <c:pt idx="887">
                  <c:v>1400-09-13</c:v>
                </c:pt>
                <c:pt idx="888">
                  <c:v>1400-09-14</c:v>
                </c:pt>
                <c:pt idx="889">
                  <c:v>1400-09-15</c:v>
                </c:pt>
                <c:pt idx="890">
                  <c:v>1400-09-16</c:v>
                </c:pt>
                <c:pt idx="891">
                  <c:v>1400-09-17</c:v>
                </c:pt>
                <c:pt idx="892">
                  <c:v>1400-09-20</c:v>
                </c:pt>
                <c:pt idx="893">
                  <c:v>1400-09-21</c:v>
                </c:pt>
                <c:pt idx="894">
                  <c:v>1400-09-22</c:v>
                </c:pt>
                <c:pt idx="895">
                  <c:v>1400-09-23</c:v>
                </c:pt>
                <c:pt idx="896">
                  <c:v>1400-09-24</c:v>
                </c:pt>
                <c:pt idx="897">
                  <c:v>1400-09-27</c:v>
                </c:pt>
                <c:pt idx="898">
                  <c:v>1400-09-28</c:v>
                </c:pt>
                <c:pt idx="899">
                  <c:v>1400-09-29</c:v>
                </c:pt>
                <c:pt idx="900">
                  <c:v>1400-09-30</c:v>
                </c:pt>
                <c:pt idx="901">
                  <c:v>1400-10-01</c:v>
                </c:pt>
                <c:pt idx="902">
                  <c:v>1400-10-04</c:v>
                </c:pt>
                <c:pt idx="903">
                  <c:v>1400-10-05</c:v>
                </c:pt>
                <c:pt idx="904">
                  <c:v>1400-10-06</c:v>
                </c:pt>
                <c:pt idx="905">
                  <c:v>1400-10-07</c:v>
                </c:pt>
                <c:pt idx="906">
                  <c:v>1400-10-08</c:v>
                </c:pt>
                <c:pt idx="907">
                  <c:v>1400-10-11</c:v>
                </c:pt>
                <c:pt idx="908">
                  <c:v>1400-10-12</c:v>
                </c:pt>
                <c:pt idx="909">
                  <c:v>1400-10-13</c:v>
                </c:pt>
                <c:pt idx="910">
                  <c:v>1400-10-14</c:v>
                </c:pt>
                <c:pt idx="911">
                  <c:v>1400-10-15</c:v>
                </c:pt>
                <c:pt idx="912">
                  <c:v>1400-10-18</c:v>
                </c:pt>
                <c:pt idx="913">
                  <c:v>1400-10-19</c:v>
                </c:pt>
                <c:pt idx="914">
                  <c:v>1400-10-20</c:v>
                </c:pt>
                <c:pt idx="915">
                  <c:v>1400-10-21</c:v>
                </c:pt>
                <c:pt idx="916">
                  <c:v>1400-10-22</c:v>
                </c:pt>
                <c:pt idx="917">
                  <c:v>1400-10-25</c:v>
                </c:pt>
                <c:pt idx="918">
                  <c:v>1400-10-26</c:v>
                </c:pt>
                <c:pt idx="919">
                  <c:v>1400-10-27</c:v>
                </c:pt>
                <c:pt idx="920">
                  <c:v>1400-10-28</c:v>
                </c:pt>
                <c:pt idx="921">
                  <c:v>1400-10-29</c:v>
                </c:pt>
                <c:pt idx="922">
                  <c:v>1400-11-02</c:v>
                </c:pt>
                <c:pt idx="923">
                  <c:v>1400-11-03</c:v>
                </c:pt>
                <c:pt idx="924">
                  <c:v>1400-11-04</c:v>
                </c:pt>
                <c:pt idx="925">
                  <c:v>1400-11-05</c:v>
                </c:pt>
                <c:pt idx="926">
                  <c:v>1400-11-06</c:v>
                </c:pt>
                <c:pt idx="927">
                  <c:v>1400-11-09</c:v>
                </c:pt>
                <c:pt idx="928">
                  <c:v>1400-11-10</c:v>
                </c:pt>
                <c:pt idx="929">
                  <c:v>1400-11-11</c:v>
                </c:pt>
                <c:pt idx="930">
                  <c:v>1400-11-12</c:v>
                </c:pt>
                <c:pt idx="931">
                  <c:v>1400-11-13</c:v>
                </c:pt>
                <c:pt idx="932">
                  <c:v>1400-11-16</c:v>
                </c:pt>
                <c:pt idx="933">
                  <c:v>1400-11-17</c:v>
                </c:pt>
                <c:pt idx="934">
                  <c:v>1400-11-18</c:v>
                </c:pt>
                <c:pt idx="935">
                  <c:v>1400-11-19</c:v>
                </c:pt>
                <c:pt idx="936">
                  <c:v>1400-11-20</c:v>
                </c:pt>
                <c:pt idx="937">
                  <c:v>1400-11-23</c:v>
                </c:pt>
                <c:pt idx="938">
                  <c:v>1400-11-24</c:v>
                </c:pt>
                <c:pt idx="939">
                  <c:v>1400-11-25</c:v>
                </c:pt>
                <c:pt idx="940">
                  <c:v>1400-11-27</c:v>
                </c:pt>
                <c:pt idx="941">
                  <c:v>1400-11-30</c:v>
                </c:pt>
                <c:pt idx="942">
                  <c:v>1400-12-01</c:v>
                </c:pt>
                <c:pt idx="943">
                  <c:v>1400-12-02</c:v>
                </c:pt>
                <c:pt idx="944">
                  <c:v>1400-12-03</c:v>
                </c:pt>
                <c:pt idx="945">
                  <c:v>1400-12-04</c:v>
                </c:pt>
                <c:pt idx="946">
                  <c:v>1400-12-07</c:v>
                </c:pt>
                <c:pt idx="947">
                  <c:v>1400-12-08</c:v>
                </c:pt>
                <c:pt idx="948">
                  <c:v>1400-12-09</c:v>
                </c:pt>
                <c:pt idx="949">
                  <c:v>1400-12-11</c:v>
                </c:pt>
                <c:pt idx="950">
                  <c:v>1400-12-14</c:v>
                </c:pt>
                <c:pt idx="951">
                  <c:v>1400-12-15</c:v>
                </c:pt>
                <c:pt idx="952">
                  <c:v>1400-12-16</c:v>
                </c:pt>
                <c:pt idx="953">
                  <c:v>1400-12-17</c:v>
                </c:pt>
                <c:pt idx="954">
                  <c:v>1400-12-18</c:v>
                </c:pt>
                <c:pt idx="955">
                  <c:v>1400-12-21</c:v>
                </c:pt>
                <c:pt idx="956">
                  <c:v>1400-12-22</c:v>
                </c:pt>
                <c:pt idx="957">
                  <c:v>1400-12-23</c:v>
                </c:pt>
                <c:pt idx="958">
                  <c:v>1400-12-24</c:v>
                </c:pt>
                <c:pt idx="959">
                  <c:v>1400-12-25</c:v>
                </c:pt>
                <c:pt idx="960">
                  <c:v>1400-12-28</c:v>
                </c:pt>
                <c:pt idx="961">
                  <c:v>1401-01-06</c:v>
                </c:pt>
                <c:pt idx="962">
                  <c:v>1401-01-07</c:v>
                </c:pt>
                <c:pt idx="963">
                  <c:v>1401-01-08</c:v>
                </c:pt>
                <c:pt idx="964">
                  <c:v>1401-01-09</c:v>
                </c:pt>
                <c:pt idx="965">
                  <c:v>1401-01-10</c:v>
                </c:pt>
                <c:pt idx="966">
                  <c:v>1401-01-14</c:v>
                </c:pt>
                <c:pt idx="967">
                  <c:v>1401-01-15</c:v>
                </c:pt>
                <c:pt idx="968">
                  <c:v>1401-01-16</c:v>
                </c:pt>
                <c:pt idx="969">
                  <c:v>1401-01-17</c:v>
                </c:pt>
                <c:pt idx="970">
                  <c:v>1401-01-20</c:v>
                </c:pt>
                <c:pt idx="971">
                  <c:v>1401-01-21</c:v>
                </c:pt>
                <c:pt idx="972">
                  <c:v>1401-01-22</c:v>
                </c:pt>
                <c:pt idx="973">
                  <c:v>1401-01-23</c:v>
                </c:pt>
                <c:pt idx="974">
                  <c:v>1401-01-24</c:v>
                </c:pt>
                <c:pt idx="975">
                  <c:v>1401-01-27</c:v>
                </c:pt>
                <c:pt idx="976">
                  <c:v>1401-01-28</c:v>
                </c:pt>
                <c:pt idx="977">
                  <c:v>1401-01-29</c:v>
                </c:pt>
                <c:pt idx="978">
                  <c:v>1401-01-30</c:v>
                </c:pt>
                <c:pt idx="979">
                  <c:v>1401-01-31</c:v>
                </c:pt>
                <c:pt idx="980">
                  <c:v>1401-02-04</c:v>
                </c:pt>
                <c:pt idx="981">
                  <c:v>1401-02-05</c:v>
                </c:pt>
                <c:pt idx="982">
                  <c:v>1401-02-06</c:v>
                </c:pt>
                <c:pt idx="983">
                  <c:v>1401-02-07</c:v>
                </c:pt>
                <c:pt idx="984">
                  <c:v>1401-02-10</c:v>
                </c:pt>
                <c:pt idx="985">
                  <c:v>1401-02-11</c:v>
                </c:pt>
                <c:pt idx="986">
                  <c:v>1401-02-12</c:v>
                </c:pt>
                <c:pt idx="987">
                  <c:v>1401-02-17</c:v>
                </c:pt>
                <c:pt idx="988">
                  <c:v>1401-02-18</c:v>
                </c:pt>
                <c:pt idx="989">
                  <c:v>1401-02-19</c:v>
                </c:pt>
                <c:pt idx="990">
                  <c:v>1401-02-20</c:v>
                </c:pt>
                <c:pt idx="991">
                  <c:v>1401-02-21</c:v>
                </c:pt>
                <c:pt idx="992">
                  <c:v>1401-02-24</c:v>
                </c:pt>
                <c:pt idx="993">
                  <c:v>1401-02-25</c:v>
                </c:pt>
                <c:pt idx="994">
                  <c:v>1401-02-26</c:v>
                </c:pt>
                <c:pt idx="995">
                  <c:v>1401-02-27</c:v>
                </c:pt>
                <c:pt idx="996">
                  <c:v>1401-02-28</c:v>
                </c:pt>
                <c:pt idx="997">
                  <c:v>1401-02-31</c:v>
                </c:pt>
                <c:pt idx="998">
                  <c:v>1401-03-01</c:v>
                </c:pt>
                <c:pt idx="999">
                  <c:v>1401-03-02</c:v>
                </c:pt>
                <c:pt idx="1000">
                  <c:v>1401-03-03</c:v>
                </c:pt>
                <c:pt idx="1001">
                  <c:v>1401-03-04</c:v>
                </c:pt>
                <c:pt idx="1002">
                  <c:v>1401-03-07</c:v>
                </c:pt>
                <c:pt idx="1003">
                  <c:v>1401-03-08</c:v>
                </c:pt>
                <c:pt idx="1004">
                  <c:v>1401-03-09</c:v>
                </c:pt>
                <c:pt idx="1005">
                  <c:v>1401-03-10</c:v>
                </c:pt>
                <c:pt idx="1006">
                  <c:v>1401-03-11</c:v>
                </c:pt>
                <c:pt idx="1007">
                  <c:v>1401-03-16</c:v>
                </c:pt>
                <c:pt idx="1008">
                  <c:v>1401-03-17</c:v>
                </c:pt>
                <c:pt idx="1009">
                  <c:v>1401-03-18</c:v>
                </c:pt>
                <c:pt idx="1010">
                  <c:v>1401-03-21</c:v>
                </c:pt>
                <c:pt idx="1011">
                  <c:v>1401-03-22</c:v>
                </c:pt>
                <c:pt idx="1012">
                  <c:v>1401-03-23</c:v>
                </c:pt>
                <c:pt idx="1013">
                  <c:v>1401-03-24</c:v>
                </c:pt>
                <c:pt idx="1014">
                  <c:v>1401-03-25</c:v>
                </c:pt>
                <c:pt idx="1015">
                  <c:v>1401-03-28</c:v>
                </c:pt>
                <c:pt idx="1016">
                  <c:v>1401-03-29</c:v>
                </c:pt>
                <c:pt idx="1017">
                  <c:v>1401-03-30</c:v>
                </c:pt>
                <c:pt idx="1018">
                  <c:v>1401-03-31</c:v>
                </c:pt>
                <c:pt idx="1019">
                  <c:v>1401-04-01</c:v>
                </c:pt>
                <c:pt idx="1020">
                  <c:v>1401-04-04</c:v>
                </c:pt>
                <c:pt idx="1021">
                  <c:v>1401-04-05</c:v>
                </c:pt>
                <c:pt idx="1022">
                  <c:v>1401-04-06</c:v>
                </c:pt>
                <c:pt idx="1023">
                  <c:v>1401-04-07</c:v>
                </c:pt>
                <c:pt idx="1024">
                  <c:v>1401-04-08</c:v>
                </c:pt>
                <c:pt idx="1025">
                  <c:v>1401-04-11</c:v>
                </c:pt>
                <c:pt idx="1026">
                  <c:v>1401-04-12</c:v>
                </c:pt>
                <c:pt idx="1027">
                  <c:v>1401-04-13</c:v>
                </c:pt>
                <c:pt idx="1028">
                  <c:v>1401-04-14</c:v>
                </c:pt>
                <c:pt idx="1029">
                  <c:v>1401-04-15</c:v>
                </c:pt>
                <c:pt idx="1030">
                  <c:v>1401-04-18</c:v>
                </c:pt>
                <c:pt idx="1031">
                  <c:v>1401-04-20</c:v>
                </c:pt>
                <c:pt idx="1032">
                  <c:v>1401-04-21</c:v>
                </c:pt>
                <c:pt idx="1033">
                  <c:v>1401-04-22</c:v>
                </c:pt>
                <c:pt idx="1034">
                  <c:v>1401-04-25</c:v>
                </c:pt>
                <c:pt idx="1035">
                  <c:v>1401-04-26</c:v>
                </c:pt>
                <c:pt idx="1036">
                  <c:v>1401-04-28</c:v>
                </c:pt>
                <c:pt idx="1037">
                  <c:v>1401-04-29</c:v>
                </c:pt>
                <c:pt idx="1038">
                  <c:v>1401-05-01</c:v>
                </c:pt>
                <c:pt idx="1039">
                  <c:v>1401-05-02</c:v>
                </c:pt>
                <c:pt idx="1040">
                  <c:v>1401-05-03</c:v>
                </c:pt>
                <c:pt idx="1041">
                  <c:v>1401-05-04</c:v>
                </c:pt>
                <c:pt idx="1042">
                  <c:v>1401-05-05</c:v>
                </c:pt>
                <c:pt idx="1043">
                  <c:v>1401-05-08</c:v>
                </c:pt>
                <c:pt idx="1044">
                  <c:v>1401-05-09</c:v>
                </c:pt>
                <c:pt idx="1045">
                  <c:v>1401-05-10</c:v>
                </c:pt>
                <c:pt idx="1046">
                  <c:v>1401-05-11</c:v>
                </c:pt>
                <c:pt idx="1047">
                  <c:v>1401-05-12</c:v>
                </c:pt>
                <c:pt idx="1048">
                  <c:v>1401-05-15</c:v>
                </c:pt>
                <c:pt idx="1049">
                  <c:v>1401-05-18</c:v>
                </c:pt>
                <c:pt idx="1050">
                  <c:v>1401-05-19</c:v>
                </c:pt>
                <c:pt idx="1051">
                  <c:v>1401-05-22</c:v>
                </c:pt>
                <c:pt idx="1052">
                  <c:v>1401-05-23</c:v>
                </c:pt>
                <c:pt idx="1053">
                  <c:v>1401-05-24</c:v>
                </c:pt>
                <c:pt idx="1054">
                  <c:v>1401-05-25</c:v>
                </c:pt>
                <c:pt idx="1055">
                  <c:v>1401-05-26</c:v>
                </c:pt>
                <c:pt idx="1056">
                  <c:v>1401-05-29</c:v>
                </c:pt>
                <c:pt idx="1057">
                  <c:v>1401-05-30</c:v>
                </c:pt>
                <c:pt idx="1058">
                  <c:v>1401-05-31</c:v>
                </c:pt>
                <c:pt idx="1059">
                  <c:v>1401-06-01</c:v>
                </c:pt>
                <c:pt idx="1060">
                  <c:v>1401-06-02</c:v>
                </c:pt>
                <c:pt idx="1061">
                  <c:v>1401-06-05</c:v>
                </c:pt>
                <c:pt idx="1062">
                  <c:v>1401-06-06</c:v>
                </c:pt>
                <c:pt idx="1063">
                  <c:v>1401-06-07</c:v>
                </c:pt>
                <c:pt idx="1064">
                  <c:v>1401-06-08</c:v>
                </c:pt>
                <c:pt idx="1065">
                  <c:v>1401-06-09</c:v>
                </c:pt>
                <c:pt idx="1066">
                  <c:v>1401-06-12</c:v>
                </c:pt>
                <c:pt idx="1067">
                  <c:v>1401-06-13</c:v>
                </c:pt>
                <c:pt idx="1068">
                  <c:v>1401-06-14</c:v>
                </c:pt>
                <c:pt idx="1069">
                  <c:v>1401-06-15</c:v>
                </c:pt>
                <c:pt idx="1070">
                  <c:v>1401-06-16</c:v>
                </c:pt>
                <c:pt idx="1071">
                  <c:v>1401-06-19</c:v>
                </c:pt>
                <c:pt idx="1072">
                  <c:v>1401-06-20</c:v>
                </c:pt>
                <c:pt idx="1073">
                  <c:v>1401-06-21</c:v>
                </c:pt>
                <c:pt idx="1074">
                  <c:v>1401-06-22</c:v>
                </c:pt>
                <c:pt idx="1075">
                  <c:v>1401-06-23</c:v>
                </c:pt>
                <c:pt idx="1076">
                  <c:v>1401-06-27</c:v>
                </c:pt>
                <c:pt idx="1077">
                  <c:v>1401-06-28</c:v>
                </c:pt>
                <c:pt idx="1078">
                  <c:v>1401-06-29</c:v>
                </c:pt>
                <c:pt idx="1079">
                  <c:v>1401-06-30</c:v>
                </c:pt>
                <c:pt idx="1080">
                  <c:v>1401-07-02</c:v>
                </c:pt>
                <c:pt idx="1081">
                  <c:v>1401-07-04</c:v>
                </c:pt>
                <c:pt idx="1082">
                  <c:v>1401-07-06</c:v>
                </c:pt>
                <c:pt idx="1083">
                  <c:v>1401-07-09</c:v>
                </c:pt>
                <c:pt idx="1084">
                  <c:v>1401-07-10</c:v>
                </c:pt>
                <c:pt idx="1085">
                  <c:v>1401-07-11</c:v>
                </c:pt>
                <c:pt idx="1086">
                  <c:v>1401-07-12</c:v>
                </c:pt>
                <c:pt idx="1087">
                  <c:v>1401-07-16</c:v>
                </c:pt>
                <c:pt idx="1088">
                  <c:v>1401-07-17</c:v>
                </c:pt>
                <c:pt idx="1089">
                  <c:v>1401-07-18</c:v>
                </c:pt>
                <c:pt idx="1090">
                  <c:v>1401-07-19</c:v>
                </c:pt>
                <c:pt idx="1091">
                  <c:v>1401-07-20</c:v>
                </c:pt>
                <c:pt idx="1092">
                  <c:v>1401-07-23</c:v>
                </c:pt>
                <c:pt idx="1093">
                  <c:v>1401-07-24</c:v>
                </c:pt>
                <c:pt idx="1094">
                  <c:v>1401-07-25</c:v>
                </c:pt>
                <c:pt idx="1095">
                  <c:v>1401-07-26</c:v>
                </c:pt>
                <c:pt idx="1096">
                  <c:v>1401-07-27</c:v>
                </c:pt>
                <c:pt idx="1097">
                  <c:v>1401-07-30</c:v>
                </c:pt>
                <c:pt idx="1098">
                  <c:v>1401-08-01</c:v>
                </c:pt>
                <c:pt idx="1099">
                  <c:v>1401-08-02</c:v>
                </c:pt>
                <c:pt idx="1100">
                  <c:v>1401-08-03</c:v>
                </c:pt>
                <c:pt idx="1101">
                  <c:v>1401-08-04</c:v>
                </c:pt>
                <c:pt idx="1102">
                  <c:v>1401-08-07</c:v>
                </c:pt>
                <c:pt idx="1103">
                  <c:v>1401-08-08</c:v>
                </c:pt>
                <c:pt idx="1104">
                  <c:v>1401-08-09</c:v>
                </c:pt>
                <c:pt idx="1105">
                  <c:v>1401-08-10</c:v>
                </c:pt>
                <c:pt idx="1106">
                  <c:v>1401-08-11</c:v>
                </c:pt>
                <c:pt idx="1107">
                  <c:v>1401-08-14</c:v>
                </c:pt>
                <c:pt idx="1108">
                  <c:v>1401-08-15</c:v>
                </c:pt>
                <c:pt idx="1109">
                  <c:v>1401-08-16</c:v>
                </c:pt>
                <c:pt idx="1110">
                  <c:v>1401-08-17</c:v>
                </c:pt>
                <c:pt idx="1111">
                  <c:v>1401-08-18</c:v>
                </c:pt>
                <c:pt idx="1112">
                  <c:v>1401-08-21</c:v>
                </c:pt>
                <c:pt idx="1113">
                  <c:v>1401-08-22</c:v>
                </c:pt>
                <c:pt idx="1114">
                  <c:v>1401-08-23</c:v>
                </c:pt>
                <c:pt idx="1115">
                  <c:v>1401-08-24</c:v>
                </c:pt>
                <c:pt idx="1116">
                  <c:v>1401-08-25</c:v>
                </c:pt>
                <c:pt idx="1117">
                  <c:v>1401-08-28</c:v>
                </c:pt>
                <c:pt idx="1118">
                  <c:v>1401-08-29</c:v>
                </c:pt>
                <c:pt idx="1119">
                  <c:v>1401-08-30</c:v>
                </c:pt>
                <c:pt idx="1120">
                  <c:v>1401-09-01</c:v>
                </c:pt>
                <c:pt idx="1121">
                  <c:v>1401-09-02</c:v>
                </c:pt>
                <c:pt idx="1122">
                  <c:v>1401-09-05</c:v>
                </c:pt>
                <c:pt idx="1123">
                  <c:v>1401-09-06</c:v>
                </c:pt>
                <c:pt idx="1124">
                  <c:v>1401-09-07</c:v>
                </c:pt>
                <c:pt idx="1125">
                  <c:v>1401-09-08</c:v>
                </c:pt>
                <c:pt idx="1126">
                  <c:v>1401-09-09</c:v>
                </c:pt>
                <c:pt idx="1127">
                  <c:v>1401-09-12</c:v>
                </c:pt>
                <c:pt idx="1128">
                  <c:v>1401-09-13</c:v>
                </c:pt>
                <c:pt idx="1129">
                  <c:v>1401-09-14</c:v>
                </c:pt>
                <c:pt idx="1130">
                  <c:v>1401-09-15</c:v>
                </c:pt>
                <c:pt idx="1131">
                  <c:v>1401-09-16</c:v>
                </c:pt>
                <c:pt idx="1132">
                  <c:v>1401-09-19</c:v>
                </c:pt>
                <c:pt idx="1133">
                  <c:v>1401-09-20</c:v>
                </c:pt>
                <c:pt idx="1134">
                  <c:v>1401-09-21</c:v>
                </c:pt>
                <c:pt idx="1135">
                  <c:v>1401-09-22</c:v>
                </c:pt>
                <c:pt idx="1136">
                  <c:v>1401-09-23</c:v>
                </c:pt>
                <c:pt idx="1137">
                  <c:v>1401-09-26</c:v>
                </c:pt>
                <c:pt idx="1138">
                  <c:v>1401-09-27</c:v>
                </c:pt>
                <c:pt idx="1139">
                  <c:v>1401-09-28</c:v>
                </c:pt>
                <c:pt idx="1140">
                  <c:v>1401-09-29</c:v>
                </c:pt>
                <c:pt idx="1141">
                  <c:v>1401-09-30</c:v>
                </c:pt>
                <c:pt idx="1142">
                  <c:v>1401-10-03</c:v>
                </c:pt>
                <c:pt idx="1143">
                  <c:v>1401-10-04</c:v>
                </c:pt>
                <c:pt idx="1144">
                  <c:v>1401-10-05</c:v>
                </c:pt>
                <c:pt idx="1145">
                  <c:v>1401-10-07</c:v>
                </c:pt>
                <c:pt idx="1146">
                  <c:v>1401-10-10</c:v>
                </c:pt>
                <c:pt idx="1147">
                  <c:v>1401-10-11</c:v>
                </c:pt>
                <c:pt idx="1148">
                  <c:v>1401-10-12</c:v>
                </c:pt>
                <c:pt idx="1149">
                  <c:v>1401-10-13</c:v>
                </c:pt>
                <c:pt idx="1150">
                  <c:v>1401-10-14</c:v>
                </c:pt>
                <c:pt idx="1151">
                  <c:v>1401-10-17</c:v>
                </c:pt>
                <c:pt idx="1152">
                  <c:v>1401-10-18</c:v>
                </c:pt>
                <c:pt idx="1153">
                  <c:v>1401-10-19</c:v>
                </c:pt>
                <c:pt idx="1154">
                  <c:v>1401-10-20</c:v>
                </c:pt>
                <c:pt idx="1155">
                  <c:v>1401-10-21</c:v>
                </c:pt>
                <c:pt idx="1156">
                  <c:v>1401-10-24</c:v>
                </c:pt>
                <c:pt idx="1157">
                  <c:v>1401-10-26</c:v>
                </c:pt>
                <c:pt idx="1158">
                  <c:v>1401-10-27</c:v>
                </c:pt>
                <c:pt idx="1159">
                  <c:v>1401-10-28</c:v>
                </c:pt>
                <c:pt idx="1160">
                  <c:v>1401-11-01</c:v>
                </c:pt>
                <c:pt idx="1161">
                  <c:v>1401-11-02</c:v>
                </c:pt>
                <c:pt idx="1162">
                  <c:v>1401-11-03</c:v>
                </c:pt>
                <c:pt idx="1163">
                  <c:v>1401-11-04</c:v>
                </c:pt>
                <c:pt idx="1164">
                  <c:v>1401-11-05</c:v>
                </c:pt>
                <c:pt idx="1165">
                  <c:v>1401-11-08</c:v>
                </c:pt>
                <c:pt idx="1166">
                  <c:v>1401-11-09</c:v>
                </c:pt>
                <c:pt idx="1167">
                  <c:v>1401-11-10</c:v>
                </c:pt>
                <c:pt idx="1168">
                  <c:v>1401-11-11</c:v>
                </c:pt>
                <c:pt idx="1169">
                  <c:v>1401-11-12</c:v>
                </c:pt>
                <c:pt idx="1170">
                  <c:v>1401-11-16</c:v>
                </c:pt>
                <c:pt idx="1171">
                  <c:v>1401-11-17</c:v>
                </c:pt>
                <c:pt idx="1172">
                  <c:v>1401-11-18</c:v>
                </c:pt>
                <c:pt idx="1173">
                  <c:v>1401-11-19</c:v>
                </c:pt>
                <c:pt idx="1174">
                  <c:v>1401-11-23</c:v>
                </c:pt>
                <c:pt idx="1175">
                  <c:v>1401-11-24</c:v>
                </c:pt>
                <c:pt idx="1176">
                  <c:v>1401-11-25</c:v>
                </c:pt>
                <c:pt idx="1177">
                  <c:v>1401-11-26</c:v>
                </c:pt>
                <c:pt idx="1178">
                  <c:v>1401-11-30</c:v>
                </c:pt>
                <c:pt idx="1179">
                  <c:v>1401-12-01</c:v>
                </c:pt>
                <c:pt idx="1180">
                  <c:v>1401-12-02</c:v>
                </c:pt>
                <c:pt idx="1181">
                  <c:v>1401-12-03</c:v>
                </c:pt>
                <c:pt idx="1182">
                  <c:v>1401-12-06</c:v>
                </c:pt>
                <c:pt idx="1183">
                  <c:v>1401-12-07</c:v>
                </c:pt>
                <c:pt idx="1184">
                  <c:v>1401-12-08</c:v>
                </c:pt>
                <c:pt idx="1185">
                  <c:v>1401-12-09</c:v>
                </c:pt>
                <c:pt idx="1186">
                  <c:v>1401-12-10</c:v>
                </c:pt>
                <c:pt idx="1187">
                  <c:v>1401-12-13</c:v>
                </c:pt>
                <c:pt idx="1188">
                  <c:v>1401-12-14</c:v>
                </c:pt>
                <c:pt idx="1189">
                  <c:v>1401-12-15</c:v>
                </c:pt>
                <c:pt idx="1190">
                  <c:v>1401-12-16</c:v>
                </c:pt>
                <c:pt idx="1191">
                  <c:v>1401-12-20</c:v>
                </c:pt>
                <c:pt idx="1192">
                  <c:v>1401-12-21</c:v>
                </c:pt>
                <c:pt idx="1193">
                  <c:v>1401-12-22</c:v>
                </c:pt>
                <c:pt idx="1194">
                  <c:v>1401-12-23</c:v>
                </c:pt>
                <c:pt idx="1195">
                  <c:v>1401-12-24</c:v>
                </c:pt>
                <c:pt idx="1196">
                  <c:v>1401-12-27</c:v>
                </c:pt>
                <c:pt idx="1197">
                  <c:v>1401-12-28</c:v>
                </c:pt>
                <c:pt idx="1198">
                  <c:v>1402-01-05</c:v>
                </c:pt>
                <c:pt idx="1199">
                  <c:v>1402-01-06</c:v>
                </c:pt>
                <c:pt idx="1200">
                  <c:v>1402-01-07</c:v>
                </c:pt>
                <c:pt idx="1201">
                  <c:v>1402-01-08</c:v>
                </c:pt>
                <c:pt idx="1202">
                  <c:v>1402-01-09</c:v>
                </c:pt>
                <c:pt idx="1203">
                  <c:v>1402-01-14</c:v>
                </c:pt>
                <c:pt idx="1204">
                  <c:v>1402-01-15</c:v>
                </c:pt>
                <c:pt idx="1205">
                  <c:v>1402-01-16</c:v>
                </c:pt>
                <c:pt idx="1206">
                  <c:v>1402-01-19</c:v>
                </c:pt>
                <c:pt idx="1207">
                  <c:v>1402-01-20</c:v>
                </c:pt>
                <c:pt idx="1208">
                  <c:v>1402-01-21</c:v>
                </c:pt>
                <c:pt idx="1209">
                  <c:v>1402-01-22</c:v>
                </c:pt>
                <c:pt idx="1210">
                  <c:v>1402-01-26</c:v>
                </c:pt>
                <c:pt idx="1211">
                  <c:v>1402-01-27</c:v>
                </c:pt>
                <c:pt idx="1212">
                  <c:v>1402-01-28</c:v>
                </c:pt>
                <c:pt idx="1213">
                  <c:v>1402-01-29</c:v>
                </c:pt>
                <c:pt idx="1214">
                  <c:v>1402-01-30</c:v>
                </c:pt>
                <c:pt idx="1215">
                  <c:v>1402-02-04</c:v>
                </c:pt>
                <c:pt idx="1216">
                  <c:v>1402-02-05</c:v>
                </c:pt>
                <c:pt idx="1217">
                  <c:v>1402-02-06</c:v>
                </c:pt>
                <c:pt idx="1218">
                  <c:v>1402-02-09</c:v>
                </c:pt>
                <c:pt idx="1219">
                  <c:v>1402-02-10</c:v>
                </c:pt>
                <c:pt idx="1220">
                  <c:v>1402-02-11</c:v>
                </c:pt>
                <c:pt idx="1221">
                  <c:v>1402-02-12</c:v>
                </c:pt>
                <c:pt idx="1222">
                  <c:v>1402-02-13</c:v>
                </c:pt>
                <c:pt idx="1223">
                  <c:v>1402-02-16</c:v>
                </c:pt>
                <c:pt idx="1224">
                  <c:v>1402-02-17</c:v>
                </c:pt>
                <c:pt idx="1225">
                  <c:v>1402-02-18</c:v>
                </c:pt>
                <c:pt idx="1226">
                  <c:v>1402-02-19</c:v>
                </c:pt>
                <c:pt idx="1227">
                  <c:v>1402-02-20</c:v>
                </c:pt>
                <c:pt idx="1228">
                  <c:v>1402-02-23</c:v>
                </c:pt>
                <c:pt idx="1229">
                  <c:v>1402-02-24</c:v>
                </c:pt>
                <c:pt idx="1230">
                  <c:v>1402-02-25</c:v>
                </c:pt>
                <c:pt idx="1231">
                  <c:v>1402-02-27</c:v>
                </c:pt>
                <c:pt idx="1232">
                  <c:v>1402-02-30</c:v>
                </c:pt>
                <c:pt idx="1233">
                  <c:v>1402-02-31</c:v>
                </c:pt>
                <c:pt idx="1234">
                  <c:v>1402-03-01</c:v>
                </c:pt>
                <c:pt idx="1235">
                  <c:v>1402-03-02</c:v>
                </c:pt>
                <c:pt idx="1236">
                  <c:v>1402-03-03</c:v>
                </c:pt>
                <c:pt idx="1237">
                  <c:v>1402-03-06</c:v>
                </c:pt>
                <c:pt idx="1238">
                  <c:v>1402-03-07</c:v>
                </c:pt>
                <c:pt idx="1239">
                  <c:v>1402-03-08</c:v>
                </c:pt>
                <c:pt idx="1240">
                  <c:v>1402-03-09</c:v>
                </c:pt>
                <c:pt idx="1241">
                  <c:v>1402-03-10</c:v>
                </c:pt>
                <c:pt idx="1242">
                  <c:v>1402-03-13</c:v>
                </c:pt>
                <c:pt idx="1243">
                  <c:v>1402-03-16</c:v>
                </c:pt>
                <c:pt idx="1244">
                  <c:v>1402-03-17</c:v>
                </c:pt>
                <c:pt idx="1245">
                  <c:v>1402-03-20</c:v>
                </c:pt>
                <c:pt idx="1246">
                  <c:v>1402-03-21</c:v>
                </c:pt>
                <c:pt idx="1247">
                  <c:v>1402-03-22</c:v>
                </c:pt>
                <c:pt idx="1248">
                  <c:v>1402-03-23</c:v>
                </c:pt>
                <c:pt idx="1249">
                  <c:v>1402-03-24</c:v>
                </c:pt>
                <c:pt idx="1250">
                  <c:v>1402-03-27</c:v>
                </c:pt>
                <c:pt idx="1251">
                  <c:v>1402-03-28</c:v>
                </c:pt>
                <c:pt idx="1252">
                  <c:v>1402-03-29</c:v>
                </c:pt>
                <c:pt idx="1253">
                  <c:v>1402-03-30</c:v>
                </c:pt>
                <c:pt idx="1254">
                  <c:v>1402-03-31</c:v>
                </c:pt>
                <c:pt idx="1255">
                  <c:v>1402-04-03</c:v>
                </c:pt>
                <c:pt idx="1256">
                  <c:v>1402-04-04</c:v>
                </c:pt>
                <c:pt idx="1257">
                  <c:v>1402-04-05</c:v>
                </c:pt>
                <c:pt idx="1258">
                  <c:v>1402-04-06</c:v>
                </c:pt>
                <c:pt idx="1259">
                  <c:v>1402-04-07</c:v>
                </c:pt>
                <c:pt idx="1260">
                  <c:v>1402-04-10</c:v>
                </c:pt>
                <c:pt idx="1261">
                  <c:v>1402-04-11</c:v>
                </c:pt>
                <c:pt idx="1262">
                  <c:v>1402-04-12</c:v>
                </c:pt>
                <c:pt idx="1263">
                  <c:v>1402-04-13</c:v>
                </c:pt>
                <c:pt idx="1264">
                  <c:v>1402-04-14</c:v>
                </c:pt>
                <c:pt idx="1265">
                  <c:v>1402-04-17</c:v>
                </c:pt>
                <c:pt idx="1266">
                  <c:v>1402-04-18</c:v>
                </c:pt>
                <c:pt idx="1267">
                  <c:v>1402-04-19</c:v>
                </c:pt>
                <c:pt idx="1268">
                  <c:v>1402-04-20</c:v>
                </c:pt>
                <c:pt idx="1269">
                  <c:v>1402-04-21</c:v>
                </c:pt>
                <c:pt idx="1270">
                  <c:v>1402-04-24</c:v>
                </c:pt>
                <c:pt idx="1271">
                  <c:v>1402-04-25</c:v>
                </c:pt>
                <c:pt idx="1272">
                  <c:v>1402-04-26</c:v>
                </c:pt>
                <c:pt idx="1273">
                  <c:v>1402-04-27</c:v>
                </c:pt>
                <c:pt idx="1274">
                  <c:v>1402-04-28</c:v>
                </c:pt>
                <c:pt idx="1275">
                  <c:v>1402-04-31</c:v>
                </c:pt>
                <c:pt idx="1276">
                  <c:v>1402-05-01</c:v>
                </c:pt>
                <c:pt idx="1277">
                  <c:v>1402-05-02</c:v>
                </c:pt>
                <c:pt idx="1278">
                  <c:v>1402-05-03</c:v>
                </c:pt>
                <c:pt idx="1279">
                  <c:v>1402-05-04</c:v>
                </c:pt>
                <c:pt idx="1280">
                  <c:v>1402-05-07</c:v>
                </c:pt>
                <c:pt idx="1281">
                  <c:v>1402-05-08</c:v>
                </c:pt>
                <c:pt idx="1282">
                  <c:v>1402-05-09</c:v>
                </c:pt>
                <c:pt idx="1283">
                  <c:v>1402-05-10</c:v>
                </c:pt>
                <c:pt idx="1284">
                  <c:v>1402-05-14</c:v>
                </c:pt>
                <c:pt idx="1285">
                  <c:v>1402-05-15</c:v>
                </c:pt>
                <c:pt idx="1286">
                  <c:v>1402-05-16</c:v>
                </c:pt>
                <c:pt idx="1287">
                  <c:v>1402-05-17</c:v>
                </c:pt>
                <c:pt idx="1288">
                  <c:v>1402-05-18</c:v>
                </c:pt>
                <c:pt idx="1289">
                  <c:v>1402-05-21</c:v>
                </c:pt>
                <c:pt idx="1290">
                  <c:v>1402-05-22</c:v>
                </c:pt>
                <c:pt idx="1291">
                  <c:v>1402-05-23</c:v>
                </c:pt>
                <c:pt idx="1292">
                  <c:v>1402-05-24</c:v>
                </c:pt>
                <c:pt idx="1293">
                  <c:v>1402-05-25</c:v>
                </c:pt>
                <c:pt idx="1294">
                  <c:v>1402-05-28</c:v>
                </c:pt>
                <c:pt idx="1295">
                  <c:v>1402-05-29</c:v>
                </c:pt>
                <c:pt idx="1296">
                  <c:v>1402-05-30</c:v>
                </c:pt>
                <c:pt idx="1297">
                  <c:v>1402-05-31</c:v>
                </c:pt>
                <c:pt idx="1298">
                  <c:v>1402-06-01</c:v>
                </c:pt>
                <c:pt idx="1299">
                  <c:v>1402-06-04</c:v>
                </c:pt>
                <c:pt idx="1300">
                  <c:v>1402-06-05</c:v>
                </c:pt>
                <c:pt idx="1301">
                  <c:v>1402-06-06</c:v>
                </c:pt>
                <c:pt idx="1302">
                  <c:v>1402-06-07</c:v>
                </c:pt>
                <c:pt idx="1303">
                  <c:v>1402-06-08</c:v>
                </c:pt>
                <c:pt idx="1304">
                  <c:v>1402-06-11</c:v>
                </c:pt>
                <c:pt idx="1305">
                  <c:v>1402-06-12</c:v>
                </c:pt>
                <c:pt idx="1306">
                  <c:v>1402-06-13</c:v>
                </c:pt>
                <c:pt idx="1307">
                  <c:v>1402-06-14</c:v>
                </c:pt>
                <c:pt idx="1308">
                  <c:v>1402-06-18</c:v>
                </c:pt>
                <c:pt idx="1309">
                  <c:v>1402-06-19</c:v>
                </c:pt>
                <c:pt idx="1310">
                  <c:v>1402-06-20</c:v>
                </c:pt>
                <c:pt idx="1311">
                  <c:v>1402-06-21</c:v>
                </c:pt>
                <c:pt idx="1312">
                  <c:v>1402-06-22</c:v>
                </c:pt>
                <c:pt idx="1313">
                  <c:v>1402-06-26</c:v>
                </c:pt>
                <c:pt idx="1314">
                  <c:v>1402-06-27</c:v>
                </c:pt>
                <c:pt idx="1315">
                  <c:v>1402-06-28</c:v>
                </c:pt>
                <c:pt idx="1316">
                  <c:v>1402-06-29</c:v>
                </c:pt>
                <c:pt idx="1317">
                  <c:v>1402-07-01</c:v>
                </c:pt>
                <c:pt idx="1318">
                  <c:v>1402-07-03</c:v>
                </c:pt>
                <c:pt idx="1319">
                  <c:v>1402-07-04</c:v>
                </c:pt>
                <c:pt idx="1320">
                  <c:v>1402-07-05</c:v>
                </c:pt>
                <c:pt idx="1321">
                  <c:v>1402-07-08</c:v>
                </c:pt>
                <c:pt idx="1322">
                  <c:v>1402-07-09</c:v>
                </c:pt>
                <c:pt idx="1323">
                  <c:v>1402-07-10</c:v>
                </c:pt>
                <c:pt idx="1324">
                  <c:v>1402-07-12</c:v>
                </c:pt>
                <c:pt idx="1325">
                  <c:v>1402-07-15</c:v>
                </c:pt>
                <c:pt idx="1326">
                  <c:v>1402-07-16</c:v>
                </c:pt>
                <c:pt idx="1327">
                  <c:v>1402-07-17</c:v>
                </c:pt>
                <c:pt idx="1328">
                  <c:v>1402-07-18</c:v>
                </c:pt>
                <c:pt idx="1329">
                  <c:v>1402-07-19</c:v>
                </c:pt>
                <c:pt idx="1330">
                  <c:v>1402-07-22</c:v>
                </c:pt>
                <c:pt idx="1331">
                  <c:v>1402-07-23</c:v>
                </c:pt>
                <c:pt idx="1332">
                  <c:v>1402-07-24</c:v>
                </c:pt>
                <c:pt idx="1333">
                  <c:v>1402-07-25</c:v>
                </c:pt>
                <c:pt idx="1334">
                  <c:v>1402-07-26</c:v>
                </c:pt>
                <c:pt idx="1335">
                  <c:v>1402-07-29</c:v>
                </c:pt>
                <c:pt idx="1336">
                  <c:v>1402-07-30</c:v>
                </c:pt>
                <c:pt idx="1337">
                  <c:v>1402-08-01</c:v>
                </c:pt>
                <c:pt idx="1338">
                  <c:v>1402-08-02</c:v>
                </c:pt>
                <c:pt idx="1339">
                  <c:v>1402-08-03</c:v>
                </c:pt>
                <c:pt idx="1340">
                  <c:v>1402-08-06</c:v>
                </c:pt>
                <c:pt idx="1341">
                  <c:v>1402-08-07</c:v>
                </c:pt>
                <c:pt idx="1342">
                  <c:v>1402-08-08</c:v>
                </c:pt>
                <c:pt idx="1343">
                  <c:v>1402-08-09</c:v>
                </c:pt>
                <c:pt idx="1344">
                  <c:v>1402-08-10</c:v>
                </c:pt>
                <c:pt idx="1345">
                  <c:v>1402-08-13</c:v>
                </c:pt>
                <c:pt idx="1346">
                  <c:v>1402-08-14</c:v>
                </c:pt>
                <c:pt idx="1347">
                  <c:v>1402-08-15</c:v>
                </c:pt>
                <c:pt idx="1348">
                  <c:v>1402-08-16</c:v>
                </c:pt>
                <c:pt idx="1349">
                  <c:v>1402-08-17</c:v>
                </c:pt>
                <c:pt idx="1350">
                  <c:v>1402-08-20</c:v>
                </c:pt>
                <c:pt idx="1351">
                  <c:v>1402-08-21</c:v>
                </c:pt>
                <c:pt idx="1352">
                  <c:v>1402-08-22</c:v>
                </c:pt>
                <c:pt idx="1353">
                  <c:v>1402-08-23</c:v>
                </c:pt>
                <c:pt idx="1354">
                  <c:v>1402-08-24</c:v>
                </c:pt>
                <c:pt idx="1355">
                  <c:v>1402-08-27</c:v>
                </c:pt>
                <c:pt idx="1356">
                  <c:v>1402-08-28</c:v>
                </c:pt>
                <c:pt idx="1357">
                  <c:v>1402-08-29</c:v>
                </c:pt>
                <c:pt idx="1358">
                  <c:v>1402-08-30</c:v>
                </c:pt>
                <c:pt idx="1359">
                  <c:v>1402-09-01</c:v>
                </c:pt>
                <c:pt idx="1360">
                  <c:v>1402-09-04</c:v>
                </c:pt>
                <c:pt idx="1361">
                  <c:v>1402-09-05</c:v>
                </c:pt>
                <c:pt idx="1362">
                  <c:v>1402-09-06</c:v>
                </c:pt>
                <c:pt idx="1363">
                  <c:v>1402-09-07</c:v>
                </c:pt>
                <c:pt idx="1364">
                  <c:v>1402-09-08</c:v>
                </c:pt>
                <c:pt idx="1365">
                  <c:v>1402-09-11</c:v>
                </c:pt>
                <c:pt idx="1366">
                  <c:v>1402-09-12</c:v>
                </c:pt>
                <c:pt idx="1367">
                  <c:v>1402-09-13</c:v>
                </c:pt>
                <c:pt idx="1368">
                  <c:v>1402-09-14</c:v>
                </c:pt>
                <c:pt idx="1369">
                  <c:v>1402-09-15</c:v>
                </c:pt>
                <c:pt idx="1370">
                  <c:v>1402-09-18</c:v>
                </c:pt>
                <c:pt idx="1371">
                  <c:v>1402-09-19</c:v>
                </c:pt>
                <c:pt idx="1372">
                  <c:v>1402-09-20</c:v>
                </c:pt>
                <c:pt idx="1373">
                  <c:v>1402-09-21</c:v>
                </c:pt>
                <c:pt idx="1374">
                  <c:v>1402-09-22</c:v>
                </c:pt>
                <c:pt idx="1375">
                  <c:v>1402-09-25</c:v>
                </c:pt>
                <c:pt idx="1376">
                  <c:v>1402-09-27</c:v>
                </c:pt>
                <c:pt idx="1377">
                  <c:v>1402-09-28</c:v>
                </c:pt>
                <c:pt idx="1378">
                  <c:v>1402-09-29</c:v>
                </c:pt>
                <c:pt idx="1379">
                  <c:v>1402-10-03</c:v>
                </c:pt>
                <c:pt idx="1380">
                  <c:v>1402-10-04</c:v>
                </c:pt>
                <c:pt idx="1381">
                  <c:v>1402-10-05</c:v>
                </c:pt>
                <c:pt idx="1382">
                  <c:v>1402-10-06</c:v>
                </c:pt>
                <c:pt idx="1383">
                  <c:v>1402-10-09</c:v>
                </c:pt>
                <c:pt idx="1384">
                  <c:v>1402-10-10</c:v>
                </c:pt>
                <c:pt idx="1385">
                  <c:v>1402-10-11</c:v>
                </c:pt>
                <c:pt idx="1386">
                  <c:v>1402-10-12</c:v>
                </c:pt>
                <c:pt idx="1387">
                  <c:v>1402-10-13</c:v>
                </c:pt>
                <c:pt idx="1388">
                  <c:v>1402-10-16</c:v>
                </c:pt>
                <c:pt idx="1389">
                  <c:v>1402-10-17</c:v>
                </c:pt>
                <c:pt idx="1390">
                  <c:v>1402-10-18</c:v>
                </c:pt>
                <c:pt idx="1391">
                  <c:v>1402-10-19</c:v>
                </c:pt>
                <c:pt idx="1392">
                  <c:v>1402-10-20</c:v>
                </c:pt>
                <c:pt idx="1393">
                  <c:v>1402-10-23</c:v>
                </c:pt>
                <c:pt idx="1394">
                  <c:v>1402-10-24</c:v>
                </c:pt>
                <c:pt idx="1395">
                  <c:v>1402-10-25</c:v>
                </c:pt>
                <c:pt idx="1396">
                  <c:v>1402-10-26</c:v>
                </c:pt>
                <c:pt idx="1397">
                  <c:v>1402-10-27</c:v>
                </c:pt>
                <c:pt idx="1398">
                  <c:v>1402-10-30</c:v>
                </c:pt>
                <c:pt idx="1399">
                  <c:v>1402-11-01</c:v>
                </c:pt>
                <c:pt idx="1400">
                  <c:v>1402-11-02</c:v>
                </c:pt>
                <c:pt idx="1401">
                  <c:v>1402-11-03</c:v>
                </c:pt>
                <c:pt idx="1402">
                  <c:v>1402-11-04</c:v>
                </c:pt>
                <c:pt idx="1403">
                  <c:v>1402-11-07</c:v>
                </c:pt>
                <c:pt idx="1404">
                  <c:v>1402-11-08</c:v>
                </c:pt>
                <c:pt idx="1405">
                  <c:v>1402-11-09</c:v>
                </c:pt>
                <c:pt idx="1406">
                  <c:v>1402-11-10</c:v>
                </c:pt>
                <c:pt idx="1407">
                  <c:v>1402-11-11</c:v>
                </c:pt>
                <c:pt idx="1408">
                  <c:v>1402-11-14</c:v>
                </c:pt>
                <c:pt idx="1409">
                  <c:v>1402-11-15</c:v>
                </c:pt>
                <c:pt idx="1410">
                  <c:v>1402-11-16</c:v>
                </c:pt>
                <c:pt idx="1411">
                  <c:v>1402-11-17</c:v>
                </c:pt>
                <c:pt idx="1412">
                  <c:v>1402-11-18</c:v>
                </c:pt>
                <c:pt idx="1413">
                  <c:v>1402-11-21</c:v>
                </c:pt>
                <c:pt idx="1414">
                  <c:v>1402-11-23</c:v>
                </c:pt>
                <c:pt idx="1415">
                  <c:v>1402-11-24</c:v>
                </c:pt>
                <c:pt idx="1416">
                  <c:v>1402-11-25</c:v>
                </c:pt>
                <c:pt idx="1417">
                  <c:v>1402-11-28</c:v>
                </c:pt>
                <c:pt idx="1418">
                  <c:v>1402-11-29</c:v>
                </c:pt>
                <c:pt idx="1419">
                  <c:v>1402-11-30</c:v>
                </c:pt>
                <c:pt idx="1420">
                  <c:v>1402-12-01</c:v>
                </c:pt>
                <c:pt idx="1421">
                  <c:v>1402-12-02</c:v>
                </c:pt>
                <c:pt idx="1422">
                  <c:v>1402-12-05</c:v>
                </c:pt>
                <c:pt idx="1423">
                  <c:v>1402-12-07</c:v>
                </c:pt>
                <c:pt idx="1424">
                  <c:v>1402-12-08</c:v>
                </c:pt>
                <c:pt idx="1425">
                  <c:v>1402-12-09</c:v>
                </c:pt>
                <c:pt idx="1426">
                  <c:v>1402-12-12</c:v>
                </c:pt>
                <c:pt idx="1427">
                  <c:v>1402-12-13</c:v>
                </c:pt>
                <c:pt idx="1428">
                  <c:v>1402-12-14</c:v>
                </c:pt>
                <c:pt idx="1429">
                  <c:v>1402-12-15</c:v>
                </c:pt>
                <c:pt idx="1430">
                  <c:v>1402-12-16</c:v>
                </c:pt>
                <c:pt idx="1431">
                  <c:v>1402-12-19</c:v>
                </c:pt>
                <c:pt idx="1432">
                  <c:v>1402-12-20</c:v>
                </c:pt>
                <c:pt idx="1433">
                  <c:v>1402-12-21</c:v>
                </c:pt>
                <c:pt idx="1434">
                  <c:v>1402-12-22</c:v>
                </c:pt>
                <c:pt idx="1435">
                  <c:v>1402-12-23</c:v>
                </c:pt>
                <c:pt idx="1436">
                  <c:v>1402-12-26</c:v>
                </c:pt>
                <c:pt idx="1437">
                  <c:v>1402-12-27</c:v>
                </c:pt>
                <c:pt idx="1438">
                  <c:v>1402-12-28</c:v>
                </c:pt>
                <c:pt idx="1439">
                  <c:v>1403-01-05</c:v>
                </c:pt>
                <c:pt idx="1440">
                  <c:v>1403-01-06</c:v>
                </c:pt>
                <c:pt idx="1441">
                  <c:v>1403-01-07</c:v>
                </c:pt>
                <c:pt idx="1442">
                  <c:v>1403-01-08</c:v>
                </c:pt>
                <c:pt idx="1443">
                  <c:v>1403-01-11</c:v>
                </c:pt>
                <c:pt idx="1444">
                  <c:v>1403-01-14</c:v>
                </c:pt>
                <c:pt idx="1445">
                  <c:v>1403-01-15</c:v>
                </c:pt>
                <c:pt idx="1446">
                  <c:v>1403-01-18</c:v>
                </c:pt>
                <c:pt idx="1447">
                  <c:v>1403-01-19</c:v>
                </c:pt>
                <c:pt idx="1448">
                  <c:v>1403-01-20</c:v>
                </c:pt>
                <c:pt idx="1449">
                  <c:v>1403-01-21</c:v>
                </c:pt>
                <c:pt idx="1450">
                  <c:v>1403-01-25</c:v>
                </c:pt>
                <c:pt idx="1451">
                  <c:v>1403-01-26</c:v>
                </c:pt>
                <c:pt idx="1452">
                  <c:v>1403-01-27</c:v>
                </c:pt>
                <c:pt idx="1453">
                  <c:v>1403-01-28</c:v>
                </c:pt>
                <c:pt idx="1454">
                  <c:v>1403-01-29</c:v>
                </c:pt>
                <c:pt idx="1455">
                  <c:v>1403-02-01</c:v>
                </c:pt>
                <c:pt idx="1456">
                  <c:v>1403-02-02</c:v>
                </c:pt>
                <c:pt idx="1457">
                  <c:v>1403-02-03</c:v>
                </c:pt>
                <c:pt idx="1458">
                  <c:v>1403-02-04</c:v>
                </c:pt>
                <c:pt idx="1459">
                  <c:v>1403-02-05</c:v>
                </c:pt>
                <c:pt idx="1460">
                  <c:v>1403-02-08</c:v>
                </c:pt>
                <c:pt idx="1461">
                  <c:v>1403-02-09</c:v>
                </c:pt>
                <c:pt idx="1462">
                  <c:v>1403-02-10</c:v>
                </c:pt>
                <c:pt idx="1463">
                  <c:v>1403-02-11</c:v>
                </c:pt>
                <c:pt idx="1464">
                  <c:v>1403-02-12</c:v>
                </c:pt>
                <c:pt idx="1465">
                  <c:v>1403-02-16</c:v>
                </c:pt>
                <c:pt idx="1466">
                  <c:v>1403-02-17</c:v>
                </c:pt>
                <c:pt idx="1467">
                  <c:v>1403-02-18</c:v>
                </c:pt>
                <c:pt idx="1468">
                  <c:v>1403-02-19</c:v>
                </c:pt>
                <c:pt idx="1469">
                  <c:v>1403-02-22</c:v>
                </c:pt>
                <c:pt idx="1470">
                  <c:v>1403-02-23</c:v>
                </c:pt>
                <c:pt idx="1471">
                  <c:v>1403-02-24</c:v>
                </c:pt>
                <c:pt idx="1472">
                  <c:v>1403-02-25</c:v>
                </c:pt>
                <c:pt idx="1473">
                  <c:v>1403-02-26</c:v>
                </c:pt>
                <c:pt idx="1474">
                  <c:v>1403-02-29</c:v>
                </c:pt>
                <c:pt idx="1475">
                  <c:v>1403-02-30</c:v>
                </c:pt>
                <c:pt idx="1476">
                  <c:v>1403-03-01</c:v>
                </c:pt>
                <c:pt idx="1477">
                  <c:v>1403-03-05</c:v>
                </c:pt>
                <c:pt idx="1478">
                  <c:v>1403-03-06</c:v>
                </c:pt>
                <c:pt idx="1479">
                  <c:v>1403-03-07</c:v>
                </c:pt>
                <c:pt idx="1480">
                  <c:v>1403-03-08</c:v>
                </c:pt>
                <c:pt idx="1481">
                  <c:v>1403-03-09</c:v>
                </c:pt>
                <c:pt idx="1482">
                  <c:v>1403-03-12</c:v>
                </c:pt>
                <c:pt idx="1483">
                  <c:v>1403-03-13</c:v>
                </c:pt>
                <c:pt idx="1484">
                  <c:v>1403-03-16</c:v>
                </c:pt>
                <c:pt idx="1485">
                  <c:v>1403-03-19</c:v>
                </c:pt>
                <c:pt idx="1486">
                  <c:v>1403-03-20</c:v>
                </c:pt>
                <c:pt idx="1487">
                  <c:v>1403-03-21</c:v>
                </c:pt>
                <c:pt idx="1488">
                  <c:v>1403-03-22</c:v>
                </c:pt>
                <c:pt idx="1489">
                  <c:v>1403-03-23</c:v>
                </c:pt>
                <c:pt idx="1490">
                  <c:v>1403-03-26</c:v>
                </c:pt>
                <c:pt idx="1491">
                  <c:v>1403-03-27</c:v>
                </c:pt>
                <c:pt idx="1492">
                  <c:v>1403-03-29</c:v>
                </c:pt>
                <c:pt idx="1493">
                  <c:v>1403-03-30</c:v>
                </c:pt>
                <c:pt idx="1494">
                  <c:v>1403-04-02</c:v>
                </c:pt>
                <c:pt idx="1495">
                  <c:v>1403-04-03</c:v>
                </c:pt>
                <c:pt idx="1496">
                  <c:v>1403-04-04</c:v>
                </c:pt>
                <c:pt idx="1497">
                  <c:v>1403-04-06</c:v>
                </c:pt>
                <c:pt idx="1498">
                  <c:v>1403-04-09</c:v>
                </c:pt>
                <c:pt idx="1499">
                  <c:v>1403-04-10</c:v>
                </c:pt>
                <c:pt idx="1500">
                  <c:v>1403-04-11</c:v>
                </c:pt>
                <c:pt idx="1501">
                  <c:v>1403-04-12</c:v>
                </c:pt>
                <c:pt idx="1502">
                  <c:v>1403-04-13</c:v>
                </c:pt>
                <c:pt idx="1503">
                  <c:v>1403-04-16</c:v>
                </c:pt>
                <c:pt idx="1504">
                  <c:v>1403-04-17</c:v>
                </c:pt>
                <c:pt idx="1505">
                  <c:v>1403-04-18</c:v>
                </c:pt>
                <c:pt idx="1506">
                  <c:v>1403-04-19</c:v>
                </c:pt>
                <c:pt idx="1507">
                  <c:v>1403-04-20</c:v>
                </c:pt>
                <c:pt idx="1508">
                  <c:v>1403-04-23</c:v>
                </c:pt>
                <c:pt idx="1509">
                  <c:v>1403-04-24</c:v>
                </c:pt>
                <c:pt idx="1510">
                  <c:v>1403-04-27</c:v>
                </c:pt>
                <c:pt idx="1511">
                  <c:v>1403-04-30</c:v>
                </c:pt>
                <c:pt idx="1512">
                  <c:v>1403-04-31</c:v>
                </c:pt>
                <c:pt idx="1513">
                  <c:v>1403-05-01</c:v>
                </c:pt>
                <c:pt idx="1514">
                  <c:v>1403-05-02</c:v>
                </c:pt>
                <c:pt idx="1515">
                  <c:v>1403-05-03</c:v>
                </c:pt>
                <c:pt idx="1516">
                  <c:v>1403-05-06</c:v>
                </c:pt>
                <c:pt idx="1517">
                  <c:v>1403-05-08</c:v>
                </c:pt>
                <c:pt idx="1518">
                  <c:v>1403-05-09</c:v>
                </c:pt>
                <c:pt idx="1519">
                  <c:v>1403-05-10</c:v>
                </c:pt>
                <c:pt idx="1520">
                  <c:v>1403-05-13</c:v>
                </c:pt>
                <c:pt idx="1521">
                  <c:v>1403-05-14</c:v>
                </c:pt>
                <c:pt idx="1522">
                  <c:v>1403-05-15</c:v>
                </c:pt>
                <c:pt idx="1523">
                  <c:v>1403-05-16</c:v>
                </c:pt>
                <c:pt idx="1524">
                  <c:v>1403-05-20</c:v>
                </c:pt>
                <c:pt idx="1525">
                  <c:v>1403-05-21</c:v>
                </c:pt>
                <c:pt idx="1526">
                  <c:v>1403-05-22</c:v>
                </c:pt>
                <c:pt idx="1527">
                  <c:v>1403-05-23</c:v>
                </c:pt>
                <c:pt idx="1528">
                  <c:v>1403-05-24</c:v>
                </c:pt>
                <c:pt idx="1529">
                  <c:v>1403-05-27</c:v>
                </c:pt>
                <c:pt idx="1530">
                  <c:v>1403-05-28</c:v>
                </c:pt>
                <c:pt idx="1531">
                  <c:v>1403-05-29</c:v>
                </c:pt>
                <c:pt idx="1532">
                  <c:v>1403-05-30</c:v>
                </c:pt>
                <c:pt idx="1533">
                  <c:v>1403-05-31</c:v>
                </c:pt>
                <c:pt idx="1534">
                  <c:v>1403-06-03</c:v>
                </c:pt>
                <c:pt idx="1535">
                  <c:v>1403-06-05</c:v>
                </c:pt>
                <c:pt idx="1536">
                  <c:v>1403-06-06</c:v>
                </c:pt>
                <c:pt idx="1537">
                  <c:v>1403-06-07</c:v>
                </c:pt>
                <c:pt idx="1538">
                  <c:v>1403-06-10</c:v>
                </c:pt>
                <c:pt idx="1539">
                  <c:v>1403-06-11</c:v>
                </c:pt>
                <c:pt idx="1540">
                  <c:v>1403-06-13</c:v>
                </c:pt>
                <c:pt idx="1541">
                  <c:v>1403-06-17</c:v>
                </c:pt>
                <c:pt idx="1542">
                  <c:v>1403-06-18</c:v>
                </c:pt>
                <c:pt idx="1543">
                  <c:v>1403-06-19</c:v>
                </c:pt>
                <c:pt idx="1544">
                  <c:v>1403-06-20</c:v>
                </c:pt>
                <c:pt idx="1545">
                  <c:v>1403-06-21</c:v>
                </c:pt>
                <c:pt idx="1546">
                  <c:v>1403-06-24</c:v>
                </c:pt>
                <c:pt idx="1547">
                  <c:v>1403-06-25</c:v>
                </c:pt>
                <c:pt idx="1548">
                  <c:v>1403-06-26</c:v>
                </c:pt>
                <c:pt idx="1549">
                  <c:v>1403-06-27</c:v>
                </c:pt>
                <c:pt idx="1550">
                  <c:v>1403-06-28</c:v>
                </c:pt>
                <c:pt idx="1551">
                  <c:v>1403-07-01</c:v>
                </c:pt>
                <c:pt idx="1552">
                  <c:v>1403-07-02</c:v>
                </c:pt>
                <c:pt idx="1553">
                  <c:v>1403-07-03</c:v>
                </c:pt>
                <c:pt idx="1554">
                  <c:v>1403-07-04</c:v>
                </c:pt>
                <c:pt idx="1555">
                  <c:v>1403-07-07</c:v>
                </c:pt>
                <c:pt idx="1556">
                  <c:v>1403-07-08</c:v>
                </c:pt>
                <c:pt idx="1557">
                  <c:v>1403-07-09</c:v>
                </c:pt>
                <c:pt idx="1558">
                  <c:v>1403-07-10</c:v>
                </c:pt>
                <c:pt idx="1559">
                  <c:v>1403-07-11</c:v>
                </c:pt>
                <c:pt idx="1560">
                  <c:v>1403-07-14</c:v>
                </c:pt>
                <c:pt idx="1561">
                  <c:v>1403-07-15</c:v>
                </c:pt>
                <c:pt idx="1562">
                  <c:v>1403-07-16</c:v>
                </c:pt>
                <c:pt idx="1563">
                  <c:v>1403-07-17</c:v>
                </c:pt>
                <c:pt idx="1564">
                  <c:v>1403-07-18</c:v>
                </c:pt>
                <c:pt idx="1565">
                  <c:v>1403-07-21</c:v>
                </c:pt>
                <c:pt idx="1566">
                  <c:v>1403-07-21</c:v>
                </c:pt>
                <c:pt idx="1567">
                  <c:v>1403-07-22</c:v>
                </c:pt>
                <c:pt idx="1568">
                  <c:v>1403-07-23</c:v>
                </c:pt>
                <c:pt idx="1569">
                  <c:v>1403-07-24</c:v>
                </c:pt>
                <c:pt idx="1570">
                  <c:v>1403-07-25</c:v>
                </c:pt>
                <c:pt idx="1571">
                  <c:v>1403-07-28</c:v>
                </c:pt>
                <c:pt idx="1572">
                  <c:v>1403-07-29</c:v>
                </c:pt>
                <c:pt idx="1573">
                  <c:v>1403-07-30</c:v>
                </c:pt>
                <c:pt idx="1574">
                  <c:v>1403-08-01</c:v>
                </c:pt>
                <c:pt idx="1575">
                  <c:v>1403-08-02</c:v>
                </c:pt>
                <c:pt idx="1576">
                  <c:v>1403-08-05</c:v>
                </c:pt>
                <c:pt idx="1577">
                  <c:v>1403-08-06</c:v>
                </c:pt>
                <c:pt idx="1578">
                  <c:v>1403-08-07</c:v>
                </c:pt>
                <c:pt idx="1579">
                  <c:v>1403-08-08</c:v>
                </c:pt>
                <c:pt idx="1580">
                  <c:v>1403-08-09</c:v>
                </c:pt>
                <c:pt idx="1581">
                  <c:v>1403-08-12</c:v>
                </c:pt>
                <c:pt idx="1582">
                  <c:v>1403-08-13</c:v>
                </c:pt>
                <c:pt idx="1583">
                  <c:v>1403-08-14</c:v>
                </c:pt>
                <c:pt idx="1584">
                  <c:v>1403-08-15</c:v>
                </c:pt>
                <c:pt idx="1585">
                  <c:v>1403-08-16</c:v>
                </c:pt>
                <c:pt idx="1586">
                  <c:v>1403-08-19</c:v>
                </c:pt>
                <c:pt idx="1587">
                  <c:v>1403-08-20</c:v>
                </c:pt>
                <c:pt idx="1588">
                  <c:v>1403-08-21</c:v>
                </c:pt>
                <c:pt idx="1589">
                  <c:v>1403-08-22</c:v>
                </c:pt>
                <c:pt idx="1590">
                  <c:v>1403-08-23</c:v>
                </c:pt>
                <c:pt idx="1591">
                  <c:v>1403-08-26</c:v>
                </c:pt>
                <c:pt idx="1592">
                  <c:v>1403-08-27</c:v>
                </c:pt>
                <c:pt idx="1593">
                  <c:v>1403-08-28</c:v>
                </c:pt>
                <c:pt idx="1594">
                  <c:v>1403-08-29</c:v>
                </c:pt>
                <c:pt idx="1595">
                  <c:v>1403-08-30</c:v>
                </c:pt>
                <c:pt idx="1596">
                  <c:v>1403-09-03</c:v>
                </c:pt>
                <c:pt idx="1597">
                  <c:v>1403-09-04</c:v>
                </c:pt>
                <c:pt idx="1598">
                  <c:v>1403-09-05</c:v>
                </c:pt>
                <c:pt idx="1599">
                  <c:v>1403-09-06</c:v>
                </c:pt>
                <c:pt idx="1600">
                  <c:v>1403-09-07</c:v>
                </c:pt>
                <c:pt idx="1601">
                  <c:v>1403-09-10</c:v>
                </c:pt>
                <c:pt idx="1602">
                  <c:v>1403-09-11</c:v>
                </c:pt>
                <c:pt idx="1603">
                  <c:v>1403-09-12</c:v>
                </c:pt>
                <c:pt idx="1604">
                  <c:v>1403-09-13</c:v>
                </c:pt>
                <c:pt idx="1605">
                  <c:v>1403-09-14</c:v>
                </c:pt>
                <c:pt idx="1606">
                  <c:v>1403-09-17</c:v>
                </c:pt>
                <c:pt idx="1607">
                  <c:v>1403-09-18</c:v>
                </c:pt>
                <c:pt idx="1608">
                  <c:v>1403-09-19</c:v>
                </c:pt>
                <c:pt idx="1609">
                  <c:v>1403-09-20</c:v>
                </c:pt>
                <c:pt idx="1610">
                  <c:v>1403-09-21</c:v>
                </c:pt>
                <c:pt idx="1611">
                  <c:v>1403-09-24</c:v>
                </c:pt>
                <c:pt idx="1612">
                  <c:v>1403-09-25</c:v>
                </c:pt>
                <c:pt idx="1613">
                  <c:v>1403-09-26</c:v>
                </c:pt>
                <c:pt idx="1614">
                  <c:v>1403-09-27</c:v>
                </c:pt>
                <c:pt idx="1615">
                  <c:v>1403-09-28</c:v>
                </c:pt>
                <c:pt idx="1616">
                  <c:v>1403-10-01</c:v>
                </c:pt>
                <c:pt idx="1617">
                  <c:v>1403-10-02</c:v>
                </c:pt>
                <c:pt idx="1618">
                  <c:v>1403-10-03</c:v>
                </c:pt>
                <c:pt idx="1619">
                  <c:v>1403-10-04</c:v>
                </c:pt>
                <c:pt idx="1620">
                  <c:v>1403-10-05</c:v>
                </c:pt>
                <c:pt idx="1621">
                  <c:v>1403-10-08</c:v>
                </c:pt>
                <c:pt idx="1622">
                  <c:v>1403-10-09</c:v>
                </c:pt>
                <c:pt idx="1623">
                  <c:v>1403-10-10</c:v>
                </c:pt>
                <c:pt idx="1624">
                  <c:v>1403-10-11</c:v>
                </c:pt>
                <c:pt idx="1625">
                  <c:v>1403-10-12</c:v>
                </c:pt>
                <c:pt idx="1626">
                  <c:v>1403-10-15</c:v>
                </c:pt>
                <c:pt idx="1627">
                  <c:v>1403-10-16</c:v>
                </c:pt>
                <c:pt idx="1628">
                  <c:v>1403-10-17</c:v>
                </c:pt>
                <c:pt idx="1629">
                  <c:v>1403-10-18</c:v>
                </c:pt>
                <c:pt idx="1630">
                  <c:v>1403-10-19</c:v>
                </c:pt>
                <c:pt idx="1631">
                  <c:v>1403-10-22</c:v>
                </c:pt>
                <c:pt idx="1632">
                  <c:v>1403-10-23</c:v>
                </c:pt>
                <c:pt idx="1633">
                  <c:v>1403-10-24</c:v>
                </c:pt>
                <c:pt idx="1634">
                  <c:v>1403-10-26</c:v>
                </c:pt>
                <c:pt idx="1635">
                  <c:v>1403-10-29</c:v>
                </c:pt>
                <c:pt idx="1636">
                  <c:v>1403-10-30</c:v>
                </c:pt>
                <c:pt idx="1637">
                  <c:v>1403-11-01</c:v>
                </c:pt>
                <c:pt idx="1638">
                  <c:v>1403-11-02</c:v>
                </c:pt>
                <c:pt idx="1639">
                  <c:v>1403-11-03</c:v>
                </c:pt>
                <c:pt idx="1640">
                  <c:v>1403-11-06</c:v>
                </c:pt>
                <c:pt idx="1641">
                  <c:v>1403-11-07</c:v>
                </c:pt>
                <c:pt idx="1642">
                  <c:v>1403-11-08</c:v>
                </c:pt>
                <c:pt idx="1643">
                  <c:v>1403-11-10</c:v>
                </c:pt>
                <c:pt idx="1644">
                  <c:v>1403-11-13</c:v>
                </c:pt>
                <c:pt idx="1645">
                  <c:v>1403-11-14</c:v>
                </c:pt>
                <c:pt idx="1646">
                  <c:v>1403-11-15</c:v>
                </c:pt>
                <c:pt idx="1647">
                  <c:v>1403-11-16</c:v>
                </c:pt>
                <c:pt idx="1648">
                  <c:v>1403-11-17</c:v>
                </c:pt>
                <c:pt idx="1649">
                  <c:v>1403-11-21</c:v>
                </c:pt>
                <c:pt idx="1650">
                  <c:v>1403-11-23</c:v>
                </c:pt>
                <c:pt idx="1651">
                  <c:v>1403-11-27</c:v>
                </c:pt>
                <c:pt idx="1652">
                  <c:v>1403-11-28</c:v>
                </c:pt>
                <c:pt idx="1653">
                  <c:v>1403-11-29</c:v>
                </c:pt>
                <c:pt idx="1654">
                  <c:v>1403-11-30</c:v>
                </c:pt>
                <c:pt idx="1655">
                  <c:v>1403-12-01</c:v>
                </c:pt>
                <c:pt idx="1656">
                  <c:v>1403-12-04</c:v>
                </c:pt>
                <c:pt idx="1657">
                  <c:v>1403-12-05</c:v>
                </c:pt>
                <c:pt idx="1658">
                  <c:v>1403-12-06</c:v>
                </c:pt>
                <c:pt idx="1659">
                  <c:v>1403-12-07</c:v>
                </c:pt>
                <c:pt idx="1660">
                  <c:v>1403-12-08</c:v>
                </c:pt>
                <c:pt idx="1661">
                  <c:v>1403-12-11</c:v>
                </c:pt>
                <c:pt idx="1662">
                  <c:v>1403-12-12</c:v>
                </c:pt>
                <c:pt idx="1663">
                  <c:v>1403-12-13</c:v>
                </c:pt>
                <c:pt idx="1664">
                  <c:v>1403-12-14</c:v>
                </c:pt>
                <c:pt idx="1665">
                  <c:v>1403-12-15</c:v>
                </c:pt>
                <c:pt idx="1666">
                  <c:v>1403-12-18</c:v>
                </c:pt>
                <c:pt idx="1667">
                  <c:v>1403-12-19</c:v>
                </c:pt>
                <c:pt idx="1668">
                  <c:v>1403-12-20</c:v>
                </c:pt>
                <c:pt idx="1669">
                  <c:v>1403-12-21</c:v>
                </c:pt>
                <c:pt idx="1670">
                  <c:v>1403-12-22</c:v>
                </c:pt>
              </c:strCache>
              <c:extLst/>
            </c:strRef>
          </c:cat>
          <c:val>
            <c:numRef>
              <c:f>'  بورس ایران-شاخص بورس ایران   '!$C$3:$C$1700</c:f>
              <c:numCache>
                <c:formatCode>_(* #,##0_);_(* \(#,##0\);_(* "-"??_);_(@_)</c:formatCode>
                <c:ptCount val="1698"/>
                <c:pt idx="0">
                  <c:v>93728</c:v>
                </c:pt>
                <c:pt idx="1">
                  <c:v>93810</c:v>
                </c:pt>
                <c:pt idx="2">
                  <c:v>93945</c:v>
                </c:pt>
                <c:pt idx="3">
                  <c:v>94220</c:v>
                </c:pt>
                <c:pt idx="4">
                  <c:v>94420</c:v>
                </c:pt>
                <c:pt idx="5">
                  <c:v>94393</c:v>
                </c:pt>
                <c:pt idx="6">
                  <c:v>93962</c:v>
                </c:pt>
                <c:pt idx="7">
                  <c:v>93463</c:v>
                </c:pt>
                <c:pt idx="8">
                  <c:v>94248</c:v>
                </c:pt>
                <c:pt idx="9">
                  <c:v>93660</c:v>
                </c:pt>
                <c:pt idx="10">
                  <c:v>93150</c:v>
                </c:pt>
                <c:pt idx="11">
                  <c:v>92923</c:v>
                </c:pt>
                <c:pt idx="12">
                  <c:v>92369</c:v>
                </c:pt>
                <c:pt idx="13">
                  <c:v>92421</c:v>
                </c:pt>
                <c:pt idx="14">
                  <c:v>92514</c:v>
                </c:pt>
                <c:pt idx="15">
                  <c:v>92333</c:v>
                </c:pt>
                <c:pt idx="16">
                  <c:v>91611</c:v>
                </c:pt>
                <c:pt idx="17">
                  <c:v>91395</c:v>
                </c:pt>
                <c:pt idx="18">
                  <c:v>91690</c:v>
                </c:pt>
                <c:pt idx="19">
                  <c:v>91858</c:v>
                </c:pt>
                <c:pt idx="20">
                  <c:v>91364</c:v>
                </c:pt>
                <c:pt idx="21">
                  <c:v>90928</c:v>
                </c:pt>
                <c:pt idx="22">
                  <c:v>90761</c:v>
                </c:pt>
                <c:pt idx="23">
                  <c:v>90836</c:v>
                </c:pt>
                <c:pt idx="24">
                  <c:v>90226</c:v>
                </c:pt>
                <c:pt idx="25">
                  <c:v>90090</c:v>
                </c:pt>
                <c:pt idx="26">
                  <c:v>90640</c:v>
                </c:pt>
                <c:pt idx="27">
                  <c:v>91100</c:v>
                </c:pt>
                <c:pt idx="28">
                  <c:v>91058</c:v>
                </c:pt>
                <c:pt idx="29">
                  <c:v>91274</c:v>
                </c:pt>
                <c:pt idx="30">
                  <c:v>91595</c:v>
                </c:pt>
                <c:pt idx="31">
                  <c:v>92149</c:v>
                </c:pt>
                <c:pt idx="32">
                  <c:v>92351</c:v>
                </c:pt>
                <c:pt idx="33">
                  <c:v>92429</c:v>
                </c:pt>
                <c:pt idx="34">
                  <c:v>92678</c:v>
                </c:pt>
                <c:pt idx="35">
                  <c:v>92737</c:v>
                </c:pt>
                <c:pt idx="36">
                  <c:v>92830</c:v>
                </c:pt>
                <c:pt idx="37">
                  <c:v>92784</c:v>
                </c:pt>
                <c:pt idx="38">
                  <c:v>93014</c:v>
                </c:pt>
                <c:pt idx="39">
                  <c:v>93353</c:v>
                </c:pt>
                <c:pt idx="40">
                  <c:v>93169</c:v>
                </c:pt>
                <c:pt idx="41">
                  <c:v>93036</c:v>
                </c:pt>
                <c:pt idx="42">
                  <c:v>92900</c:v>
                </c:pt>
                <c:pt idx="43">
                  <c:v>93165</c:v>
                </c:pt>
                <c:pt idx="44">
                  <c:v>93494</c:v>
                </c:pt>
                <c:pt idx="45">
                  <c:v>93524</c:v>
                </c:pt>
                <c:pt idx="46">
                  <c:v>93542</c:v>
                </c:pt>
                <c:pt idx="47">
                  <c:v>93371</c:v>
                </c:pt>
                <c:pt idx="48">
                  <c:v>93361</c:v>
                </c:pt>
                <c:pt idx="49">
                  <c:v>93904</c:v>
                </c:pt>
                <c:pt idx="50">
                  <c:v>96659</c:v>
                </c:pt>
                <c:pt idx="51">
                  <c:v>99876</c:v>
                </c:pt>
                <c:pt idx="52">
                  <c:v>101737</c:v>
                </c:pt>
                <c:pt idx="53">
                  <c:v>103480</c:v>
                </c:pt>
                <c:pt idx="54">
                  <c:v>105791</c:v>
                </c:pt>
                <c:pt idx="55">
                  <c:v>106439</c:v>
                </c:pt>
                <c:pt idx="56">
                  <c:v>109014</c:v>
                </c:pt>
                <c:pt idx="57">
                  <c:v>111968</c:v>
                </c:pt>
                <c:pt idx="58">
                  <c:v>110335</c:v>
                </c:pt>
                <c:pt idx="59">
                  <c:v>108175</c:v>
                </c:pt>
                <c:pt idx="60">
                  <c:v>108310</c:v>
                </c:pt>
                <c:pt idx="61">
                  <c:v>105552</c:v>
                </c:pt>
                <c:pt idx="62">
                  <c:v>106566</c:v>
                </c:pt>
                <c:pt idx="63">
                  <c:v>108810</c:v>
                </c:pt>
                <c:pt idx="64">
                  <c:v>108958</c:v>
                </c:pt>
                <c:pt idx="65">
                  <c:v>107641</c:v>
                </c:pt>
                <c:pt idx="66">
                  <c:v>107420</c:v>
                </c:pt>
                <c:pt idx="67">
                  <c:v>107345</c:v>
                </c:pt>
                <c:pt idx="68">
                  <c:v>106086</c:v>
                </c:pt>
                <c:pt idx="69">
                  <c:v>105592</c:v>
                </c:pt>
                <c:pt idx="70">
                  <c:v>104810</c:v>
                </c:pt>
                <c:pt idx="71">
                  <c:v>104800</c:v>
                </c:pt>
                <c:pt idx="72">
                  <c:v>104459</c:v>
                </c:pt>
                <c:pt idx="73">
                  <c:v>104463</c:v>
                </c:pt>
                <c:pt idx="74">
                  <c:v>104931</c:v>
                </c:pt>
                <c:pt idx="75">
                  <c:v>105477</c:v>
                </c:pt>
                <c:pt idx="76">
                  <c:v>105296</c:v>
                </c:pt>
                <c:pt idx="77">
                  <c:v>105073</c:v>
                </c:pt>
                <c:pt idx="78">
                  <c:v>105574</c:v>
                </c:pt>
                <c:pt idx="79">
                  <c:v>108640</c:v>
                </c:pt>
                <c:pt idx="80">
                  <c:v>110517</c:v>
                </c:pt>
                <c:pt idx="81">
                  <c:v>113451</c:v>
                </c:pt>
                <c:pt idx="82">
                  <c:v>117827</c:v>
                </c:pt>
                <c:pt idx="83">
                  <c:v>120548</c:v>
                </c:pt>
                <c:pt idx="84">
                  <c:v>120774</c:v>
                </c:pt>
                <c:pt idx="85">
                  <c:v>124846</c:v>
                </c:pt>
                <c:pt idx="86">
                  <c:v>129826</c:v>
                </c:pt>
                <c:pt idx="87">
                  <c:v>129825</c:v>
                </c:pt>
                <c:pt idx="88">
                  <c:v>127715</c:v>
                </c:pt>
                <c:pt idx="89">
                  <c:v>125375</c:v>
                </c:pt>
                <c:pt idx="90">
                  <c:v>126265</c:v>
                </c:pt>
                <c:pt idx="91">
                  <c:v>125012</c:v>
                </c:pt>
                <c:pt idx="92">
                  <c:v>127239</c:v>
                </c:pt>
                <c:pt idx="93">
                  <c:v>126856</c:v>
                </c:pt>
                <c:pt idx="94">
                  <c:v>127797</c:v>
                </c:pt>
                <c:pt idx="95">
                  <c:v>130529</c:v>
                </c:pt>
                <c:pt idx="96">
                  <c:v>133015</c:v>
                </c:pt>
                <c:pt idx="97">
                  <c:v>132851</c:v>
                </c:pt>
                <c:pt idx="98">
                  <c:v>132279</c:v>
                </c:pt>
                <c:pt idx="99">
                  <c:v>134349</c:v>
                </c:pt>
                <c:pt idx="100">
                  <c:v>135987</c:v>
                </c:pt>
                <c:pt idx="101">
                  <c:v>132693</c:v>
                </c:pt>
                <c:pt idx="102">
                  <c:v>133358</c:v>
                </c:pt>
                <c:pt idx="103">
                  <c:v>132085</c:v>
                </c:pt>
                <c:pt idx="104">
                  <c:v>129595</c:v>
                </c:pt>
                <c:pt idx="105">
                  <c:v>131159</c:v>
                </c:pt>
                <c:pt idx="106">
                  <c:v>133932</c:v>
                </c:pt>
                <c:pt idx="107">
                  <c:v>133838</c:v>
                </c:pt>
                <c:pt idx="108">
                  <c:v>135857</c:v>
                </c:pt>
                <c:pt idx="109">
                  <c:v>138363</c:v>
                </c:pt>
                <c:pt idx="110">
                  <c:v>142863</c:v>
                </c:pt>
                <c:pt idx="111">
                  <c:v>144301</c:v>
                </c:pt>
                <c:pt idx="112">
                  <c:v>150611</c:v>
                </c:pt>
                <c:pt idx="113">
                  <c:v>153572</c:v>
                </c:pt>
                <c:pt idx="114">
                  <c:v>151431</c:v>
                </c:pt>
                <c:pt idx="115">
                  <c:v>153908</c:v>
                </c:pt>
                <c:pt idx="116">
                  <c:v>153537</c:v>
                </c:pt>
                <c:pt idx="117">
                  <c:v>156459</c:v>
                </c:pt>
                <c:pt idx="118">
                  <c:v>160529</c:v>
                </c:pt>
                <c:pt idx="119">
                  <c:v>164066</c:v>
                </c:pt>
                <c:pt idx="120">
                  <c:v>169825</c:v>
                </c:pt>
                <c:pt idx="121">
                  <c:v>175544</c:v>
                </c:pt>
                <c:pt idx="122">
                  <c:v>182150</c:v>
                </c:pt>
                <c:pt idx="123">
                  <c:v>189505</c:v>
                </c:pt>
                <c:pt idx="124">
                  <c:v>189963</c:v>
                </c:pt>
                <c:pt idx="125">
                  <c:v>183041</c:v>
                </c:pt>
                <c:pt idx="126">
                  <c:v>180177</c:v>
                </c:pt>
                <c:pt idx="127">
                  <c:v>178881</c:v>
                </c:pt>
                <c:pt idx="128">
                  <c:v>171420</c:v>
                </c:pt>
                <c:pt idx="129">
                  <c:v>169921</c:v>
                </c:pt>
                <c:pt idx="130">
                  <c:v>175246</c:v>
                </c:pt>
                <c:pt idx="131">
                  <c:v>175166</c:v>
                </c:pt>
                <c:pt idx="132">
                  <c:v>169312</c:v>
                </c:pt>
                <c:pt idx="133">
                  <c:v>168989</c:v>
                </c:pt>
                <c:pt idx="134">
                  <c:v>174617</c:v>
                </c:pt>
                <c:pt idx="135">
                  <c:v>176869</c:v>
                </c:pt>
                <c:pt idx="136">
                  <c:v>176864</c:v>
                </c:pt>
                <c:pt idx="137">
                  <c:v>182399</c:v>
                </c:pt>
                <c:pt idx="138">
                  <c:v>183383</c:v>
                </c:pt>
                <c:pt idx="139">
                  <c:v>181896</c:v>
                </c:pt>
                <c:pt idx="140">
                  <c:v>179882</c:v>
                </c:pt>
                <c:pt idx="141">
                  <c:v>175848</c:v>
                </c:pt>
                <c:pt idx="142">
                  <c:v>173432</c:v>
                </c:pt>
                <c:pt idx="143">
                  <c:v>174869</c:v>
                </c:pt>
                <c:pt idx="144">
                  <c:v>177352</c:v>
                </c:pt>
                <c:pt idx="145">
                  <c:v>177210</c:v>
                </c:pt>
                <c:pt idx="146">
                  <c:v>177163</c:v>
                </c:pt>
                <c:pt idx="147">
                  <c:v>176436</c:v>
                </c:pt>
                <c:pt idx="148">
                  <c:v>177789</c:v>
                </c:pt>
                <c:pt idx="149">
                  <c:v>178752</c:v>
                </c:pt>
                <c:pt idx="150">
                  <c:v>177646</c:v>
                </c:pt>
                <c:pt idx="151">
                  <c:v>174273</c:v>
                </c:pt>
                <c:pt idx="152">
                  <c:v>175865</c:v>
                </c:pt>
                <c:pt idx="153">
                  <c:v>176791</c:v>
                </c:pt>
                <c:pt idx="154">
                  <c:v>175335</c:v>
                </c:pt>
                <c:pt idx="155">
                  <c:v>172140</c:v>
                </c:pt>
                <c:pt idx="156">
                  <c:v>167390</c:v>
                </c:pt>
                <c:pt idx="157">
                  <c:v>169651</c:v>
                </c:pt>
                <c:pt idx="158">
                  <c:v>170233</c:v>
                </c:pt>
                <c:pt idx="159">
                  <c:v>169529</c:v>
                </c:pt>
                <c:pt idx="160">
                  <c:v>165292</c:v>
                </c:pt>
                <c:pt idx="161">
                  <c:v>160520</c:v>
                </c:pt>
                <c:pt idx="162">
                  <c:v>161322</c:v>
                </c:pt>
                <c:pt idx="163">
                  <c:v>157986</c:v>
                </c:pt>
                <c:pt idx="164">
                  <c:v>153978</c:v>
                </c:pt>
                <c:pt idx="165">
                  <c:v>157508</c:v>
                </c:pt>
                <c:pt idx="166">
                  <c:v>160765</c:v>
                </c:pt>
                <c:pt idx="167">
                  <c:v>160337</c:v>
                </c:pt>
                <c:pt idx="168">
                  <c:v>161484</c:v>
                </c:pt>
                <c:pt idx="169">
                  <c:v>161847</c:v>
                </c:pt>
                <c:pt idx="170">
                  <c:v>161436</c:v>
                </c:pt>
                <c:pt idx="171">
                  <c:v>161705</c:v>
                </c:pt>
                <c:pt idx="172">
                  <c:v>161139</c:v>
                </c:pt>
                <c:pt idx="173">
                  <c:v>160328</c:v>
                </c:pt>
                <c:pt idx="174">
                  <c:v>159498</c:v>
                </c:pt>
                <c:pt idx="175">
                  <c:v>157001</c:v>
                </c:pt>
                <c:pt idx="176">
                  <c:v>155168</c:v>
                </c:pt>
                <c:pt idx="177">
                  <c:v>154656</c:v>
                </c:pt>
                <c:pt idx="178">
                  <c:v>151900</c:v>
                </c:pt>
                <c:pt idx="179">
                  <c:v>150494</c:v>
                </c:pt>
                <c:pt idx="180">
                  <c:v>152741</c:v>
                </c:pt>
                <c:pt idx="181">
                  <c:v>153518</c:v>
                </c:pt>
                <c:pt idx="182">
                  <c:v>152999</c:v>
                </c:pt>
                <c:pt idx="183">
                  <c:v>154439</c:v>
                </c:pt>
                <c:pt idx="184">
                  <c:v>156738</c:v>
                </c:pt>
                <c:pt idx="185">
                  <c:v>157225</c:v>
                </c:pt>
                <c:pt idx="186">
                  <c:v>157358</c:v>
                </c:pt>
                <c:pt idx="187">
                  <c:v>157835</c:v>
                </c:pt>
                <c:pt idx="188">
                  <c:v>156967</c:v>
                </c:pt>
                <c:pt idx="189">
                  <c:v>157087</c:v>
                </c:pt>
                <c:pt idx="190">
                  <c:v>157376</c:v>
                </c:pt>
                <c:pt idx="191">
                  <c:v>158578</c:v>
                </c:pt>
                <c:pt idx="192">
                  <c:v>160111</c:v>
                </c:pt>
                <c:pt idx="193">
                  <c:v>161102</c:v>
                </c:pt>
                <c:pt idx="194">
                  <c:v>161147</c:v>
                </c:pt>
                <c:pt idx="195">
                  <c:v>160688</c:v>
                </c:pt>
                <c:pt idx="196">
                  <c:v>161066</c:v>
                </c:pt>
                <c:pt idx="197">
                  <c:v>162059</c:v>
                </c:pt>
                <c:pt idx="198">
                  <c:v>162256</c:v>
                </c:pt>
                <c:pt idx="199">
                  <c:v>162953</c:v>
                </c:pt>
                <c:pt idx="200">
                  <c:v>162342</c:v>
                </c:pt>
                <c:pt idx="201">
                  <c:v>159051</c:v>
                </c:pt>
                <c:pt idx="202">
                  <c:v>159907</c:v>
                </c:pt>
                <c:pt idx="203">
                  <c:v>160009</c:v>
                </c:pt>
                <c:pt idx="204">
                  <c:v>159390</c:v>
                </c:pt>
                <c:pt idx="205">
                  <c:v>157736</c:v>
                </c:pt>
                <c:pt idx="206">
                  <c:v>156505</c:v>
                </c:pt>
                <c:pt idx="207">
                  <c:v>156862</c:v>
                </c:pt>
                <c:pt idx="208">
                  <c:v>157199</c:v>
                </c:pt>
                <c:pt idx="209">
                  <c:v>156949</c:v>
                </c:pt>
                <c:pt idx="210">
                  <c:v>154461</c:v>
                </c:pt>
                <c:pt idx="211">
                  <c:v>155213</c:v>
                </c:pt>
                <c:pt idx="212">
                  <c:v>155482</c:v>
                </c:pt>
                <c:pt idx="213">
                  <c:v>156200</c:v>
                </c:pt>
                <c:pt idx="214">
                  <c:v>156116</c:v>
                </c:pt>
                <c:pt idx="215">
                  <c:v>155715</c:v>
                </c:pt>
                <c:pt idx="216">
                  <c:v>155178</c:v>
                </c:pt>
                <c:pt idx="217">
                  <c:v>155170</c:v>
                </c:pt>
                <c:pt idx="218">
                  <c:v>154290</c:v>
                </c:pt>
                <c:pt idx="219">
                  <c:v>154838</c:v>
                </c:pt>
                <c:pt idx="220">
                  <c:v>155636</c:v>
                </c:pt>
                <c:pt idx="221">
                  <c:v>157702</c:v>
                </c:pt>
                <c:pt idx="222">
                  <c:v>162146</c:v>
                </c:pt>
                <c:pt idx="223">
                  <c:v>163906</c:v>
                </c:pt>
                <c:pt idx="224">
                  <c:v>164792</c:v>
                </c:pt>
                <c:pt idx="225">
                  <c:v>163026</c:v>
                </c:pt>
                <c:pt idx="226">
                  <c:v>163919</c:v>
                </c:pt>
                <c:pt idx="227">
                  <c:v>163152</c:v>
                </c:pt>
                <c:pt idx="228">
                  <c:v>163003</c:v>
                </c:pt>
                <c:pt idx="229">
                  <c:v>162936</c:v>
                </c:pt>
                <c:pt idx="230">
                  <c:v>161235</c:v>
                </c:pt>
                <c:pt idx="231">
                  <c:v>161422</c:v>
                </c:pt>
                <c:pt idx="232">
                  <c:v>161401</c:v>
                </c:pt>
                <c:pt idx="233">
                  <c:v>162846</c:v>
                </c:pt>
                <c:pt idx="234">
                  <c:v>165587</c:v>
                </c:pt>
                <c:pt idx="235">
                  <c:v>165953</c:v>
                </c:pt>
                <c:pt idx="236">
                  <c:v>166975</c:v>
                </c:pt>
                <c:pt idx="237">
                  <c:v>168788</c:v>
                </c:pt>
                <c:pt idx="238">
                  <c:v>170804</c:v>
                </c:pt>
                <c:pt idx="239">
                  <c:v>174210</c:v>
                </c:pt>
                <c:pt idx="240">
                  <c:v>177152</c:v>
                </c:pt>
                <c:pt idx="241">
                  <c:v>177988</c:v>
                </c:pt>
                <c:pt idx="242">
                  <c:v>178755</c:v>
                </c:pt>
                <c:pt idx="243">
                  <c:v>180840</c:v>
                </c:pt>
                <c:pt idx="244">
                  <c:v>184735</c:v>
                </c:pt>
                <c:pt idx="245">
                  <c:v>185403</c:v>
                </c:pt>
                <c:pt idx="246">
                  <c:v>186253</c:v>
                </c:pt>
                <c:pt idx="247">
                  <c:v>187786</c:v>
                </c:pt>
                <c:pt idx="248">
                  <c:v>188125</c:v>
                </c:pt>
                <c:pt idx="249">
                  <c:v>189890</c:v>
                </c:pt>
                <c:pt idx="250">
                  <c:v>193353</c:v>
                </c:pt>
                <c:pt idx="251">
                  <c:v>194354</c:v>
                </c:pt>
                <c:pt idx="252">
                  <c:v>194806</c:v>
                </c:pt>
                <c:pt idx="253">
                  <c:v>200142</c:v>
                </c:pt>
                <c:pt idx="254">
                  <c:v>199712</c:v>
                </c:pt>
                <c:pt idx="255">
                  <c:v>197589</c:v>
                </c:pt>
                <c:pt idx="256">
                  <c:v>202054</c:v>
                </c:pt>
                <c:pt idx="257">
                  <c:v>202215</c:v>
                </c:pt>
                <c:pt idx="258">
                  <c:v>200808</c:v>
                </c:pt>
                <c:pt idx="259">
                  <c:v>201530</c:v>
                </c:pt>
                <c:pt idx="260">
                  <c:v>203130</c:v>
                </c:pt>
                <c:pt idx="261">
                  <c:v>207055</c:v>
                </c:pt>
                <c:pt idx="262">
                  <c:v>212328</c:v>
                </c:pt>
                <c:pt idx="263">
                  <c:v>214041</c:v>
                </c:pt>
                <c:pt idx="264">
                  <c:v>217072</c:v>
                </c:pt>
                <c:pt idx="265">
                  <c:v>221079</c:v>
                </c:pt>
                <c:pt idx="266">
                  <c:v>220602</c:v>
                </c:pt>
                <c:pt idx="267">
                  <c:v>213243</c:v>
                </c:pt>
                <c:pt idx="268">
                  <c:v>206235</c:v>
                </c:pt>
                <c:pt idx="269">
                  <c:v>209308</c:v>
                </c:pt>
                <c:pt idx="270">
                  <c:v>207266</c:v>
                </c:pt>
                <c:pt idx="271">
                  <c:v>201851</c:v>
                </c:pt>
                <c:pt idx="272">
                  <c:v>205480</c:v>
                </c:pt>
                <c:pt idx="273">
                  <c:v>209399</c:v>
                </c:pt>
                <c:pt idx="274">
                  <c:v>208728</c:v>
                </c:pt>
                <c:pt idx="275">
                  <c:v>210528</c:v>
                </c:pt>
                <c:pt idx="276">
                  <c:v>210862</c:v>
                </c:pt>
                <c:pt idx="277">
                  <c:v>209709</c:v>
                </c:pt>
                <c:pt idx="278">
                  <c:v>212697</c:v>
                </c:pt>
                <c:pt idx="279">
                  <c:v>213095</c:v>
                </c:pt>
                <c:pt idx="280">
                  <c:v>212389</c:v>
                </c:pt>
                <c:pt idx="281">
                  <c:v>215430</c:v>
                </c:pt>
                <c:pt idx="282">
                  <c:v>221038</c:v>
                </c:pt>
                <c:pt idx="283">
                  <c:v>222218</c:v>
                </c:pt>
                <c:pt idx="284">
                  <c:v>220273</c:v>
                </c:pt>
                <c:pt idx="285">
                  <c:v>223010</c:v>
                </c:pt>
                <c:pt idx="286">
                  <c:v>225750</c:v>
                </c:pt>
                <c:pt idx="287">
                  <c:v>225504</c:v>
                </c:pt>
                <c:pt idx="288">
                  <c:v>227692</c:v>
                </c:pt>
                <c:pt idx="289">
                  <c:v>228104</c:v>
                </c:pt>
                <c:pt idx="290">
                  <c:v>228582</c:v>
                </c:pt>
                <c:pt idx="291">
                  <c:v>231080</c:v>
                </c:pt>
                <c:pt idx="292">
                  <c:v>231664</c:v>
                </c:pt>
                <c:pt idx="293">
                  <c:v>235545</c:v>
                </c:pt>
                <c:pt idx="294">
                  <c:v>235899</c:v>
                </c:pt>
                <c:pt idx="295">
                  <c:v>235176</c:v>
                </c:pt>
                <c:pt idx="296">
                  <c:v>232534</c:v>
                </c:pt>
                <c:pt idx="297">
                  <c:v>231791</c:v>
                </c:pt>
                <c:pt idx="298">
                  <c:v>235765</c:v>
                </c:pt>
                <c:pt idx="299">
                  <c:v>240389</c:v>
                </c:pt>
                <c:pt idx="300">
                  <c:v>242949</c:v>
                </c:pt>
                <c:pt idx="301">
                  <c:v>246396</c:v>
                </c:pt>
                <c:pt idx="302">
                  <c:v>246550</c:v>
                </c:pt>
                <c:pt idx="303">
                  <c:v>245278</c:v>
                </c:pt>
                <c:pt idx="304">
                  <c:v>246091</c:v>
                </c:pt>
                <c:pt idx="305">
                  <c:v>246811</c:v>
                </c:pt>
                <c:pt idx="306">
                  <c:v>243693</c:v>
                </c:pt>
                <c:pt idx="307">
                  <c:v>244616</c:v>
                </c:pt>
                <c:pt idx="308">
                  <c:v>247222</c:v>
                </c:pt>
                <c:pt idx="309">
                  <c:v>246828</c:v>
                </c:pt>
                <c:pt idx="310">
                  <c:v>247477</c:v>
                </c:pt>
                <c:pt idx="311">
                  <c:v>248305</c:v>
                </c:pt>
                <c:pt idx="312">
                  <c:v>251634</c:v>
                </c:pt>
                <c:pt idx="313">
                  <c:v>251197</c:v>
                </c:pt>
                <c:pt idx="314">
                  <c:v>243613</c:v>
                </c:pt>
                <c:pt idx="315">
                  <c:v>244055</c:v>
                </c:pt>
                <c:pt idx="316">
                  <c:v>243514</c:v>
                </c:pt>
                <c:pt idx="317">
                  <c:v>245621</c:v>
                </c:pt>
                <c:pt idx="318">
                  <c:v>248004</c:v>
                </c:pt>
                <c:pt idx="319">
                  <c:v>245617</c:v>
                </c:pt>
                <c:pt idx="320">
                  <c:v>246316</c:v>
                </c:pt>
                <c:pt idx="321">
                  <c:v>245571</c:v>
                </c:pt>
                <c:pt idx="322">
                  <c:v>245529</c:v>
                </c:pt>
                <c:pt idx="323">
                  <c:v>245613</c:v>
                </c:pt>
                <c:pt idx="324">
                  <c:v>246374</c:v>
                </c:pt>
                <c:pt idx="325">
                  <c:v>248128</c:v>
                </c:pt>
                <c:pt idx="326">
                  <c:v>248323</c:v>
                </c:pt>
                <c:pt idx="327">
                  <c:v>249407</c:v>
                </c:pt>
                <c:pt idx="328">
                  <c:v>250481</c:v>
                </c:pt>
                <c:pt idx="329">
                  <c:v>249692</c:v>
                </c:pt>
                <c:pt idx="330">
                  <c:v>249385</c:v>
                </c:pt>
                <c:pt idx="331">
                  <c:v>252989</c:v>
                </c:pt>
                <c:pt idx="332">
                  <c:v>253483</c:v>
                </c:pt>
                <c:pt idx="333">
                  <c:v>254945</c:v>
                </c:pt>
                <c:pt idx="334">
                  <c:v>263478</c:v>
                </c:pt>
                <c:pt idx="335">
                  <c:v>263603</c:v>
                </c:pt>
                <c:pt idx="336">
                  <c:v>263048</c:v>
                </c:pt>
                <c:pt idx="337">
                  <c:v>264992</c:v>
                </c:pt>
                <c:pt idx="338">
                  <c:v>268222</c:v>
                </c:pt>
                <c:pt idx="339">
                  <c:v>271652</c:v>
                </c:pt>
                <c:pt idx="340">
                  <c:v>270778</c:v>
                </c:pt>
                <c:pt idx="341">
                  <c:v>276663</c:v>
                </c:pt>
                <c:pt idx="342">
                  <c:v>280322</c:v>
                </c:pt>
                <c:pt idx="343">
                  <c:v>280569</c:v>
                </c:pt>
                <c:pt idx="344">
                  <c:v>285860</c:v>
                </c:pt>
                <c:pt idx="345">
                  <c:v>287630</c:v>
                </c:pt>
                <c:pt idx="346">
                  <c:v>284297</c:v>
                </c:pt>
                <c:pt idx="347">
                  <c:v>286402</c:v>
                </c:pt>
                <c:pt idx="348">
                  <c:v>290951</c:v>
                </c:pt>
                <c:pt idx="349">
                  <c:v>295432</c:v>
                </c:pt>
                <c:pt idx="350">
                  <c:v>297316</c:v>
                </c:pt>
                <c:pt idx="351">
                  <c:v>300544</c:v>
                </c:pt>
                <c:pt idx="352">
                  <c:v>304765</c:v>
                </c:pt>
                <c:pt idx="353">
                  <c:v>303179</c:v>
                </c:pt>
                <c:pt idx="354">
                  <c:v>307171</c:v>
                </c:pt>
                <c:pt idx="355">
                  <c:v>303685</c:v>
                </c:pt>
                <c:pt idx="356">
                  <c:v>295744</c:v>
                </c:pt>
                <c:pt idx="357">
                  <c:v>299553</c:v>
                </c:pt>
                <c:pt idx="358">
                  <c:v>304050</c:v>
                </c:pt>
                <c:pt idx="359">
                  <c:v>313211</c:v>
                </c:pt>
                <c:pt idx="360">
                  <c:v>314043</c:v>
                </c:pt>
                <c:pt idx="361">
                  <c:v>316264</c:v>
                </c:pt>
                <c:pt idx="362">
                  <c:v>321949</c:v>
                </c:pt>
                <c:pt idx="363">
                  <c:v>320319</c:v>
                </c:pt>
                <c:pt idx="364">
                  <c:v>326526</c:v>
                </c:pt>
                <c:pt idx="365">
                  <c:v>327611</c:v>
                </c:pt>
                <c:pt idx="366">
                  <c:v>327340</c:v>
                </c:pt>
                <c:pt idx="367">
                  <c:v>328108</c:v>
                </c:pt>
                <c:pt idx="368">
                  <c:v>321323</c:v>
                </c:pt>
                <c:pt idx="369">
                  <c:v>322287</c:v>
                </c:pt>
                <c:pt idx="370">
                  <c:v>315637</c:v>
                </c:pt>
                <c:pt idx="371">
                  <c:v>313815</c:v>
                </c:pt>
                <c:pt idx="372">
                  <c:v>322442</c:v>
                </c:pt>
                <c:pt idx="373">
                  <c:v>325978</c:v>
                </c:pt>
                <c:pt idx="374">
                  <c:v>319352</c:v>
                </c:pt>
                <c:pt idx="375">
                  <c:v>308437</c:v>
                </c:pt>
                <c:pt idx="376">
                  <c:v>308347</c:v>
                </c:pt>
                <c:pt idx="377">
                  <c:v>299709</c:v>
                </c:pt>
                <c:pt idx="378">
                  <c:v>300005</c:v>
                </c:pt>
                <c:pt idx="379">
                  <c:v>306414</c:v>
                </c:pt>
                <c:pt idx="380">
                  <c:v>304047</c:v>
                </c:pt>
                <c:pt idx="381">
                  <c:v>302071</c:v>
                </c:pt>
                <c:pt idx="382">
                  <c:v>305135</c:v>
                </c:pt>
                <c:pt idx="383">
                  <c:v>309189</c:v>
                </c:pt>
                <c:pt idx="384">
                  <c:v>308273</c:v>
                </c:pt>
                <c:pt idx="385">
                  <c:v>308443</c:v>
                </c:pt>
                <c:pt idx="386">
                  <c:v>304470</c:v>
                </c:pt>
                <c:pt idx="387">
                  <c:v>305025</c:v>
                </c:pt>
                <c:pt idx="388">
                  <c:v>305597</c:v>
                </c:pt>
                <c:pt idx="389">
                  <c:v>302684</c:v>
                </c:pt>
                <c:pt idx="390">
                  <c:v>303927</c:v>
                </c:pt>
                <c:pt idx="391">
                  <c:v>306582</c:v>
                </c:pt>
                <c:pt idx="392">
                  <c:v>307084</c:v>
                </c:pt>
                <c:pt idx="393">
                  <c:v>306948</c:v>
                </c:pt>
                <c:pt idx="394">
                  <c:v>302059</c:v>
                </c:pt>
                <c:pt idx="395">
                  <c:v>302768</c:v>
                </c:pt>
                <c:pt idx="396">
                  <c:v>305126</c:v>
                </c:pt>
                <c:pt idx="397">
                  <c:v>305761</c:v>
                </c:pt>
                <c:pt idx="398">
                  <c:v>306344</c:v>
                </c:pt>
                <c:pt idx="399">
                  <c:v>306363</c:v>
                </c:pt>
                <c:pt idx="400">
                  <c:v>309298</c:v>
                </c:pt>
                <c:pt idx="401">
                  <c:v>310868</c:v>
                </c:pt>
                <c:pt idx="402">
                  <c:v>312408</c:v>
                </c:pt>
                <c:pt idx="403">
                  <c:v>315615</c:v>
                </c:pt>
                <c:pt idx="404">
                  <c:v>319521</c:v>
                </c:pt>
                <c:pt idx="405">
                  <c:v>320511</c:v>
                </c:pt>
                <c:pt idx="406">
                  <c:v>321107</c:v>
                </c:pt>
                <c:pt idx="407">
                  <c:v>323107</c:v>
                </c:pt>
                <c:pt idx="408">
                  <c:v>328265</c:v>
                </c:pt>
                <c:pt idx="409">
                  <c:v>333073</c:v>
                </c:pt>
                <c:pt idx="410">
                  <c:v>336655</c:v>
                </c:pt>
                <c:pt idx="411">
                  <c:v>340224</c:v>
                </c:pt>
                <c:pt idx="412">
                  <c:v>340097</c:v>
                </c:pt>
                <c:pt idx="413">
                  <c:v>344184</c:v>
                </c:pt>
                <c:pt idx="414">
                  <c:v>345161</c:v>
                </c:pt>
                <c:pt idx="415">
                  <c:v>345630</c:v>
                </c:pt>
                <c:pt idx="416">
                  <c:v>348200</c:v>
                </c:pt>
                <c:pt idx="417">
                  <c:v>351115</c:v>
                </c:pt>
                <c:pt idx="418">
                  <c:v>354532</c:v>
                </c:pt>
                <c:pt idx="419">
                  <c:v>357475</c:v>
                </c:pt>
                <c:pt idx="420">
                  <c:v>359438</c:v>
                </c:pt>
                <c:pt idx="421">
                  <c:v>362530</c:v>
                </c:pt>
                <c:pt idx="422">
                  <c:v>361502</c:v>
                </c:pt>
                <c:pt idx="423">
                  <c:v>368280</c:v>
                </c:pt>
                <c:pt idx="424">
                  <c:v>370665</c:v>
                </c:pt>
                <c:pt idx="425">
                  <c:v>376921</c:v>
                </c:pt>
                <c:pt idx="426">
                  <c:v>378343</c:v>
                </c:pt>
                <c:pt idx="427">
                  <c:v>385207</c:v>
                </c:pt>
                <c:pt idx="428">
                  <c:v>368333</c:v>
                </c:pt>
                <c:pt idx="429">
                  <c:v>366356</c:v>
                </c:pt>
                <c:pt idx="430">
                  <c:v>359091</c:v>
                </c:pt>
                <c:pt idx="431">
                  <c:v>353969</c:v>
                </c:pt>
                <c:pt idx="432">
                  <c:v>360090</c:v>
                </c:pt>
                <c:pt idx="433">
                  <c:v>376517</c:v>
                </c:pt>
                <c:pt idx="434">
                  <c:v>392124</c:v>
                </c:pt>
                <c:pt idx="435">
                  <c:v>395987</c:v>
                </c:pt>
                <c:pt idx="436">
                  <c:v>399130</c:v>
                </c:pt>
                <c:pt idx="437">
                  <c:v>410020</c:v>
                </c:pt>
                <c:pt idx="438">
                  <c:v>410914</c:v>
                </c:pt>
                <c:pt idx="439">
                  <c:v>410215</c:v>
                </c:pt>
                <c:pt idx="440">
                  <c:v>406489</c:v>
                </c:pt>
                <c:pt idx="441">
                  <c:v>411195</c:v>
                </c:pt>
                <c:pt idx="442">
                  <c:v>416603</c:v>
                </c:pt>
                <c:pt idx="443">
                  <c:v>417554</c:v>
                </c:pt>
                <c:pt idx="444">
                  <c:v>419284</c:v>
                </c:pt>
                <c:pt idx="445">
                  <c:v>425722</c:v>
                </c:pt>
                <c:pt idx="446">
                  <c:v>425065</c:v>
                </c:pt>
                <c:pt idx="447">
                  <c:v>426756</c:v>
                </c:pt>
                <c:pt idx="448">
                  <c:v>437248</c:v>
                </c:pt>
                <c:pt idx="449">
                  <c:v>438327</c:v>
                </c:pt>
                <c:pt idx="450">
                  <c:v>444491</c:v>
                </c:pt>
                <c:pt idx="451">
                  <c:v>451446</c:v>
                </c:pt>
                <c:pt idx="452">
                  <c:v>453070</c:v>
                </c:pt>
                <c:pt idx="453">
                  <c:v>445578</c:v>
                </c:pt>
                <c:pt idx="454">
                  <c:v>457486</c:v>
                </c:pt>
                <c:pt idx="455">
                  <c:v>462585</c:v>
                </c:pt>
                <c:pt idx="456">
                  <c:v>473380</c:v>
                </c:pt>
                <c:pt idx="457">
                  <c:v>477931</c:v>
                </c:pt>
                <c:pt idx="458">
                  <c:v>473672</c:v>
                </c:pt>
                <c:pt idx="459">
                  <c:v>480332</c:v>
                </c:pt>
                <c:pt idx="460">
                  <c:v>482992</c:v>
                </c:pt>
                <c:pt idx="461">
                  <c:v>500522</c:v>
                </c:pt>
                <c:pt idx="462">
                  <c:v>505739</c:v>
                </c:pt>
                <c:pt idx="463">
                  <c:v>519859</c:v>
                </c:pt>
                <c:pt idx="464">
                  <c:v>522061</c:v>
                </c:pt>
                <c:pt idx="465">
                  <c:v>504420</c:v>
                </c:pt>
                <c:pt idx="466">
                  <c:v>514356</c:v>
                </c:pt>
                <c:pt idx="467">
                  <c:v>527160</c:v>
                </c:pt>
                <c:pt idx="468">
                  <c:v>541702</c:v>
                </c:pt>
                <c:pt idx="469">
                  <c:v>552731</c:v>
                </c:pt>
                <c:pt idx="470">
                  <c:v>546914</c:v>
                </c:pt>
                <c:pt idx="471">
                  <c:v>533295</c:v>
                </c:pt>
                <c:pt idx="472">
                  <c:v>519306</c:v>
                </c:pt>
                <c:pt idx="473">
                  <c:v>519916</c:v>
                </c:pt>
                <c:pt idx="474">
                  <c:v>502984</c:v>
                </c:pt>
                <c:pt idx="475">
                  <c:v>495337</c:v>
                </c:pt>
                <c:pt idx="476">
                  <c:v>505529</c:v>
                </c:pt>
                <c:pt idx="477">
                  <c:v>501791</c:v>
                </c:pt>
                <c:pt idx="478">
                  <c:v>511740</c:v>
                </c:pt>
                <c:pt idx="479">
                  <c:v>507979</c:v>
                </c:pt>
                <c:pt idx="480">
                  <c:v>519869</c:v>
                </c:pt>
                <c:pt idx="481">
                  <c:v>531434</c:v>
                </c:pt>
                <c:pt idx="482">
                  <c:v>544333</c:v>
                </c:pt>
                <c:pt idx="483">
                  <c:v>546002</c:v>
                </c:pt>
                <c:pt idx="484">
                  <c:v>565046</c:v>
                </c:pt>
                <c:pt idx="485">
                  <c:v>571978</c:v>
                </c:pt>
                <c:pt idx="486">
                  <c:v>569048</c:v>
                </c:pt>
                <c:pt idx="487">
                  <c:v>582767</c:v>
                </c:pt>
                <c:pt idx="488">
                  <c:v>596426</c:v>
                </c:pt>
                <c:pt idx="489">
                  <c:v>605707</c:v>
                </c:pt>
                <c:pt idx="490">
                  <c:v>620968</c:v>
                </c:pt>
                <c:pt idx="491">
                  <c:v>623143</c:v>
                </c:pt>
                <c:pt idx="492">
                  <c:v>624014</c:v>
                </c:pt>
                <c:pt idx="493">
                  <c:v>642434</c:v>
                </c:pt>
                <c:pt idx="494">
                  <c:v>664988</c:v>
                </c:pt>
                <c:pt idx="495">
                  <c:v>684303</c:v>
                </c:pt>
                <c:pt idx="496">
                  <c:v>704376</c:v>
                </c:pt>
                <c:pt idx="497">
                  <c:v>720446</c:v>
                </c:pt>
                <c:pt idx="498">
                  <c:v>746396</c:v>
                </c:pt>
                <c:pt idx="499">
                  <c:v>754558</c:v>
                </c:pt>
                <c:pt idx="500">
                  <c:v>781280</c:v>
                </c:pt>
                <c:pt idx="501">
                  <c:v>801919</c:v>
                </c:pt>
                <c:pt idx="502">
                  <c:v>824128</c:v>
                </c:pt>
                <c:pt idx="503">
                  <c:v>855560</c:v>
                </c:pt>
                <c:pt idx="504">
                  <c:v>895940</c:v>
                </c:pt>
                <c:pt idx="505">
                  <c:v>932792</c:v>
                </c:pt>
                <c:pt idx="506">
                  <c:v>953580</c:v>
                </c:pt>
                <c:pt idx="507">
                  <c:v>953944</c:v>
                </c:pt>
                <c:pt idx="508">
                  <c:v>951563</c:v>
                </c:pt>
                <c:pt idx="509">
                  <c:v>991095</c:v>
                </c:pt>
                <c:pt idx="510">
                  <c:v>1012233</c:v>
                </c:pt>
                <c:pt idx="511">
                  <c:v>1014868</c:v>
                </c:pt>
                <c:pt idx="512">
                  <c:v>989660</c:v>
                </c:pt>
                <c:pt idx="513">
                  <c:v>983096</c:v>
                </c:pt>
                <c:pt idx="514">
                  <c:v>955374</c:v>
                </c:pt>
                <c:pt idx="515">
                  <c:v>938428</c:v>
                </c:pt>
                <c:pt idx="516">
                  <c:v>964010</c:v>
                </c:pt>
                <c:pt idx="517">
                  <c:v>970438</c:v>
                </c:pt>
                <c:pt idx="518">
                  <c:v>955457</c:v>
                </c:pt>
                <c:pt idx="519">
                  <c:v>932133</c:v>
                </c:pt>
                <c:pt idx="520">
                  <c:v>903843</c:v>
                </c:pt>
                <c:pt idx="521">
                  <c:v>912964</c:v>
                </c:pt>
                <c:pt idx="522">
                  <c:v>946842</c:v>
                </c:pt>
                <c:pt idx="523">
                  <c:v>943906</c:v>
                </c:pt>
                <c:pt idx="524">
                  <c:v>960042</c:v>
                </c:pt>
                <c:pt idx="525">
                  <c:v>997829</c:v>
                </c:pt>
                <c:pt idx="526">
                  <c:v>1035938</c:v>
                </c:pt>
                <c:pt idx="527">
                  <c:v>1079539</c:v>
                </c:pt>
                <c:pt idx="528">
                  <c:v>1083498</c:v>
                </c:pt>
                <c:pt idx="529">
                  <c:v>1082569</c:v>
                </c:pt>
                <c:pt idx="530">
                  <c:v>1115679</c:v>
                </c:pt>
                <c:pt idx="531">
                  <c:v>1149333</c:v>
                </c:pt>
                <c:pt idx="532">
                  <c:v>1147154</c:v>
                </c:pt>
                <c:pt idx="533">
                  <c:v>1162079</c:v>
                </c:pt>
                <c:pt idx="534">
                  <c:v>1190407</c:v>
                </c:pt>
                <c:pt idx="535">
                  <c:v>1228805</c:v>
                </c:pt>
                <c:pt idx="536">
                  <c:v>1257250</c:v>
                </c:pt>
                <c:pt idx="537">
                  <c:v>1293686</c:v>
                </c:pt>
                <c:pt idx="538">
                  <c:v>1338898</c:v>
                </c:pt>
                <c:pt idx="539">
                  <c:v>1363049</c:v>
                </c:pt>
                <c:pt idx="540">
                  <c:v>1412483</c:v>
                </c:pt>
                <c:pt idx="541">
                  <c:v>1433426</c:v>
                </c:pt>
                <c:pt idx="542">
                  <c:v>1423889</c:v>
                </c:pt>
                <c:pt idx="543">
                  <c:v>1483643</c:v>
                </c:pt>
                <c:pt idx="544">
                  <c:v>1543579</c:v>
                </c:pt>
                <c:pt idx="545">
                  <c:v>1550235</c:v>
                </c:pt>
                <c:pt idx="546">
                  <c:v>1581967</c:v>
                </c:pt>
                <c:pt idx="547">
                  <c:v>1640158</c:v>
                </c:pt>
                <c:pt idx="548">
                  <c:v>1666974</c:v>
                </c:pt>
                <c:pt idx="549">
                  <c:v>1673560</c:v>
                </c:pt>
                <c:pt idx="550">
                  <c:v>1663217</c:v>
                </c:pt>
                <c:pt idx="551">
                  <c:v>1730219</c:v>
                </c:pt>
                <c:pt idx="552">
                  <c:v>1737006</c:v>
                </c:pt>
                <c:pt idx="553">
                  <c:v>1755893</c:v>
                </c:pt>
                <c:pt idx="554">
                  <c:v>1749973</c:v>
                </c:pt>
                <c:pt idx="555">
                  <c:v>1729173</c:v>
                </c:pt>
                <c:pt idx="556">
                  <c:v>1780907</c:v>
                </c:pt>
                <c:pt idx="557">
                  <c:v>1836057</c:v>
                </c:pt>
                <c:pt idx="558">
                  <c:v>1826379</c:v>
                </c:pt>
                <c:pt idx="559">
                  <c:v>1808059</c:v>
                </c:pt>
                <c:pt idx="560">
                  <c:v>1856345</c:v>
                </c:pt>
                <c:pt idx="561">
                  <c:v>1849543</c:v>
                </c:pt>
                <c:pt idx="562">
                  <c:v>1836757</c:v>
                </c:pt>
                <c:pt idx="563">
                  <c:v>1843788</c:v>
                </c:pt>
                <c:pt idx="564">
                  <c:v>1810365</c:v>
                </c:pt>
                <c:pt idx="565">
                  <c:v>1864371</c:v>
                </c:pt>
                <c:pt idx="566">
                  <c:v>1911975</c:v>
                </c:pt>
                <c:pt idx="567">
                  <c:v>1899922</c:v>
                </c:pt>
                <c:pt idx="568">
                  <c:v>1902355</c:v>
                </c:pt>
                <c:pt idx="569">
                  <c:v>1934264</c:v>
                </c:pt>
                <c:pt idx="570">
                  <c:v>1975510</c:v>
                </c:pt>
                <c:pt idx="571">
                  <c:v>1959675</c:v>
                </c:pt>
                <c:pt idx="572">
                  <c:v>1899824</c:v>
                </c:pt>
                <c:pt idx="573">
                  <c:v>1877708</c:v>
                </c:pt>
                <c:pt idx="574">
                  <c:v>1815554</c:v>
                </c:pt>
                <c:pt idx="575">
                  <c:v>1731330</c:v>
                </c:pt>
                <c:pt idx="576">
                  <c:v>1730038</c:v>
                </c:pt>
                <c:pt idx="577">
                  <c:v>1742057</c:v>
                </c:pt>
                <c:pt idx="578">
                  <c:v>1678059</c:v>
                </c:pt>
                <c:pt idx="579">
                  <c:v>1648360</c:v>
                </c:pt>
                <c:pt idx="580">
                  <c:v>1588366</c:v>
                </c:pt>
                <c:pt idx="581">
                  <c:v>1537141</c:v>
                </c:pt>
                <c:pt idx="582">
                  <c:v>1574660</c:v>
                </c:pt>
                <c:pt idx="583">
                  <c:v>1639130</c:v>
                </c:pt>
                <c:pt idx="584">
                  <c:v>1646542</c:v>
                </c:pt>
                <c:pt idx="585">
                  <c:v>1606568</c:v>
                </c:pt>
                <c:pt idx="586">
                  <c:v>1557948</c:v>
                </c:pt>
                <c:pt idx="587">
                  <c:v>1565079</c:v>
                </c:pt>
                <c:pt idx="588">
                  <c:v>1570438</c:v>
                </c:pt>
                <c:pt idx="589">
                  <c:v>1532579</c:v>
                </c:pt>
                <c:pt idx="590">
                  <c:v>1497721</c:v>
                </c:pt>
                <c:pt idx="591">
                  <c:v>1484184</c:v>
                </c:pt>
                <c:pt idx="592">
                  <c:v>1510046</c:v>
                </c:pt>
                <c:pt idx="593">
                  <c:v>1507566</c:v>
                </c:pt>
                <c:pt idx="594">
                  <c:v>1534273</c:v>
                </c:pt>
                <c:pt idx="595">
                  <c:v>1586414</c:v>
                </c:pt>
                <c:pt idx="596">
                  <c:v>1624870</c:v>
                </c:pt>
                <c:pt idx="597">
                  <c:v>1623841</c:v>
                </c:pt>
                <c:pt idx="598">
                  <c:v>1581643</c:v>
                </c:pt>
                <c:pt idx="599">
                  <c:v>1532848</c:v>
                </c:pt>
                <c:pt idx="600">
                  <c:v>1523097</c:v>
                </c:pt>
                <c:pt idx="601">
                  <c:v>1552036</c:v>
                </c:pt>
                <c:pt idx="602">
                  <c:v>1557270</c:v>
                </c:pt>
                <c:pt idx="603">
                  <c:v>1517686</c:v>
                </c:pt>
                <c:pt idx="604">
                  <c:v>1467945</c:v>
                </c:pt>
                <c:pt idx="605">
                  <c:v>1447921</c:v>
                </c:pt>
                <c:pt idx="606">
                  <c:v>1459597</c:v>
                </c:pt>
                <c:pt idx="607">
                  <c:v>1498084</c:v>
                </c:pt>
                <c:pt idx="608">
                  <c:v>1477669</c:v>
                </c:pt>
                <c:pt idx="609">
                  <c:v>1448500</c:v>
                </c:pt>
                <c:pt idx="610">
                  <c:v>1471735</c:v>
                </c:pt>
                <c:pt idx="611">
                  <c:v>1496612</c:v>
                </c:pt>
                <c:pt idx="612">
                  <c:v>1496972</c:v>
                </c:pt>
                <c:pt idx="613">
                  <c:v>1546956</c:v>
                </c:pt>
                <c:pt idx="614">
                  <c:v>1529850</c:v>
                </c:pt>
                <c:pt idx="615">
                  <c:v>1529878</c:v>
                </c:pt>
                <c:pt idx="616">
                  <c:v>1507866</c:v>
                </c:pt>
                <c:pt idx="617">
                  <c:v>1464664</c:v>
                </c:pt>
                <c:pt idx="618">
                  <c:v>1416038</c:v>
                </c:pt>
                <c:pt idx="619">
                  <c:v>1377316</c:v>
                </c:pt>
                <c:pt idx="620">
                  <c:v>1371130</c:v>
                </c:pt>
                <c:pt idx="621">
                  <c:v>1335805</c:v>
                </c:pt>
                <c:pt idx="622">
                  <c:v>1302432</c:v>
                </c:pt>
                <c:pt idx="623">
                  <c:v>1270197</c:v>
                </c:pt>
                <c:pt idx="624">
                  <c:v>1258269</c:v>
                </c:pt>
                <c:pt idx="625">
                  <c:v>1274696</c:v>
                </c:pt>
                <c:pt idx="626">
                  <c:v>1249475</c:v>
                </c:pt>
                <c:pt idx="627">
                  <c:v>1235209</c:v>
                </c:pt>
                <c:pt idx="628">
                  <c:v>1260776</c:v>
                </c:pt>
                <c:pt idx="629">
                  <c:v>1234373</c:v>
                </c:pt>
                <c:pt idx="630">
                  <c:v>1212267</c:v>
                </c:pt>
                <c:pt idx="631">
                  <c:v>1189755</c:v>
                </c:pt>
                <c:pt idx="632">
                  <c:v>1187591</c:v>
                </c:pt>
                <c:pt idx="633">
                  <c:v>1196192</c:v>
                </c:pt>
                <c:pt idx="634">
                  <c:v>1223665</c:v>
                </c:pt>
                <c:pt idx="635">
                  <c:v>1232186</c:v>
                </c:pt>
                <c:pt idx="636">
                  <c:v>1246390</c:v>
                </c:pt>
                <c:pt idx="637">
                  <c:v>1266833</c:v>
                </c:pt>
                <c:pt idx="638">
                  <c:v>1324546</c:v>
                </c:pt>
                <c:pt idx="639">
                  <c:v>1342099</c:v>
                </c:pt>
                <c:pt idx="640">
                  <c:v>1333347</c:v>
                </c:pt>
                <c:pt idx="641">
                  <c:v>1350090</c:v>
                </c:pt>
                <c:pt idx="642">
                  <c:v>1334892</c:v>
                </c:pt>
                <c:pt idx="643">
                  <c:v>1347165</c:v>
                </c:pt>
                <c:pt idx="644">
                  <c:v>1372224</c:v>
                </c:pt>
                <c:pt idx="645">
                  <c:v>1410690</c:v>
                </c:pt>
                <c:pt idx="646">
                  <c:v>1449535</c:v>
                </c:pt>
                <c:pt idx="647">
                  <c:v>1457705</c:v>
                </c:pt>
                <c:pt idx="648">
                  <c:v>1456753</c:v>
                </c:pt>
                <c:pt idx="649">
                  <c:v>1478550</c:v>
                </c:pt>
                <c:pt idx="650">
                  <c:v>1512172</c:v>
                </c:pt>
                <c:pt idx="651">
                  <c:v>1503212</c:v>
                </c:pt>
                <c:pt idx="652">
                  <c:v>1499315</c:v>
                </c:pt>
                <c:pt idx="653">
                  <c:v>1501339</c:v>
                </c:pt>
                <c:pt idx="654">
                  <c:v>1524328</c:v>
                </c:pt>
                <c:pt idx="655">
                  <c:v>1514383</c:v>
                </c:pt>
                <c:pt idx="656">
                  <c:v>1482525</c:v>
                </c:pt>
                <c:pt idx="657">
                  <c:v>1427844</c:v>
                </c:pt>
                <c:pt idx="658">
                  <c:v>1413076</c:v>
                </c:pt>
                <c:pt idx="659">
                  <c:v>1447652</c:v>
                </c:pt>
                <c:pt idx="660">
                  <c:v>1446468</c:v>
                </c:pt>
                <c:pt idx="661">
                  <c:v>1447985</c:v>
                </c:pt>
                <c:pt idx="662">
                  <c:v>1457754</c:v>
                </c:pt>
                <c:pt idx="663">
                  <c:v>1460514</c:v>
                </c:pt>
                <c:pt idx="664">
                  <c:v>1438776</c:v>
                </c:pt>
                <c:pt idx="665">
                  <c:v>1433878</c:v>
                </c:pt>
                <c:pt idx="666">
                  <c:v>1450572</c:v>
                </c:pt>
                <c:pt idx="667">
                  <c:v>1427396</c:v>
                </c:pt>
                <c:pt idx="668">
                  <c:v>1411751</c:v>
                </c:pt>
                <c:pt idx="669">
                  <c:v>1367189</c:v>
                </c:pt>
                <c:pt idx="670">
                  <c:v>1369461</c:v>
                </c:pt>
                <c:pt idx="671">
                  <c:v>1389080</c:v>
                </c:pt>
                <c:pt idx="672">
                  <c:v>1366290</c:v>
                </c:pt>
                <c:pt idx="673">
                  <c:v>1328097</c:v>
                </c:pt>
                <c:pt idx="674">
                  <c:v>1303574</c:v>
                </c:pt>
                <c:pt idx="675">
                  <c:v>1324631</c:v>
                </c:pt>
                <c:pt idx="676">
                  <c:v>1321558</c:v>
                </c:pt>
                <c:pt idx="677">
                  <c:v>1279532</c:v>
                </c:pt>
                <c:pt idx="678">
                  <c:v>1247481</c:v>
                </c:pt>
                <c:pt idx="679">
                  <c:v>1204008</c:v>
                </c:pt>
                <c:pt idx="680">
                  <c:v>1166622</c:v>
                </c:pt>
                <c:pt idx="681">
                  <c:v>1168453</c:v>
                </c:pt>
                <c:pt idx="682">
                  <c:v>1203875</c:v>
                </c:pt>
                <c:pt idx="683">
                  <c:v>1242838</c:v>
                </c:pt>
                <c:pt idx="684">
                  <c:v>1251314</c:v>
                </c:pt>
                <c:pt idx="685">
                  <c:v>1250967</c:v>
                </c:pt>
                <c:pt idx="686">
                  <c:v>1228789</c:v>
                </c:pt>
                <c:pt idx="687">
                  <c:v>1221367</c:v>
                </c:pt>
                <c:pt idx="688">
                  <c:v>1260378</c:v>
                </c:pt>
                <c:pt idx="689">
                  <c:v>1261650</c:v>
                </c:pt>
                <c:pt idx="690">
                  <c:v>1243774</c:v>
                </c:pt>
                <c:pt idx="691">
                  <c:v>1217420</c:v>
                </c:pt>
                <c:pt idx="692">
                  <c:v>1186305</c:v>
                </c:pt>
                <c:pt idx="693">
                  <c:v>1149690</c:v>
                </c:pt>
                <c:pt idx="694">
                  <c:v>1183879</c:v>
                </c:pt>
                <c:pt idx="695">
                  <c:v>1203477</c:v>
                </c:pt>
                <c:pt idx="696">
                  <c:v>1223256</c:v>
                </c:pt>
                <c:pt idx="697">
                  <c:v>1269099</c:v>
                </c:pt>
                <c:pt idx="698">
                  <c:v>1270023</c:v>
                </c:pt>
                <c:pt idx="699">
                  <c:v>1262724</c:v>
                </c:pt>
                <c:pt idx="700">
                  <c:v>1251548</c:v>
                </c:pt>
                <c:pt idx="701">
                  <c:v>1244452</c:v>
                </c:pt>
                <c:pt idx="702">
                  <c:v>1238297</c:v>
                </c:pt>
                <c:pt idx="703">
                  <c:v>1228247</c:v>
                </c:pt>
                <c:pt idx="704">
                  <c:v>1219139</c:v>
                </c:pt>
                <c:pt idx="705">
                  <c:v>1216310</c:v>
                </c:pt>
                <c:pt idx="706">
                  <c:v>1209785</c:v>
                </c:pt>
                <c:pt idx="707">
                  <c:v>1197395</c:v>
                </c:pt>
                <c:pt idx="708">
                  <c:v>1189253</c:v>
                </c:pt>
                <c:pt idx="709">
                  <c:v>1185755</c:v>
                </c:pt>
                <c:pt idx="710">
                  <c:v>1190710</c:v>
                </c:pt>
                <c:pt idx="711">
                  <c:v>1183625</c:v>
                </c:pt>
                <c:pt idx="712">
                  <c:v>1175438</c:v>
                </c:pt>
                <c:pt idx="713">
                  <c:v>1181046</c:v>
                </c:pt>
                <c:pt idx="714">
                  <c:v>1203878</c:v>
                </c:pt>
                <c:pt idx="715">
                  <c:v>1213013</c:v>
                </c:pt>
                <c:pt idx="716">
                  <c:v>1209674</c:v>
                </c:pt>
                <c:pt idx="717">
                  <c:v>1230599</c:v>
                </c:pt>
                <c:pt idx="718">
                  <c:v>1245105</c:v>
                </c:pt>
                <c:pt idx="719">
                  <c:v>1255647</c:v>
                </c:pt>
                <c:pt idx="720">
                  <c:v>1293173</c:v>
                </c:pt>
                <c:pt idx="721">
                  <c:v>1307524</c:v>
                </c:pt>
                <c:pt idx="722">
                  <c:v>1309812</c:v>
                </c:pt>
                <c:pt idx="723">
                  <c:v>1307400</c:v>
                </c:pt>
                <c:pt idx="724">
                  <c:v>1304916</c:v>
                </c:pt>
                <c:pt idx="725">
                  <c:v>1298118</c:v>
                </c:pt>
                <c:pt idx="726">
                  <c:v>1287042</c:v>
                </c:pt>
                <c:pt idx="727">
                  <c:v>1274146</c:v>
                </c:pt>
                <c:pt idx="728">
                  <c:v>1268560</c:v>
                </c:pt>
                <c:pt idx="729">
                  <c:v>1266845</c:v>
                </c:pt>
                <c:pt idx="730">
                  <c:v>1257666</c:v>
                </c:pt>
                <c:pt idx="731">
                  <c:v>1248736</c:v>
                </c:pt>
                <c:pt idx="732">
                  <c:v>1239161</c:v>
                </c:pt>
                <c:pt idx="733">
                  <c:v>1235524</c:v>
                </c:pt>
                <c:pt idx="734">
                  <c:v>1250796</c:v>
                </c:pt>
                <c:pt idx="735">
                  <c:v>1249934</c:v>
                </c:pt>
                <c:pt idx="736">
                  <c:v>1240739</c:v>
                </c:pt>
                <c:pt idx="737">
                  <c:v>1232154</c:v>
                </c:pt>
                <c:pt idx="738">
                  <c:v>1224695</c:v>
                </c:pt>
                <c:pt idx="739">
                  <c:v>1227643</c:v>
                </c:pt>
                <c:pt idx="740">
                  <c:v>1216148</c:v>
                </c:pt>
                <c:pt idx="741">
                  <c:v>1208971</c:v>
                </c:pt>
                <c:pt idx="742">
                  <c:v>1197848</c:v>
                </c:pt>
                <c:pt idx="743">
                  <c:v>1197196</c:v>
                </c:pt>
                <c:pt idx="744">
                  <c:v>1211048</c:v>
                </c:pt>
                <c:pt idx="745">
                  <c:v>1215855</c:v>
                </c:pt>
                <c:pt idx="746">
                  <c:v>1203039</c:v>
                </c:pt>
                <c:pt idx="747">
                  <c:v>1189915</c:v>
                </c:pt>
                <c:pt idx="748">
                  <c:v>1177550</c:v>
                </c:pt>
                <c:pt idx="749">
                  <c:v>1182160</c:v>
                </c:pt>
                <c:pt idx="750">
                  <c:v>1177149</c:v>
                </c:pt>
                <c:pt idx="751">
                  <c:v>1161911</c:v>
                </c:pt>
                <c:pt idx="752">
                  <c:v>1167517</c:v>
                </c:pt>
                <c:pt idx="753">
                  <c:v>1188416</c:v>
                </c:pt>
                <c:pt idx="754">
                  <c:v>1193368</c:v>
                </c:pt>
                <c:pt idx="755">
                  <c:v>1198603</c:v>
                </c:pt>
                <c:pt idx="756">
                  <c:v>1199685</c:v>
                </c:pt>
                <c:pt idx="757">
                  <c:v>1189411</c:v>
                </c:pt>
                <c:pt idx="758">
                  <c:v>1188980</c:v>
                </c:pt>
                <c:pt idx="759">
                  <c:v>1171570</c:v>
                </c:pt>
                <c:pt idx="760">
                  <c:v>1149712</c:v>
                </c:pt>
                <c:pt idx="761">
                  <c:v>1129912</c:v>
                </c:pt>
                <c:pt idx="762">
                  <c:v>1119178</c:v>
                </c:pt>
                <c:pt idx="763">
                  <c:v>1128559</c:v>
                </c:pt>
                <c:pt idx="764">
                  <c:v>1132612</c:v>
                </c:pt>
                <c:pt idx="765">
                  <c:v>1160802</c:v>
                </c:pt>
                <c:pt idx="766">
                  <c:v>1177369</c:v>
                </c:pt>
                <c:pt idx="767">
                  <c:v>1166344</c:v>
                </c:pt>
                <c:pt idx="768">
                  <c:v>1161057</c:v>
                </c:pt>
                <c:pt idx="769">
                  <c:v>1168433</c:v>
                </c:pt>
                <c:pt idx="770">
                  <c:v>1176084</c:v>
                </c:pt>
                <c:pt idx="771">
                  <c:v>1178354</c:v>
                </c:pt>
                <c:pt idx="772">
                  <c:v>1168385</c:v>
                </c:pt>
                <c:pt idx="773">
                  <c:v>1162285</c:v>
                </c:pt>
                <c:pt idx="774">
                  <c:v>1158737</c:v>
                </c:pt>
                <c:pt idx="775">
                  <c:v>1167018</c:v>
                </c:pt>
                <c:pt idx="776">
                  <c:v>1165846</c:v>
                </c:pt>
                <c:pt idx="777">
                  <c:v>1163085</c:v>
                </c:pt>
                <c:pt idx="778">
                  <c:v>1175940</c:v>
                </c:pt>
                <c:pt idx="779">
                  <c:v>1171814</c:v>
                </c:pt>
                <c:pt idx="780">
                  <c:v>1182022</c:v>
                </c:pt>
                <c:pt idx="781">
                  <c:v>1199588</c:v>
                </c:pt>
                <c:pt idx="782">
                  <c:v>1224456</c:v>
                </c:pt>
                <c:pt idx="783">
                  <c:v>1244712</c:v>
                </c:pt>
                <c:pt idx="784">
                  <c:v>1248995</c:v>
                </c:pt>
                <c:pt idx="785">
                  <c:v>1254046</c:v>
                </c:pt>
                <c:pt idx="786">
                  <c:v>1261004</c:v>
                </c:pt>
                <c:pt idx="787">
                  <c:v>1270380</c:v>
                </c:pt>
                <c:pt idx="788">
                  <c:v>1261818</c:v>
                </c:pt>
                <c:pt idx="789">
                  <c:v>1260140</c:v>
                </c:pt>
                <c:pt idx="790">
                  <c:v>1271094</c:v>
                </c:pt>
                <c:pt idx="791">
                  <c:v>1295758</c:v>
                </c:pt>
                <c:pt idx="792">
                  <c:v>1297031</c:v>
                </c:pt>
                <c:pt idx="793">
                  <c:v>1288646</c:v>
                </c:pt>
                <c:pt idx="794">
                  <c:v>1304294</c:v>
                </c:pt>
                <c:pt idx="795">
                  <c:v>1324852</c:v>
                </c:pt>
                <c:pt idx="796">
                  <c:v>1325553</c:v>
                </c:pt>
                <c:pt idx="797">
                  <c:v>1327739</c:v>
                </c:pt>
                <c:pt idx="798">
                  <c:v>1333331</c:v>
                </c:pt>
                <c:pt idx="799">
                  <c:v>1324518</c:v>
                </c:pt>
                <c:pt idx="800">
                  <c:v>1335013</c:v>
                </c:pt>
                <c:pt idx="801">
                  <c:v>1348784</c:v>
                </c:pt>
                <c:pt idx="802">
                  <c:v>1341391</c:v>
                </c:pt>
                <c:pt idx="803">
                  <c:v>1344891</c:v>
                </c:pt>
                <c:pt idx="804">
                  <c:v>1381229</c:v>
                </c:pt>
                <c:pt idx="805">
                  <c:v>1391114</c:v>
                </c:pt>
                <c:pt idx="806">
                  <c:v>1387828</c:v>
                </c:pt>
                <c:pt idx="807">
                  <c:v>1403983</c:v>
                </c:pt>
                <c:pt idx="808">
                  <c:v>1434080</c:v>
                </c:pt>
                <c:pt idx="809">
                  <c:v>1435772</c:v>
                </c:pt>
                <c:pt idx="810">
                  <c:v>1445225</c:v>
                </c:pt>
                <c:pt idx="811">
                  <c:v>1459886</c:v>
                </c:pt>
                <c:pt idx="812">
                  <c:v>1481588</c:v>
                </c:pt>
                <c:pt idx="813">
                  <c:v>1513709</c:v>
                </c:pt>
                <c:pt idx="814">
                  <c:v>1511826</c:v>
                </c:pt>
                <c:pt idx="815">
                  <c:v>1532375</c:v>
                </c:pt>
                <c:pt idx="816">
                  <c:v>1550933</c:v>
                </c:pt>
                <c:pt idx="817">
                  <c:v>1551692</c:v>
                </c:pt>
                <c:pt idx="818">
                  <c:v>1579941</c:v>
                </c:pt>
                <c:pt idx="819">
                  <c:v>1587157</c:v>
                </c:pt>
                <c:pt idx="820">
                  <c:v>1614759</c:v>
                </c:pt>
                <c:pt idx="821">
                  <c:v>1613700</c:v>
                </c:pt>
                <c:pt idx="822">
                  <c:v>1561644</c:v>
                </c:pt>
                <c:pt idx="823">
                  <c:v>1535271</c:v>
                </c:pt>
                <c:pt idx="824">
                  <c:v>1562574</c:v>
                </c:pt>
                <c:pt idx="825">
                  <c:v>1584805</c:v>
                </c:pt>
                <c:pt idx="826">
                  <c:v>1580616</c:v>
                </c:pt>
                <c:pt idx="827">
                  <c:v>1582590</c:v>
                </c:pt>
                <c:pt idx="828">
                  <c:v>1567852</c:v>
                </c:pt>
                <c:pt idx="829">
                  <c:v>1571931</c:v>
                </c:pt>
                <c:pt idx="830">
                  <c:v>1576439</c:v>
                </c:pt>
                <c:pt idx="831">
                  <c:v>1536584</c:v>
                </c:pt>
                <c:pt idx="832">
                  <c:v>1518676</c:v>
                </c:pt>
                <c:pt idx="833">
                  <c:v>1541762</c:v>
                </c:pt>
                <c:pt idx="834">
                  <c:v>1531294</c:v>
                </c:pt>
                <c:pt idx="835">
                  <c:v>1491199</c:v>
                </c:pt>
                <c:pt idx="836">
                  <c:v>1461289</c:v>
                </c:pt>
                <c:pt idx="837">
                  <c:v>1468300</c:v>
                </c:pt>
                <c:pt idx="838">
                  <c:v>1430719</c:v>
                </c:pt>
                <c:pt idx="839">
                  <c:v>1424774</c:v>
                </c:pt>
                <c:pt idx="840">
                  <c:v>1459841</c:v>
                </c:pt>
                <c:pt idx="841">
                  <c:v>1461660</c:v>
                </c:pt>
                <c:pt idx="842">
                  <c:v>1463223</c:v>
                </c:pt>
                <c:pt idx="843">
                  <c:v>1474828</c:v>
                </c:pt>
                <c:pt idx="844">
                  <c:v>1511445</c:v>
                </c:pt>
                <c:pt idx="845">
                  <c:v>1514591</c:v>
                </c:pt>
                <c:pt idx="846">
                  <c:v>1522299</c:v>
                </c:pt>
                <c:pt idx="847">
                  <c:v>1525038</c:v>
                </c:pt>
                <c:pt idx="848">
                  <c:v>1501189</c:v>
                </c:pt>
                <c:pt idx="849">
                  <c:v>1489699</c:v>
                </c:pt>
                <c:pt idx="850">
                  <c:v>1491907</c:v>
                </c:pt>
                <c:pt idx="851">
                  <c:v>1453329</c:v>
                </c:pt>
                <c:pt idx="852">
                  <c:v>1429361</c:v>
                </c:pt>
                <c:pt idx="853">
                  <c:v>1470757</c:v>
                </c:pt>
                <c:pt idx="854">
                  <c:v>1467976</c:v>
                </c:pt>
                <c:pt idx="855">
                  <c:v>1467530</c:v>
                </c:pt>
                <c:pt idx="856">
                  <c:v>1479577</c:v>
                </c:pt>
                <c:pt idx="857">
                  <c:v>1466464</c:v>
                </c:pt>
                <c:pt idx="858">
                  <c:v>1437853</c:v>
                </c:pt>
                <c:pt idx="859">
                  <c:v>1413768</c:v>
                </c:pt>
                <c:pt idx="860">
                  <c:v>1414128</c:v>
                </c:pt>
                <c:pt idx="861">
                  <c:v>1424356</c:v>
                </c:pt>
                <c:pt idx="862">
                  <c:v>1405988</c:v>
                </c:pt>
                <c:pt idx="863">
                  <c:v>1370252</c:v>
                </c:pt>
                <c:pt idx="864">
                  <c:v>1390868</c:v>
                </c:pt>
                <c:pt idx="865">
                  <c:v>1405585</c:v>
                </c:pt>
                <c:pt idx="866">
                  <c:v>1428976</c:v>
                </c:pt>
                <c:pt idx="867">
                  <c:v>1468066</c:v>
                </c:pt>
                <c:pt idx="868">
                  <c:v>1457763</c:v>
                </c:pt>
                <c:pt idx="869">
                  <c:v>1462353</c:v>
                </c:pt>
                <c:pt idx="870">
                  <c:v>1476769</c:v>
                </c:pt>
                <c:pt idx="871">
                  <c:v>1485161</c:v>
                </c:pt>
                <c:pt idx="872">
                  <c:v>1467407</c:v>
                </c:pt>
                <c:pt idx="873">
                  <c:v>1470779</c:v>
                </c:pt>
                <c:pt idx="874">
                  <c:v>1444923</c:v>
                </c:pt>
                <c:pt idx="875">
                  <c:v>1437820</c:v>
                </c:pt>
                <c:pt idx="876">
                  <c:v>1439578</c:v>
                </c:pt>
                <c:pt idx="877">
                  <c:v>1412493</c:v>
                </c:pt>
                <c:pt idx="878">
                  <c:v>1415937</c:v>
                </c:pt>
                <c:pt idx="879">
                  <c:v>1435802</c:v>
                </c:pt>
                <c:pt idx="880">
                  <c:v>1433153</c:v>
                </c:pt>
                <c:pt idx="881">
                  <c:v>1421776</c:v>
                </c:pt>
                <c:pt idx="882">
                  <c:v>1393640</c:v>
                </c:pt>
                <c:pt idx="883">
                  <c:v>1393380</c:v>
                </c:pt>
                <c:pt idx="884">
                  <c:v>1389970</c:v>
                </c:pt>
                <c:pt idx="885">
                  <c:v>1383450</c:v>
                </c:pt>
                <c:pt idx="886">
                  <c:v>1365669</c:v>
                </c:pt>
                <c:pt idx="887">
                  <c:v>1359836</c:v>
                </c:pt>
                <c:pt idx="888">
                  <c:v>1368200</c:v>
                </c:pt>
                <c:pt idx="889">
                  <c:v>1367122</c:v>
                </c:pt>
                <c:pt idx="890">
                  <c:v>1363900</c:v>
                </c:pt>
                <c:pt idx="891">
                  <c:v>1374736</c:v>
                </c:pt>
                <c:pt idx="892">
                  <c:v>1369322</c:v>
                </c:pt>
                <c:pt idx="893">
                  <c:v>1346177</c:v>
                </c:pt>
                <c:pt idx="894">
                  <c:v>1320629</c:v>
                </c:pt>
                <c:pt idx="895">
                  <c:v>1316578</c:v>
                </c:pt>
                <c:pt idx="896">
                  <c:v>1317718</c:v>
                </c:pt>
                <c:pt idx="897">
                  <c:v>1328741</c:v>
                </c:pt>
                <c:pt idx="898">
                  <c:v>1314927</c:v>
                </c:pt>
                <c:pt idx="899">
                  <c:v>1323522</c:v>
                </c:pt>
                <c:pt idx="900">
                  <c:v>1339333</c:v>
                </c:pt>
                <c:pt idx="901">
                  <c:v>1378201</c:v>
                </c:pt>
                <c:pt idx="902">
                  <c:v>1401714</c:v>
                </c:pt>
                <c:pt idx="903">
                  <c:v>1398519</c:v>
                </c:pt>
                <c:pt idx="904">
                  <c:v>1413552</c:v>
                </c:pt>
                <c:pt idx="905">
                  <c:v>1414561</c:v>
                </c:pt>
                <c:pt idx="906">
                  <c:v>1412442</c:v>
                </c:pt>
                <c:pt idx="907">
                  <c:v>1392345</c:v>
                </c:pt>
                <c:pt idx="908">
                  <c:v>1392584</c:v>
                </c:pt>
                <c:pt idx="909">
                  <c:v>1389202</c:v>
                </c:pt>
                <c:pt idx="910">
                  <c:v>1378621</c:v>
                </c:pt>
                <c:pt idx="911">
                  <c:v>1378580</c:v>
                </c:pt>
                <c:pt idx="912">
                  <c:v>1377851</c:v>
                </c:pt>
                <c:pt idx="913">
                  <c:v>1351983</c:v>
                </c:pt>
                <c:pt idx="914">
                  <c:v>1347276</c:v>
                </c:pt>
                <c:pt idx="915">
                  <c:v>1349582</c:v>
                </c:pt>
                <c:pt idx="916">
                  <c:v>1349585</c:v>
                </c:pt>
                <c:pt idx="917">
                  <c:v>1338000</c:v>
                </c:pt>
                <c:pt idx="918">
                  <c:v>1326297</c:v>
                </c:pt>
                <c:pt idx="919">
                  <c:v>1322704</c:v>
                </c:pt>
                <c:pt idx="920">
                  <c:v>1293365</c:v>
                </c:pt>
                <c:pt idx="921">
                  <c:v>1295629</c:v>
                </c:pt>
                <c:pt idx="922">
                  <c:v>1296719</c:v>
                </c:pt>
                <c:pt idx="923">
                  <c:v>1272904</c:v>
                </c:pt>
                <c:pt idx="924">
                  <c:v>1249109</c:v>
                </c:pt>
                <c:pt idx="925">
                  <c:v>1225950</c:v>
                </c:pt>
                <c:pt idx="926">
                  <c:v>1245797</c:v>
                </c:pt>
                <c:pt idx="927">
                  <c:v>1275802</c:v>
                </c:pt>
                <c:pt idx="928">
                  <c:v>1300334</c:v>
                </c:pt>
                <c:pt idx="929">
                  <c:v>1310224</c:v>
                </c:pt>
                <c:pt idx="930">
                  <c:v>1316921</c:v>
                </c:pt>
                <c:pt idx="931">
                  <c:v>1316657</c:v>
                </c:pt>
                <c:pt idx="932">
                  <c:v>1319117</c:v>
                </c:pt>
                <c:pt idx="933">
                  <c:v>1296427</c:v>
                </c:pt>
                <c:pt idx="934">
                  <c:v>1289562</c:v>
                </c:pt>
                <c:pt idx="935">
                  <c:v>1296800</c:v>
                </c:pt>
                <c:pt idx="936">
                  <c:v>1300206</c:v>
                </c:pt>
                <c:pt idx="937">
                  <c:v>1299644</c:v>
                </c:pt>
                <c:pt idx="938">
                  <c:v>1291575</c:v>
                </c:pt>
                <c:pt idx="939">
                  <c:v>1298296</c:v>
                </c:pt>
                <c:pt idx="940">
                  <c:v>1297274</c:v>
                </c:pt>
                <c:pt idx="941">
                  <c:v>1296860</c:v>
                </c:pt>
                <c:pt idx="942">
                  <c:v>1289705</c:v>
                </c:pt>
                <c:pt idx="943">
                  <c:v>1296520</c:v>
                </c:pt>
                <c:pt idx="944">
                  <c:v>1299587</c:v>
                </c:pt>
                <c:pt idx="945">
                  <c:v>1303249</c:v>
                </c:pt>
                <c:pt idx="946">
                  <c:v>1298805</c:v>
                </c:pt>
                <c:pt idx="947">
                  <c:v>1295877</c:v>
                </c:pt>
                <c:pt idx="948">
                  <c:v>1299548</c:v>
                </c:pt>
                <c:pt idx="949">
                  <c:v>1298332</c:v>
                </c:pt>
                <c:pt idx="950">
                  <c:v>1314611</c:v>
                </c:pt>
                <c:pt idx="951">
                  <c:v>1336967</c:v>
                </c:pt>
                <c:pt idx="952">
                  <c:v>1358559</c:v>
                </c:pt>
                <c:pt idx="953">
                  <c:v>1352927</c:v>
                </c:pt>
                <c:pt idx="954">
                  <c:v>1365076</c:v>
                </c:pt>
                <c:pt idx="955">
                  <c:v>1350733</c:v>
                </c:pt>
                <c:pt idx="956">
                  <c:v>1352328</c:v>
                </c:pt>
                <c:pt idx="957">
                  <c:v>1351695</c:v>
                </c:pt>
                <c:pt idx="958">
                  <c:v>1353779</c:v>
                </c:pt>
                <c:pt idx="959">
                  <c:v>1361613</c:v>
                </c:pt>
                <c:pt idx="960">
                  <c:v>1383517</c:v>
                </c:pt>
                <c:pt idx="961">
                  <c:v>1406102</c:v>
                </c:pt>
                <c:pt idx="962">
                  <c:v>1420039</c:v>
                </c:pt>
                <c:pt idx="963">
                  <c:v>1433591</c:v>
                </c:pt>
                <c:pt idx="964">
                  <c:v>1433331</c:v>
                </c:pt>
                <c:pt idx="965">
                  <c:v>1452062</c:v>
                </c:pt>
                <c:pt idx="966">
                  <c:v>1482287</c:v>
                </c:pt>
                <c:pt idx="967">
                  <c:v>1489009</c:v>
                </c:pt>
                <c:pt idx="968">
                  <c:v>1492588</c:v>
                </c:pt>
                <c:pt idx="969">
                  <c:v>1486677</c:v>
                </c:pt>
                <c:pt idx="970">
                  <c:v>1482690</c:v>
                </c:pt>
                <c:pt idx="971">
                  <c:v>1498320</c:v>
                </c:pt>
                <c:pt idx="972">
                  <c:v>1504709</c:v>
                </c:pt>
                <c:pt idx="973">
                  <c:v>1472045</c:v>
                </c:pt>
                <c:pt idx="974">
                  <c:v>1480737</c:v>
                </c:pt>
                <c:pt idx="975">
                  <c:v>1495327</c:v>
                </c:pt>
                <c:pt idx="976">
                  <c:v>1503848</c:v>
                </c:pt>
                <c:pt idx="977">
                  <c:v>1531094</c:v>
                </c:pt>
                <c:pt idx="978">
                  <c:v>1541699</c:v>
                </c:pt>
                <c:pt idx="979">
                  <c:v>1540942</c:v>
                </c:pt>
                <c:pt idx="980">
                  <c:v>1533952</c:v>
                </c:pt>
                <c:pt idx="981">
                  <c:v>1537037</c:v>
                </c:pt>
                <c:pt idx="982">
                  <c:v>1551595</c:v>
                </c:pt>
                <c:pt idx="983">
                  <c:v>1549882</c:v>
                </c:pt>
                <c:pt idx="984">
                  <c:v>1551482</c:v>
                </c:pt>
                <c:pt idx="985">
                  <c:v>1551821</c:v>
                </c:pt>
                <c:pt idx="986">
                  <c:v>1557145</c:v>
                </c:pt>
                <c:pt idx="987">
                  <c:v>1571227</c:v>
                </c:pt>
                <c:pt idx="988">
                  <c:v>1580420</c:v>
                </c:pt>
                <c:pt idx="989">
                  <c:v>1567473</c:v>
                </c:pt>
                <c:pt idx="990">
                  <c:v>1566803</c:v>
                </c:pt>
                <c:pt idx="991">
                  <c:v>1592519</c:v>
                </c:pt>
                <c:pt idx="992">
                  <c:v>1606949</c:v>
                </c:pt>
                <c:pt idx="993">
                  <c:v>1600826</c:v>
                </c:pt>
                <c:pt idx="994">
                  <c:v>1611807</c:v>
                </c:pt>
                <c:pt idx="995">
                  <c:v>1632139</c:v>
                </c:pt>
                <c:pt idx="996">
                  <c:v>1621851</c:v>
                </c:pt>
                <c:pt idx="997">
                  <c:v>1606942</c:v>
                </c:pt>
                <c:pt idx="998">
                  <c:v>1608248</c:v>
                </c:pt>
                <c:pt idx="999">
                  <c:v>1580710</c:v>
                </c:pt>
                <c:pt idx="1000">
                  <c:v>1581677</c:v>
                </c:pt>
                <c:pt idx="1001">
                  <c:v>1591526</c:v>
                </c:pt>
                <c:pt idx="1002">
                  <c:v>1580196</c:v>
                </c:pt>
                <c:pt idx="1003">
                  <c:v>1560971</c:v>
                </c:pt>
                <c:pt idx="1004">
                  <c:v>1564686</c:v>
                </c:pt>
                <c:pt idx="1005">
                  <c:v>1569891</c:v>
                </c:pt>
                <c:pt idx="1006">
                  <c:v>1566989</c:v>
                </c:pt>
                <c:pt idx="1007">
                  <c:v>1538412</c:v>
                </c:pt>
                <c:pt idx="1008">
                  <c:v>1539188</c:v>
                </c:pt>
                <c:pt idx="1009">
                  <c:v>1544787</c:v>
                </c:pt>
                <c:pt idx="1010">
                  <c:v>1542275</c:v>
                </c:pt>
                <c:pt idx="1011">
                  <c:v>1555995</c:v>
                </c:pt>
                <c:pt idx="1012">
                  <c:v>1594268</c:v>
                </c:pt>
                <c:pt idx="1013">
                  <c:v>1597994</c:v>
                </c:pt>
                <c:pt idx="1014">
                  <c:v>1588506</c:v>
                </c:pt>
                <c:pt idx="1015">
                  <c:v>1571106</c:v>
                </c:pt>
                <c:pt idx="1016">
                  <c:v>1567981</c:v>
                </c:pt>
                <c:pt idx="1017">
                  <c:v>1569449</c:v>
                </c:pt>
                <c:pt idx="1018">
                  <c:v>1560940</c:v>
                </c:pt>
                <c:pt idx="1019">
                  <c:v>1553417</c:v>
                </c:pt>
                <c:pt idx="1020">
                  <c:v>1541067</c:v>
                </c:pt>
                <c:pt idx="1021">
                  <c:v>1521411</c:v>
                </c:pt>
                <c:pt idx="1022">
                  <c:v>1523857</c:v>
                </c:pt>
                <c:pt idx="1023">
                  <c:v>1534073</c:v>
                </c:pt>
                <c:pt idx="1024">
                  <c:v>1533353</c:v>
                </c:pt>
                <c:pt idx="1025">
                  <c:v>1520805</c:v>
                </c:pt>
                <c:pt idx="1026">
                  <c:v>1521804</c:v>
                </c:pt>
                <c:pt idx="1027">
                  <c:v>1526123</c:v>
                </c:pt>
                <c:pt idx="1028">
                  <c:v>1529499</c:v>
                </c:pt>
                <c:pt idx="1029">
                  <c:v>1520651</c:v>
                </c:pt>
                <c:pt idx="1030">
                  <c:v>1516257</c:v>
                </c:pt>
                <c:pt idx="1031">
                  <c:v>1500682</c:v>
                </c:pt>
                <c:pt idx="1032">
                  <c:v>1494124.8330000001</c:v>
                </c:pt>
                <c:pt idx="1033">
                  <c:v>1502801.6087</c:v>
                </c:pt>
                <c:pt idx="1034">
                  <c:v>1493238.2116</c:v>
                </c:pt>
                <c:pt idx="1035">
                  <c:v>1482390.5083999999</c:v>
                </c:pt>
                <c:pt idx="1036">
                  <c:v>1475238.0693999999</c:v>
                </c:pt>
                <c:pt idx="1037">
                  <c:v>1482529.4016</c:v>
                </c:pt>
                <c:pt idx="1038">
                  <c:v>1482097.2635999999</c:v>
                </c:pt>
                <c:pt idx="1039">
                  <c:v>1474090.3762999999</c:v>
                </c:pt>
                <c:pt idx="1040">
                  <c:v>1450289.7413999999</c:v>
                </c:pt>
                <c:pt idx="1041">
                  <c:v>1450904.2416000001</c:v>
                </c:pt>
                <c:pt idx="1042">
                  <c:v>1456180.2601999999</c:v>
                </c:pt>
                <c:pt idx="1043">
                  <c:v>1454698.176</c:v>
                </c:pt>
                <c:pt idx="1044">
                  <c:v>1437161.2109999999</c:v>
                </c:pt>
                <c:pt idx="1045">
                  <c:v>1438623.0405999999</c:v>
                </c:pt>
                <c:pt idx="1046">
                  <c:v>1440963.8855999999</c:v>
                </c:pt>
                <c:pt idx="1047">
                  <c:v>1451623.0477</c:v>
                </c:pt>
                <c:pt idx="1048">
                  <c:v>1463949.3803999999</c:v>
                </c:pt>
                <c:pt idx="1049">
                  <c:v>1467462.8281</c:v>
                </c:pt>
                <c:pt idx="1050">
                  <c:v>1464075.5645999999</c:v>
                </c:pt>
                <c:pt idx="1051">
                  <c:v>1490764.2524000001</c:v>
                </c:pt>
                <c:pt idx="1052">
                  <c:v>1486895.6007999999</c:v>
                </c:pt>
                <c:pt idx="1053">
                  <c:v>1486566.8056000001</c:v>
                </c:pt>
                <c:pt idx="1054">
                  <c:v>1481672.6506000001</c:v>
                </c:pt>
                <c:pt idx="1055">
                  <c:v>1473547.0917</c:v>
                </c:pt>
                <c:pt idx="1056">
                  <c:v>1461902.5105999999</c:v>
                </c:pt>
                <c:pt idx="1057">
                  <c:v>1453459.1609</c:v>
                </c:pt>
                <c:pt idx="1058">
                  <c:v>1448807.6938</c:v>
                </c:pt>
                <c:pt idx="1059">
                  <c:v>1456744.2489</c:v>
                </c:pt>
                <c:pt idx="1060">
                  <c:v>1468879.6473000001</c:v>
                </c:pt>
                <c:pt idx="1061">
                  <c:v>1472903.5034</c:v>
                </c:pt>
                <c:pt idx="1062">
                  <c:v>1469941.1444999999</c:v>
                </c:pt>
                <c:pt idx="1063">
                  <c:v>1470946.8600999999</c:v>
                </c:pt>
                <c:pt idx="1064">
                  <c:v>1467121.5797999999</c:v>
                </c:pt>
                <c:pt idx="1065">
                  <c:v>1465704.2938000001</c:v>
                </c:pt>
                <c:pt idx="1066">
                  <c:v>1453064.1536999999</c:v>
                </c:pt>
                <c:pt idx="1067">
                  <c:v>1452992.4794999999</c:v>
                </c:pt>
                <c:pt idx="1068">
                  <c:v>1452894.2361999999</c:v>
                </c:pt>
                <c:pt idx="1069">
                  <c:v>1447293.0892</c:v>
                </c:pt>
                <c:pt idx="1070">
                  <c:v>1439562.3308999999</c:v>
                </c:pt>
                <c:pt idx="1071">
                  <c:v>1424317.6871</c:v>
                </c:pt>
                <c:pt idx="1072">
                  <c:v>1417117.7453000001</c:v>
                </c:pt>
                <c:pt idx="1073">
                  <c:v>1412907.4479</c:v>
                </c:pt>
                <c:pt idx="1074">
                  <c:v>1416541.8962000001</c:v>
                </c:pt>
                <c:pt idx="1075">
                  <c:v>1412781.8245000001</c:v>
                </c:pt>
                <c:pt idx="1076">
                  <c:v>1401617.7278</c:v>
                </c:pt>
                <c:pt idx="1077">
                  <c:v>1397320.1004000001</c:v>
                </c:pt>
                <c:pt idx="1078">
                  <c:v>1390225.0071</c:v>
                </c:pt>
                <c:pt idx="1079">
                  <c:v>1378653.2305000001</c:v>
                </c:pt>
                <c:pt idx="1080">
                  <c:v>1351424.4838</c:v>
                </c:pt>
                <c:pt idx="1081">
                  <c:v>1357386.9711</c:v>
                </c:pt>
                <c:pt idx="1082">
                  <c:v>1366964.6653</c:v>
                </c:pt>
                <c:pt idx="1083">
                  <c:v>1350784.4413000001</c:v>
                </c:pt>
                <c:pt idx="1084">
                  <c:v>1342615.0752999999</c:v>
                </c:pt>
                <c:pt idx="1085">
                  <c:v>1338867.3873000001</c:v>
                </c:pt>
                <c:pt idx="1086">
                  <c:v>1331132.2</c:v>
                </c:pt>
                <c:pt idx="1087">
                  <c:v>1334275.0976</c:v>
                </c:pt>
                <c:pt idx="1088">
                  <c:v>1322290.3762000001</c:v>
                </c:pt>
                <c:pt idx="1089">
                  <c:v>1320574.7583999999</c:v>
                </c:pt>
                <c:pt idx="1090">
                  <c:v>1330781.5517</c:v>
                </c:pt>
                <c:pt idx="1091">
                  <c:v>1336912.5715999999</c:v>
                </c:pt>
                <c:pt idx="1092">
                  <c:v>1335263.8769</c:v>
                </c:pt>
                <c:pt idx="1093">
                  <c:v>1328128.2249</c:v>
                </c:pt>
                <c:pt idx="1094">
                  <c:v>1327464.2053</c:v>
                </c:pt>
                <c:pt idx="1095">
                  <c:v>1329374.7501999999</c:v>
                </c:pt>
                <c:pt idx="1096">
                  <c:v>1327347.3259999999</c:v>
                </c:pt>
                <c:pt idx="1097">
                  <c:v>1326289.0763000001</c:v>
                </c:pt>
                <c:pt idx="1098">
                  <c:v>1308993.4819</c:v>
                </c:pt>
                <c:pt idx="1099">
                  <c:v>1290539.1076</c:v>
                </c:pt>
                <c:pt idx="1100">
                  <c:v>1279387.0344</c:v>
                </c:pt>
                <c:pt idx="1101">
                  <c:v>1253045.9416</c:v>
                </c:pt>
                <c:pt idx="1102">
                  <c:v>1255268.4467</c:v>
                </c:pt>
                <c:pt idx="1103">
                  <c:v>1264206.5667999999</c:v>
                </c:pt>
                <c:pt idx="1104">
                  <c:v>1274460.5044</c:v>
                </c:pt>
                <c:pt idx="1105">
                  <c:v>1284275.4894000001</c:v>
                </c:pt>
                <c:pt idx="1106">
                  <c:v>1286966.1011000001</c:v>
                </c:pt>
                <c:pt idx="1107">
                  <c:v>1330068.8236</c:v>
                </c:pt>
                <c:pt idx="1108">
                  <c:v>1346007.5918000001</c:v>
                </c:pt>
                <c:pt idx="1109">
                  <c:v>1387430</c:v>
                </c:pt>
                <c:pt idx="1110">
                  <c:v>1404580</c:v>
                </c:pt>
                <c:pt idx="1111">
                  <c:v>1411450</c:v>
                </c:pt>
                <c:pt idx="1112">
                  <c:v>1423018</c:v>
                </c:pt>
                <c:pt idx="1113">
                  <c:v>1417046</c:v>
                </c:pt>
                <c:pt idx="1114">
                  <c:v>1406042</c:v>
                </c:pt>
                <c:pt idx="1115">
                  <c:v>1408333</c:v>
                </c:pt>
                <c:pt idx="1116">
                  <c:v>1411682</c:v>
                </c:pt>
                <c:pt idx="1117">
                  <c:v>1392192</c:v>
                </c:pt>
                <c:pt idx="1118">
                  <c:v>1403501</c:v>
                </c:pt>
                <c:pt idx="1119">
                  <c:v>1407399</c:v>
                </c:pt>
                <c:pt idx="1120">
                  <c:v>1407111</c:v>
                </c:pt>
                <c:pt idx="1121">
                  <c:v>1409846</c:v>
                </c:pt>
                <c:pt idx="1122">
                  <c:v>1407861</c:v>
                </c:pt>
                <c:pt idx="1123">
                  <c:v>1405885</c:v>
                </c:pt>
                <c:pt idx="1124">
                  <c:v>1408748</c:v>
                </c:pt>
                <c:pt idx="1125">
                  <c:v>1414469</c:v>
                </c:pt>
                <c:pt idx="1126">
                  <c:v>1419285</c:v>
                </c:pt>
                <c:pt idx="1127">
                  <c:v>1419368</c:v>
                </c:pt>
                <c:pt idx="1128">
                  <c:v>1419223</c:v>
                </c:pt>
                <c:pt idx="1129">
                  <c:v>1415185</c:v>
                </c:pt>
                <c:pt idx="1130">
                  <c:v>1411032</c:v>
                </c:pt>
                <c:pt idx="1131">
                  <c:v>1404813</c:v>
                </c:pt>
                <c:pt idx="1132">
                  <c:v>1386489</c:v>
                </c:pt>
                <c:pt idx="1133">
                  <c:v>1391566</c:v>
                </c:pt>
                <c:pt idx="1134">
                  <c:v>1410567</c:v>
                </c:pt>
                <c:pt idx="1135">
                  <c:v>1452449</c:v>
                </c:pt>
                <c:pt idx="1136">
                  <c:v>1468910</c:v>
                </c:pt>
                <c:pt idx="1137">
                  <c:v>1466478</c:v>
                </c:pt>
                <c:pt idx="1138">
                  <c:v>1494583</c:v>
                </c:pt>
                <c:pt idx="1139">
                  <c:v>1495913</c:v>
                </c:pt>
                <c:pt idx="1140">
                  <c:v>1487885</c:v>
                </c:pt>
                <c:pt idx="1141">
                  <c:v>1493043</c:v>
                </c:pt>
                <c:pt idx="1142">
                  <c:v>1533878</c:v>
                </c:pt>
                <c:pt idx="1143">
                  <c:v>1558857</c:v>
                </c:pt>
                <c:pt idx="1144">
                  <c:v>1570714</c:v>
                </c:pt>
                <c:pt idx="1145">
                  <c:v>1639605</c:v>
                </c:pt>
                <c:pt idx="1146">
                  <c:v>1586407</c:v>
                </c:pt>
                <c:pt idx="1147">
                  <c:v>1562521</c:v>
                </c:pt>
                <c:pt idx="1148">
                  <c:v>1591671</c:v>
                </c:pt>
                <c:pt idx="1149">
                  <c:v>1590367</c:v>
                </c:pt>
                <c:pt idx="1150">
                  <c:v>1577473</c:v>
                </c:pt>
                <c:pt idx="1151">
                  <c:v>1594389</c:v>
                </c:pt>
                <c:pt idx="1152">
                  <c:v>1629280</c:v>
                </c:pt>
                <c:pt idx="1153">
                  <c:v>1643672</c:v>
                </c:pt>
                <c:pt idx="1154">
                  <c:v>1665069</c:v>
                </c:pt>
                <c:pt idx="1155">
                  <c:v>1649577</c:v>
                </c:pt>
                <c:pt idx="1156">
                  <c:v>1641310</c:v>
                </c:pt>
                <c:pt idx="1157">
                  <c:v>1678980</c:v>
                </c:pt>
                <c:pt idx="1158">
                  <c:v>1685422</c:v>
                </c:pt>
                <c:pt idx="1159">
                  <c:v>1688060</c:v>
                </c:pt>
                <c:pt idx="1160">
                  <c:v>1657708</c:v>
                </c:pt>
                <c:pt idx="1161">
                  <c:v>1653133</c:v>
                </c:pt>
                <c:pt idx="1162">
                  <c:v>1655168</c:v>
                </c:pt>
                <c:pt idx="1163">
                  <c:v>1647001</c:v>
                </c:pt>
                <c:pt idx="1164">
                  <c:v>1613274</c:v>
                </c:pt>
                <c:pt idx="1165">
                  <c:v>1601786</c:v>
                </c:pt>
                <c:pt idx="1166">
                  <c:v>1543474</c:v>
                </c:pt>
                <c:pt idx="1167">
                  <c:v>1539137</c:v>
                </c:pt>
                <c:pt idx="1168">
                  <c:v>1556019</c:v>
                </c:pt>
                <c:pt idx="1169">
                  <c:v>1556742</c:v>
                </c:pt>
                <c:pt idx="1170">
                  <c:v>1539196</c:v>
                </c:pt>
                <c:pt idx="1171">
                  <c:v>1535625</c:v>
                </c:pt>
                <c:pt idx="1172">
                  <c:v>1555569</c:v>
                </c:pt>
                <c:pt idx="1173">
                  <c:v>1557604</c:v>
                </c:pt>
                <c:pt idx="1174">
                  <c:v>1544846</c:v>
                </c:pt>
                <c:pt idx="1175">
                  <c:v>1547883</c:v>
                </c:pt>
                <c:pt idx="1176">
                  <c:v>1537114</c:v>
                </c:pt>
                <c:pt idx="1177">
                  <c:v>1524001</c:v>
                </c:pt>
                <c:pt idx="1178">
                  <c:v>1533327</c:v>
                </c:pt>
                <c:pt idx="1179">
                  <c:v>1595937</c:v>
                </c:pt>
                <c:pt idx="1180">
                  <c:v>1660208</c:v>
                </c:pt>
                <c:pt idx="1181">
                  <c:v>1658359</c:v>
                </c:pt>
                <c:pt idx="1182">
                  <c:v>1740851</c:v>
                </c:pt>
                <c:pt idx="1183">
                  <c:v>1805133</c:v>
                </c:pt>
                <c:pt idx="1184">
                  <c:v>1808861</c:v>
                </c:pt>
                <c:pt idx="1185">
                  <c:v>1838091</c:v>
                </c:pt>
                <c:pt idx="1186">
                  <c:v>1818627</c:v>
                </c:pt>
                <c:pt idx="1187">
                  <c:v>1785865</c:v>
                </c:pt>
                <c:pt idx="1188">
                  <c:v>1793010</c:v>
                </c:pt>
                <c:pt idx="1189">
                  <c:v>1782938</c:v>
                </c:pt>
                <c:pt idx="1190">
                  <c:v>1815108</c:v>
                </c:pt>
                <c:pt idx="1191">
                  <c:v>1814857</c:v>
                </c:pt>
                <c:pt idx="1192">
                  <c:v>1781094</c:v>
                </c:pt>
                <c:pt idx="1193">
                  <c:v>1779671</c:v>
                </c:pt>
                <c:pt idx="1194">
                  <c:v>1780840</c:v>
                </c:pt>
                <c:pt idx="1195">
                  <c:v>1818438</c:v>
                </c:pt>
                <c:pt idx="1196">
                  <c:v>1902259</c:v>
                </c:pt>
                <c:pt idx="1197">
                  <c:v>1955767</c:v>
                </c:pt>
                <c:pt idx="1198">
                  <c:v>1992367</c:v>
                </c:pt>
                <c:pt idx="1199">
                  <c:v>2006885</c:v>
                </c:pt>
                <c:pt idx="1200">
                  <c:v>2017099</c:v>
                </c:pt>
                <c:pt idx="1201">
                  <c:v>2032998</c:v>
                </c:pt>
                <c:pt idx="1202">
                  <c:v>2067096</c:v>
                </c:pt>
                <c:pt idx="1203">
                  <c:v>2079719</c:v>
                </c:pt>
                <c:pt idx="1204">
                  <c:v>2108348</c:v>
                </c:pt>
                <c:pt idx="1205">
                  <c:v>2128584</c:v>
                </c:pt>
                <c:pt idx="1206">
                  <c:v>2195699</c:v>
                </c:pt>
                <c:pt idx="1207">
                  <c:v>2210384</c:v>
                </c:pt>
                <c:pt idx="1208">
                  <c:v>2186301</c:v>
                </c:pt>
                <c:pt idx="1209">
                  <c:v>2178025</c:v>
                </c:pt>
                <c:pt idx="1210">
                  <c:v>2252924</c:v>
                </c:pt>
                <c:pt idx="1211">
                  <c:v>2274414</c:v>
                </c:pt>
                <c:pt idx="1212">
                  <c:v>2286969</c:v>
                </c:pt>
                <c:pt idx="1213">
                  <c:v>2322951</c:v>
                </c:pt>
                <c:pt idx="1214">
                  <c:v>2320077</c:v>
                </c:pt>
                <c:pt idx="1215">
                  <c:v>2319893</c:v>
                </c:pt>
                <c:pt idx="1216">
                  <c:v>2361908</c:v>
                </c:pt>
                <c:pt idx="1217">
                  <c:v>2361201</c:v>
                </c:pt>
                <c:pt idx="1218">
                  <c:v>2432940</c:v>
                </c:pt>
                <c:pt idx="1219">
                  <c:v>2475190</c:v>
                </c:pt>
                <c:pt idx="1220">
                  <c:v>2478769</c:v>
                </c:pt>
                <c:pt idx="1221">
                  <c:v>2518215</c:v>
                </c:pt>
                <c:pt idx="1222">
                  <c:v>2517447</c:v>
                </c:pt>
                <c:pt idx="1223">
                  <c:v>2532938</c:v>
                </c:pt>
                <c:pt idx="1224">
                  <c:v>2435601</c:v>
                </c:pt>
                <c:pt idx="1225">
                  <c:v>2309635</c:v>
                </c:pt>
                <c:pt idx="1226">
                  <c:v>2297755</c:v>
                </c:pt>
                <c:pt idx="1227">
                  <c:v>2270490</c:v>
                </c:pt>
                <c:pt idx="1228">
                  <c:v>2204410</c:v>
                </c:pt>
                <c:pt idx="1229">
                  <c:v>2272985</c:v>
                </c:pt>
                <c:pt idx="1230">
                  <c:v>2286573</c:v>
                </c:pt>
                <c:pt idx="1231">
                  <c:v>2307983</c:v>
                </c:pt>
                <c:pt idx="1232">
                  <c:v>2285873</c:v>
                </c:pt>
                <c:pt idx="1233">
                  <c:v>2290263</c:v>
                </c:pt>
                <c:pt idx="1234">
                  <c:v>2306674</c:v>
                </c:pt>
                <c:pt idx="1235">
                  <c:v>2319280</c:v>
                </c:pt>
                <c:pt idx="1236">
                  <c:v>2332724</c:v>
                </c:pt>
                <c:pt idx="1237">
                  <c:v>2296995</c:v>
                </c:pt>
                <c:pt idx="1238">
                  <c:v>2241765</c:v>
                </c:pt>
                <c:pt idx="1239">
                  <c:v>2260758</c:v>
                </c:pt>
                <c:pt idx="1240">
                  <c:v>2274884</c:v>
                </c:pt>
                <c:pt idx="1241">
                  <c:v>2257055</c:v>
                </c:pt>
                <c:pt idx="1242">
                  <c:v>2267324</c:v>
                </c:pt>
                <c:pt idx="1243">
                  <c:v>2278551</c:v>
                </c:pt>
                <c:pt idx="1244">
                  <c:v>2277729</c:v>
                </c:pt>
                <c:pt idx="1245">
                  <c:v>2203567</c:v>
                </c:pt>
                <c:pt idx="1246">
                  <c:v>2197136</c:v>
                </c:pt>
                <c:pt idx="1247">
                  <c:v>2136426</c:v>
                </c:pt>
                <c:pt idx="1248">
                  <c:v>2147130</c:v>
                </c:pt>
                <c:pt idx="1249">
                  <c:v>2173657</c:v>
                </c:pt>
                <c:pt idx="1250">
                  <c:v>2173816</c:v>
                </c:pt>
                <c:pt idx="1251">
                  <c:v>2151997</c:v>
                </c:pt>
                <c:pt idx="1252">
                  <c:v>2156164</c:v>
                </c:pt>
                <c:pt idx="1253">
                  <c:v>2158444</c:v>
                </c:pt>
                <c:pt idx="1254">
                  <c:v>2167463</c:v>
                </c:pt>
                <c:pt idx="1255">
                  <c:v>2155891</c:v>
                </c:pt>
                <c:pt idx="1256">
                  <c:v>2181791</c:v>
                </c:pt>
                <c:pt idx="1257">
                  <c:v>2187117</c:v>
                </c:pt>
                <c:pt idx="1258">
                  <c:v>2160142</c:v>
                </c:pt>
                <c:pt idx="1259">
                  <c:v>2145168</c:v>
                </c:pt>
                <c:pt idx="1260">
                  <c:v>2136277</c:v>
                </c:pt>
                <c:pt idx="1261">
                  <c:v>2152423</c:v>
                </c:pt>
                <c:pt idx="1262">
                  <c:v>2178275</c:v>
                </c:pt>
                <c:pt idx="1263">
                  <c:v>2196167</c:v>
                </c:pt>
                <c:pt idx="1264">
                  <c:v>2194288</c:v>
                </c:pt>
                <c:pt idx="1265">
                  <c:v>2191207</c:v>
                </c:pt>
                <c:pt idx="1266">
                  <c:v>2170707</c:v>
                </c:pt>
                <c:pt idx="1267">
                  <c:v>2152127</c:v>
                </c:pt>
                <c:pt idx="1268">
                  <c:v>2120443</c:v>
                </c:pt>
                <c:pt idx="1269">
                  <c:v>2063407</c:v>
                </c:pt>
                <c:pt idx="1270">
                  <c:v>2064595</c:v>
                </c:pt>
                <c:pt idx="1271">
                  <c:v>2013577</c:v>
                </c:pt>
                <c:pt idx="1272">
                  <c:v>1943929</c:v>
                </c:pt>
                <c:pt idx="1273">
                  <c:v>1985320</c:v>
                </c:pt>
                <c:pt idx="1274">
                  <c:v>2002336</c:v>
                </c:pt>
                <c:pt idx="1275">
                  <c:v>1977720</c:v>
                </c:pt>
                <c:pt idx="1276">
                  <c:v>1965973</c:v>
                </c:pt>
                <c:pt idx="1277">
                  <c:v>1976554</c:v>
                </c:pt>
                <c:pt idx="1278">
                  <c:v>1972391</c:v>
                </c:pt>
                <c:pt idx="1279">
                  <c:v>2016667</c:v>
                </c:pt>
                <c:pt idx="1280">
                  <c:v>2012314</c:v>
                </c:pt>
                <c:pt idx="1281">
                  <c:v>1980437</c:v>
                </c:pt>
                <c:pt idx="1282">
                  <c:v>1985969</c:v>
                </c:pt>
                <c:pt idx="1283">
                  <c:v>2018544</c:v>
                </c:pt>
                <c:pt idx="1284">
                  <c:v>2053285</c:v>
                </c:pt>
                <c:pt idx="1285">
                  <c:v>2058564</c:v>
                </c:pt>
                <c:pt idx="1286">
                  <c:v>2072808</c:v>
                </c:pt>
                <c:pt idx="1287">
                  <c:v>2056146</c:v>
                </c:pt>
                <c:pt idx="1288">
                  <c:v>2054981</c:v>
                </c:pt>
                <c:pt idx="1289">
                  <c:v>2005073</c:v>
                </c:pt>
                <c:pt idx="1290">
                  <c:v>2003553</c:v>
                </c:pt>
                <c:pt idx="1291">
                  <c:v>2013055</c:v>
                </c:pt>
                <c:pt idx="1292">
                  <c:v>1991855</c:v>
                </c:pt>
                <c:pt idx="1293">
                  <c:v>1986748</c:v>
                </c:pt>
                <c:pt idx="1294">
                  <c:v>1972815</c:v>
                </c:pt>
                <c:pt idx="1295">
                  <c:v>1968447</c:v>
                </c:pt>
                <c:pt idx="1296">
                  <c:v>1971087</c:v>
                </c:pt>
                <c:pt idx="1297">
                  <c:v>1951701</c:v>
                </c:pt>
                <c:pt idx="1298">
                  <c:v>1963090</c:v>
                </c:pt>
                <c:pt idx="1299">
                  <c:v>2012332</c:v>
                </c:pt>
                <c:pt idx="1300">
                  <c:v>2070539</c:v>
                </c:pt>
                <c:pt idx="1301">
                  <c:v>2101298</c:v>
                </c:pt>
                <c:pt idx="1302">
                  <c:v>2105589</c:v>
                </c:pt>
                <c:pt idx="1303">
                  <c:v>2116747</c:v>
                </c:pt>
                <c:pt idx="1304">
                  <c:v>2122141</c:v>
                </c:pt>
                <c:pt idx="1305">
                  <c:v>2127439</c:v>
                </c:pt>
                <c:pt idx="1306">
                  <c:v>2151567</c:v>
                </c:pt>
                <c:pt idx="1307">
                  <c:v>2167094</c:v>
                </c:pt>
                <c:pt idx="1308">
                  <c:v>2144553</c:v>
                </c:pt>
                <c:pt idx="1309">
                  <c:v>2136685</c:v>
                </c:pt>
                <c:pt idx="1310">
                  <c:v>2136054</c:v>
                </c:pt>
                <c:pt idx="1311">
                  <c:v>2139739</c:v>
                </c:pt>
                <c:pt idx="1312">
                  <c:v>2137768</c:v>
                </c:pt>
                <c:pt idx="1313">
                  <c:v>2147449</c:v>
                </c:pt>
                <c:pt idx="1314">
                  <c:v>2143362</c:v>
                </c:pt>
                <c:pt idx="1315">
                  <c:v>2136625</c:v>
                </c:pt>
                <c:pt idx="1316">
                  <c:v>2129384</c:v>
                </c:pt>
                <c:pt idx="1317">
                  <c:v>2126741</c:v>
                </c:pt>
                <c:pt idx="1318">
                  <c:v>2109162</c:v>
                </c:pt>
                <c:pt idx="1319">
                  <c:v>2106409</c:v>
                </c:pt>
                <c:pt idx="1320">
                  <c:v>2107800</c:v>
                </c:pt>
                <c:pt idx="1321">
                  <c:v>2095036</c:v>
                </c:pt>
                <c:pt idx="1322">
                  <c:v>2076889</c:v>
                </c:pt>
                <c:pt idx="1323">
                  <c:v>2077827</c:v>
                </c:pt>
                <c:pt idx="1324">
                  <c:v>2080961</c:v>
                </c:pt>
                <c:pt idx="1325">
                  <c:v>2063104</c:v>
                </c:pt>
                <c:pt idx="1326">
                  <c:v>2009509</c:v>
                </c:pt>
                <c:pt idx="1327">
                  <c:v>2012715</c:v>
                </c:pt>
                <c:pt idx="1328">
                  <c:v>2022928</c:v>
                </c:pt>
                <c:pt idx="1329">
                  <c:v>2029381</c:v>
                </c:pt>
                <c:pt idx="1330">
                  <c:v>2008833</c:v>
                </c:pt>
                <c:pt idx="1331">
                  <c:v>2008515</c:v>
                </c:pt>
                <c:pt idx="1332">
                  <c:v>2026774</c:v>
                </c:pt>
                <c:pt idx="1333">
                  <c:v>2039937</c:v>
                </c:pt>
                <c:pt idx="1334">
                  <c:v>2029656</c:v>
                </c:pt>
                <c:pt idx="1335">
                  <c:v>2031669</c:v>
                </c:pt>
                <c:pt idx="1336">
                  <c:v>2037143</c:v>
                </c:pt>
                <c:pt idx="1337">
                  <c:v>2026002</c:v>
                </c:pt>
                <c:pt idx="1338">
                  <c:v>2000165</c:v>
                </c:pt>
                <c:pt idx="1339">
                  <c:v>1993267</c:v>
                </c:pt>
                <c:pt idx="1340">
                  <c:v>1970964</c:v>
                </c:pt>
                <c:pt idx="1341">
                  <c:v>1981972</c:v>
                </c:pt>
                <c:pt idx="1342">
                  <c:v>2003364</c:v>
                </c:pt>
                <c:pt idx="1343">
                  <c:v>2002641</c:v>
                </c:pt>
                <c:pt idx="1344">
                  <c:v>1990043</c:v>
                </c:pt>
                <c:pt idx="1345">
                  <c:v>2020288</c:v>
                </c:pt>
                <c:pt idx="1346">
                  <c:v>2037671</c:v>
                </c:pt>
                <c:pt idx="1347">
                  <c:v>2052108</c:v>
                </c:pt>
                <c:pt idx="1348">
                  <c:v>2074995</c:v>
                </c:pt>
                <c:pt idx="1349">
                  <c:v>2077990</c:v>
                </c:pt>
                <c:pt idx="1350">
                  <c:v>2076880</c:v>
                </c:pt>
                <c:pt idx="1351">
                  <c:v>2076150</c:v>
                </c:pt>
                <c:pt idx="1352">
                  <c:v>2079907</c:v>
                </c:pt>
                <c:pt idx="1353">
                  <c:v>2069935</c:v>
                </c:pt>
                <c:pt idx="1354">
                  <c:v>2062780</c:v>
                </c:pt>
                <c:pt idx="1355">
                  <c:v>2053033</c:v>
                </c:pt>
                <c:pt idx="1356">
                  <c:v>2054142</c:v>
                </c:pt>
                <c:pt idx="1357">
                  <c:v>2042037</c:v>
                </c:pt>
                <c:pt idx="1358">
                  <c:v>2044737</c:v>
                </c:pt>
                <c:pt idx="1359">
                  <c:v>2048360</c:v>
                </c:pt>
                <c:pt idx="1360">
                  <c:v>2045849</c:v>
                </c:pt>
                <c:pt idx="1361">
                  <c:v>2050806</c:v>
                </c:pt>
                <c:pt idx="1362">
                  <c:v>2052042</c:v>
                </c:pt>
                <c:pt idx="1363">
                  <c:v>2056517</c:v>
                </c:pt>
                <c:pt idx="1364">
                  <c:v>2084158</c:v>
                </c:pt>
                <c:pt idx="1365">
                  <c:v>2111718</c:v>
                </c:pt>
                <c:pt idx="1366">
                  <c:v>2143124</c:v>
                </c:pt>
                <c:pt idx="1367">
                  <c:v>2185699</c:v>
                </c:pt>
                <c:pt idx="1368">
                  <c:v>2197020</c:v>
                </c:pt>
                <c:pt idx="1369">
                  <c:v>2192090</c:v>
                </c:pt>
                <c:pt idx="1370">
                  <c:v>2183788</c:v>
                </c:pt>
                <c:pt idx="1371">
                  <c:v>2184633</c:v>
                </c:pt>
                <c:pt idx="1372">
                  <c:v>2186505</c:v>
                </c:pt>
                <c:pt idx="1373">
                  <c:v>2184416</c:v>
                </c:pt>
                <c:pt idx="1374">
                  <c:v>2181811</c:v>
                </c:pt>
                <c:pt idx="1375">
                  <c:v>2195649</c:v>
                </c:pt>
                <c:pt idx="1376">
                  <c:v>2230118</c:v>
                </c:pt>
                <c:pt idx="1377">
                  <c:v>2233716</c:v>
                </c:pt>
                <c:pt idx="1378">
                  <c:v>2231136</c:v>
                </c:pt>
                <c:pt idx="1379">
                  <c:v>2221013</c:v>
                </c:pt>
                <c:pt idx="1380">
                  <c:v>2215846</c:v>
                </c:pt>
                <c:pt idx="1381">
                  <c:v>2199989</c:v>
                </c:pt>
                <c:pt idx="1382">
                  <c:v>2199649</c:v>
                </c:pt>
                <c:pt idx="1383">
                  <c:v>2205840</c:v>
                </c:pt>
                <c:pt idx="1384">
                  <c:v>2199232</c:v>
                </c:pt>
                <c:pt idx="1385">
                  <c:v>2190855</c:v>
                </c:pt>
                <c:pt idx="1386">
                  <c:v>2181179</c:v>
                </c:pt>
                <c:pt idx="1387">
                  <c:v>2177485</c:v>
                </c:pt>
                <c:pt idx="1388">
                  <c:v>2176144</c:v>
                </c:pt>
                <c:pt idx="1389">
                  <c:v>2182399</c:v>
                </c:pt>
                <c:pt idx="1390">
                  <c:v>2181666</c:v>
                </c:pt>
                <c:pt idx="1391">
                  <c:v>2183446</c:v>
                </c:pt>
                <c:pt idx="1392">
                  <c:v>2196759</c:v>
                </c:pt>
                <c:pt idx="1393">
                  <c:v>2205999</c:v>
                </c:pt>
                <c:pt idx="1394">
                  <c:v>2224209</c:v>
                </c:pt>
                <c:pt idx="1395">
                  <c:v>2221049</c:v>
                </c:pt>
                <c:pt idx="1396">
                  <c:v>2211389</c:v>
                </c:pt>
                <c:pt idx="1397">
                  <c:v>2210281</c:v>
                </c:pt>
                <c:pt idx="1398">
                  <c:v>2190171</c:v>
                </c:pt>
                <c:pt idx="1399">
                  <c:v>2173101</c:v>
                </c:pt>
                <c:pt idx="1400">
                  <c:v>2165396</c:v>
                </c:pt>
                <c:pt idx="1401">
                  <c:v>2136529</c:v>
                </c:pt>
                <c:pt idx="1402">
                  <c:v>2134866</c:v>
                </c:pt>
                <c:pt idx="1403">
                  <c:v>2149130</c:v>
                </c:pt>
                <c:pt idx="1404">
                  <c:v>2152456</c:v>
                </c:pt>
                <c:pt idx="1405">
                  <c:v>2144180</c:v>
                </c:pt>
                <c:pt idx="1406">
                  <c:v>2134469</c:v>
                </c:pt>
                <c:pt idx="1407">
                  <c:v>2130878</c:v>
                </c:pt>
                <c:pt idx="1408">
                  <c:v>2136433</c:v>
                </c:pt>
                <c:pt idx="1409">
                  <c:v>2125766</c:v>
                </c:pt>
                <c:pt idx="1410">
                  <c:v>2123895</c:v>
                </c:pt>
                <c:pt idx="1411">
                  <c:v>2122332</c:v>
                </c:pt>
                <c:pt idx="1412">
                  <c:v>2122899</c:v>
                </c:pt>
                <c:pt idx="1413">
                  <c:v>2125089</c:v>
                </c:pt>
                <c:pt idx="1414">
                  <c:v>2115279</c:v>
                </c:pt>
                <c:pt idx="1415">
                  <c:v>2111873</c:v>
                </c:pt>
                <c:pt idx="1416">
                  <c:v>2098677</c:v>
                </c:pt>
                <c:pt idx="1417">
                  <c:v>2079067</c:v>
                </c:pt>
                <c:pt idx="1418">
                  <c:v>2084887</c:v>
                </c:pt>
                <c:pt idx="1419">
                  <c:v>2092236</c:v>
                </c:pt>
                <c:pt idx="1420">
                  <c:v>2092230</c:v>
                </c:pt>
                <c:pt idx="1421">
                  <c:v>2091491</c:v>
                </c:pt>
                <c:pt idx="1422">
                  <c:v>2085405</c:v>
                </c:pt>
                <c:pt idx="1423">
                  <c:v>2067665</c:v>
                </c:pt>
                <c:pt idx="1424">
                  <c:v>2063190</c:v>
                </c:pt>
                <c:pt idx="1425">
                  <c:v>2072961</c:v>
                </c:pt>
                <c:pt idx="1426">
                  <c:v>2105188</c:v>
                </c:pt>
                <c:pt idx="1427">
                  <c:v>2164404</c:v>
                </c:pt>
                <c:pt idx="1428">
                  <c:v>2155771</c:v>
                </c:pt>
                <c:pt idx="1429">
                  <c:v>2185891</c:v>
                </c:pt>
                <c:pt idx="1430">
                  <c:v>2179441</c:v>
                </c:pt>
                <c:pt idx="1431">
                  <c:v>2177619</c:v>
                </c:pt>
                <c:pt idx="1432">
                  <c:v>2173247</c:v>
                </c:pt>
                <c:pt idx="1433">
                  <c:v>2173790</c:v>
                </c:pt>
                <c:pt idx="1434">
                  <c:v>2175207</c:v>
                </c:pt>
                <c:pt idx="1435">
                  <c:v>2161793</c:v>
                </c:pt>
                <c:pt idx="1436">
                  <c:v>2160348</c:v>
                </c:pt>
                <c:pt idx="1437">
                  <c:v>2173714</c:v>
                </c:pt>
                <c:pt idx="1438">
                  <c:v>2208109</c:v>
                </c:pt>
                <c:pt idx="1439">
                  <c:v>2251285</c:v>
                </c:pt>
                <c:pt idx="1440">
                  <c:v>2268305</c:v>
                </c:pt>
                <c:pt idx="1441">
                  <c:v>2263376</c:v>
                </c:pt>
                <c:pt idx="1442">
                  <c:v>2274738</c:v>
                </c:pt>
                <c:pt idx="1443">
                  <c:v>2274131</c:v>
                </c:pt>
                <c:pt idx="1444">
                  <c:v>2255359</c:v>
                </c:pt>
                <c:pt idx="1445">
                  <c:v>2259621</c:v>
                </c:pt>
                <c:pt idx="1446">
                  <c:v>2236440</c:v>
                </c:pt>
                <c:pt idx="1447">
                  <c:v>2239084</c:v>
                </c:pt>
                <c:pt idx="1448">
                  <c:v>2260059</c:v>
                </c:pt>
                <c:pt idx="1449">
                  <c:v>2266701</c:v>
                </c:pt>
                <c:pt idx="1450">
                  <c:v>2210789</c:v>
                </c:pt>
                <c:pt idx="1451">
                  <c:v>2199234</c:v>
                </c:pt>
                <c:pt idx="1452">
                  <c:v>2209073</c:v>
                </c:pt>
                <c:pt idx="1453">
                  <c:v>2203087</c:v>
                </c:pt>
                <c:pt idx="1454">
                  <c:v>2208814</c:v>
                </c:pt>
                <c:pt idx="1455">
                  <c:v>2279211</c:v>
                </c:pt>
                <c:pt idx="1456">
                  <c:v>2311602</c:v>
                </c:pt>
                <c:pt idx="1457">
                  <c:v>2315777</c:v>
                </c:pt>
                <c:pt idx="1458">
                  <c:v>2303521</c:v>
                </c:pt>
                <c:pt idx="1459">
                  <c:v>2305744</c:v>
                </c:pt>
                <c:pt idx="1460">
                  <c:v>2305164</c:v>
                </c:pt>
                <c:pt idx="1461">
                  <c:v>2284501</c:v>
                </c:pt>
                <c:pt idx="1462">
                  <c:v>2281061</c:v>
                </c:pt>
                <c:pt idx="1463">
                  <c:v>2267949</c:v>
                </c:pt>
                <c:pt idx="1464">
                  <c:v>2265708</c:v>
                </c:pt>
                <c:pt idx="1465">
                  <c:v>2261072</c:v>
                </c:pt>
                <c:pt idx="1466">
                  <c:v>2240178</c:v>
                </c:pt>
                <c:pt idx="1467">
                  <c:v>2232988</c:v>
                </c:pt>
                <c:pt idx="1468">
                  <c:v>2220388</c:v>
                </c:pt>
                <c:pt idx="1469">
                  <c:v>2208248</c:v>
                </c:pt>
                <c:pt idx="1470">
                  <c:v>2192666</c:v>
                </c:pt>
                <c:pt idx="1471">
                  <c:v>2158392</c:v>
                </c:pt>
                <c:pt idx="1472">
                  <c:v>2161190</c:v>
                </c:pt>
                <c:pt idx="1473">
                  <c:v>2157759</c:v>
                </c:pt>
                <c:pt idx="1474">
                  <c:v>2160797</c:v>
                </c:pt>
                <c:pt idx="1475">
                  <c:v>2103753</c:v>
                </c:pt>
                <c:pt idx="1476">
                  <c:v>2104166</c:v>
                </c:pt>
                <c:pt idx="1477">
                  <c:v>2087722</c:v>
                </c:pt>
                <c:pt idx="1478">
                  <c:v>2067213</c:v>
                </c:pt>
                <c:pt idx="1479">
                  <c:v>2045665</c:v>
                </c:pt>
                <c:pt idx="1480">
                  <c:v>2057552</c:v>
                </c:pt>
                <c:pt idx="1481">
                  <c:v>2074711</c:v>
                </c:pt>
                <c:pt idx="1482">
                  <c:v>2080884</c:v>
                </c:pt>
                <c:pt idx="1483">
                  <c:v>2075207</c:v>
                </c:pt>
                <c:pt idx="1484">
                  <c:v>2068911</c:v>
                </c:pt>
                <c:pt idx="1485">
                  <c:v>2050016</c:v>
                </c:pt>
                <c:pt idx="1486">
                  <c:v>2046084</c:v>
                </c:pt>
                <c:pt idx="1487">
                  <c:v>2061920</c:v>
                </c:pt>
                <c:pt idx="1488">
                  <c:v>2064951</c:v>
                </c:pt>
                <c:pt idx="1489">
                  <c:v>2059018</c:v>
                </c:pt>
                <c:pt idx="1490">
                  <c:v>2044272</c:v>
                </c:pt>
                <c:pt idx="1491">
                  <c:v>2027755</c:v>
                </c:pt>
                <c:pt idx="1492">
                  <c:v>2017580</c:v>
                </c:pt>
                <c:pt idx="1493">
                  <c:v>2025652</c:v>
                </c:pt>
                <c:pt idx="1494">
                  <c:v>2029593</c:v>
                </c:pt>
                <c:pt idx="1495">
                  <c:v>2032460</c:v>
                </c:pt>
                <c:pt idx="1496">
                  <c:v>2047724</c:v>
                </c:pt>
                <c:pt idx="1497">
                  <c:v>2067884</c:v>
                </c:pt>
                <c:pt idx="1498">
                  <c:v>2079183</c:v>
                </c:pt>
                <c:pt idx="1499">
                  <c:v>2052973</c:v>
                </c:pt>
                <c:pt idx="1500">
                  <c:v>2054428</c:v>
                </c:pt>
                <c:pt idx="1501">
                  <c:v>2069385</c:v>
                </c:pt>
                <c:pt idx="1502">
                  <c:v>2079060</c:v>
                </c:pt>
                <c:pt idx="1503">
                  <c:v>2167584</c:v>
                </c:pt>
                <c:pt idx="1504">
                  <c:v>2204317</c:v>
                </c:pt>
                <c:pt idx="1505">
                  <c:v>2195835</c:v>
                </c:pt>
                <c:pt idx="1506">
                  <c:v>2189885</c:v>
                </c:pt>
                <c:pt idx="1507">
                  <c:v>2180141</c:v>
                </c:pt>
                <c:pt idx="1508">
                  <c:v>2170911</c:v>
                </c:pt>
                <c:pt idx="1509">
                  <c:v>2172506</c:v>
                </c:pt>
                <c:pt idx="1510">
                  <c:v>2174746</c:v>
                </c:pt>
                <c:pt idx="1511">
                  <c:v>2160308</c:v>
                </c:pt>
                <c:pt idx="1512">
                  <c:v>2144949</c:v>
                </c:pt>
                <c:pt idx="1513">
                  <c:v>2140731</c:v>
                </c:pt>
                <c:pt idx="1514">
                  <c:v>2150658</c:v>
                </c:pt>
                <c:pt idx="1515">
                  <c:v>2148261</c:v>
                </c:pt>
                <c:pt idx="1516">
                  <c:v>2134841</c:v>
                </c:pt>
                <c:pt idx="1517">
                  <c:v>2103998</c:v>
                </c:pt>
                <c:pt idx="1518">
                  <c:v>2096634</c:v>
                </c:pt>
                <c:pt idx="1519">
                  <c:v>2042988</c:v>
                </c:pt>
                <c:pt idx="1520">
                  <c:v>1980923</c:v>
                </c:pt>
                <c:pt idx="1521">
                  <c:v>1979880</c:v>
                </c:pt>
                <c:pt idx="1522">
                  <c:v>1978483</c:v>
                </c:pt>
                <c:pt idx="1523">
                  <c:v>1976737</c:v>
                </c:pt>
                <c:pt idx="1524">
                  <c:v>1977739</c:v>
                </c:pt>
                <c:pt idx="1525">
                  <c:v>1976379</c:v>
                </c:pt>
                <c:pt idx="1526">
                  <c:v>1972163</c:v>
                </c:pt>
                <c:pt idx="1527">
                  <c:v>1965437</c:v>
                </c:pt>
                <c:pt idx="1528">
                  <c:v>1971708</c:v>
                </c:pt>
                <c:pt idx="1529">
                  <c:v>1984938</c:v>
                </c:pt>
                <c:pt idx="1530">
                  <c:v>2001868</c:v>
                </c:pt>
                <c:pt idx="1531">
                  <c:v>2008682</c:v>
                </c:pt>
                <c:pt idx="1532">
                  <c:v>2003659</c:v>
                </c:pt>
                <c:pt idx="1533">
                  <c:v>2007789</c:v>
                </c:pt>
                <c:pt idx="1534">
                  <c:v>2021907</c:v>
                </c:pt>
                <c:pt idx="1535">
                  <c:v>2031898</c:v>
                </c:pt>
                <c:pt idx="1536">
                  <c:v>2036389</c:v>
                </c:pt>
                <c:pt idx="1537">
                  <c:v>2076253</c:v>
                </c:pt>
                <c:pt idx="1538">
                  <c:v>2089637</c:v>
                </c:pt>
                <c:pt idx="1539">
                  <c:v>2110504</c:v>
                </c:pt>
                <c:pt idx="1540">
                  <c:v>2109294</c:v>
                </c:pt>
                <c:pt idx="1541">
                  <c:v>2070398</c:v>
                </c:pt>
                <c:pt idx="1542">
                  <c:v>2058896</c:v>
                </c:pt>
                <c:pt idx="1543">
                  <c:v>2066813</c:v>
                </c:pt>
                <c:pt idx="1544">
                  <c:v>2055234</c:v>
                </c:pt>
                <c:pt idx="1545">
                  <c:v>2053437</c:v>
                </c:pt>
                <c:pt idx="1546">
                  <c:v>2046731</c:v>
                </c:pt>
                <c:pt idx="1547">
                  <c:v>2044761</c:v>
                </c:pt>
                <c:pt idx="1548">
                  <c:v>2050723</c:v>
                </c:pt>
                <c:pt idx="1549">
                  <c:v>2084152</c:v>
                </c:pt>
                <c:pt idx="1550">
                  <c:v>2097004</c:v>
                </c:pt>
                <c:pt idx="1551">
                  <c:v>2082788</c:v>
                </c:pt>
                <c:pt idx="1552">
                  <c:v>2100555</c:v>
                </c:pt>
                <c:pt idx="1553">
                  <c:v>2135185</c:v>
                </c:pt>
                <c:pt idx="1554">
                  <c:v>2137345</c:v>
                </c:pt>
                <c:pt idx="1555">
                  <c:v>2129524</c:v>
                </c:pt>
                <c:pt idx="1556">
                  <c:v>2121298</c:v>
                </c:pt>
                <c:pt idx="1557">
                  <c:v>2115508</c:v>
                </c:pt>
                <c:pt idx="1558">
                  <c:v>2108155</c:v>
                </c:pt>
                <c:pt idx="1559">
                  <c:v>2097052</c:v>
                </c:pt>
                <c:pt idx="1560">
                  <c:v>2092438</c:v>
                </c:pt>
                <c:pt idx="1561">
                  <c:v>2087482</c:v>
                </c:pt>
                <c:pt idx="1562">
                  <c:v>2079910</c:v>
                </c:pt>
                <c:pt idx="1563">
                  <c:v>2082527</c:v>
                </c:pt>
                <c:pt idx="1564">
                  <c:v>2084400</c:v>
                </c:pt>
                <c:pt idx="1565">
                  <c:v>2096511</c:v>
                </c:pt>
                <c:pt idx="1566">
                  <c:v>2096511</c:v>
                </c:pt>
                <c:pt idx="1567">
                  <c:v>2096904</c:v>
                </c:pt>
                <c:pt idx="1568">
                  <c:v>2074007</c:v>
                </c:pt>
                <c:pt idx="1569">
                  <c:v>2053196</c:v>
                </c:pt>
                <c:pt idx="1570">
                  <c:v>2048989</c:v>
                </c:pt>
                <c:pt idx="1571">
                  <c:v>2025478</c:v>
                </c:pt>
                <c:pt idx="1572">
                  <c:v>2006208</c:v>
                </c:pt>
                <c:pt idx="1573">
                  <c:v>1992170</c:v>
                </c:pt>
                <c:pt idx="1574">
                  <c:v>1978784</c:v>
                </c:pt>
                <c:pt idx="1575">
                  <c:v>1957390</c:v>
                </c:pt>
                <c:pt idx="1576">
                  <c:v>1979669</c:v>
                </c:pt>
                <c:pt idx="1577">
                  <c:v>2009387</c:v>
                </c:pt>
                <c:pt idx="1578">
                  <c:v>2032976</c:v>
                </c:pt>
                <c:pt idx="1579">
                  <c:v>2032073</c:v>
                </c:pt>
                <c:pt idx="1580">
                  <c:v>2035843</c:v>
                </c:pt>
                <c:pt idx="1581">
                  <c:v>2039024</c:v>
                </c:pt>
                <c:pt idx="1582">
                  <c:v>2011256</c:v>
                </c:pt>
                <c:pt idx="1583">
                  <c:v>1996245</c:v>
                </c:pt>
                <c:pt idx="1584">
                  <c:v>2002443</c:v>
                </c:pt>
                <c:pt idx="1585">
                  <c:v>1994824</c:v>
                </c:pt>
                <c:pt idx="1586">
                  <c:v>2028832</c:v>
                </c:pt>
                <c:pt idx="1587">
                  <c:v>2062024</c:v>
                </c:pt>
                <c:pt idx="1588">
                  <c:v>2095816</c:v>
                </c:pt>
                <c:pt idx="1589">
                  <c:v>2102838</c:v>
                </c:pt>
                <c:pt idx="1590">
                  <c:v>2115668</c:v>
                </c:pt>
                <c:pt idx="1591">
                  <c:v>2161910</c:v>
                </c:pt>
                <c:pt idx="1592">
                  <c:v>2180050</c:v>
                </c:pt>
                <c:pt idx="1593">
                  <c:v>2222932</c:v>
                </c:pt>
                <c:pt idx="1594">
                  <c:v>2238682</c:v>
                </c:pt>
                <c:pt idx="1595">
                  <c:v>2226600</c:v>
                </c:pt>
                <c:pt idx="1596">
                  <c:v>2250154</c:v>
                </c:pt>
                <c:pt idx="1597">
                  <c:v>2298691</c:v>
                </c:pt>
                <c:pt idx="1598">
                  <c:v>2356375</c:v>
                </c:pt>
                <c:pt idx="1599">
                  <c:v>2379482</c:v>
                </c:pt>
                <c:pt idx="1600">
                  <c:v>2389888</c:v>
                </c:pt>
                <c:pt idx="1601">
                  <c:v>2380106</c:v>
                </c:pt>
                <c:pt idx="1602">
                  <c:v>2366955</c:v>
                </c:pt>
                <c:pt idx="1603">
                  <c:v>2427542</c:v>
                </c:pt>
                <c:pt idx="1604">
                  <c:v>2456079</c:v>
                </c:pt>
                <c:pt idx="1605">
                  <c:v>2469568</c:v>
                </c:pt>
                <c:pt idx="1606">
                  <c:v>2439591</c:v>
                </c:pt>
                <c:pt idx="1607">
                  <c:v>2425442</c:v>
                </c:pt>
                <c:pt idx="1608">
                  <c:v>2478504</c:v>
                </c:pt>
                <c:pt idx="1609">
                  <c:v>2491542</c:v>
                </c:pt>
                <c:pt idx="1610">
                  <c:v>2516845</c:v>
                </c:pt>
                <c:pt idx="1611">
                  <c:v>2574098</c:v>
                </c:pt>
                <c:pt idx="1612">
                  <c:v>2623434</c:v>
                </c:pt>
                <c:pt idx="1613">
                  <c:v>2652093</c:v>
                </c:pt>
                <c:pt idx="1614">
                  <c:v>2639684</c:v>
                </c:pt>
                <c:pt idx="1615">
                  <c:v>2644410</c:v>
                </c:pt>
                <c:pt idx="1616">
                  <c:v>2699211</c:v>
                </c:pt>
                <c:pt idx="1617">
                  <c:v>2721502</c:v>
                </c:pt>
                <c:pt idx="1618">
                  <c:v>2751520</c:v>
                </c:pt>
                <c:pt idx="1619">
                  <c:v>2796190</c:v>
                </c:pt>
                <c:pt idx="1620">
                  <c:v>2795212</c:v>
                </c:pt>
                <c:pt idx="1621">
                  <c:v>2778027</c:v>
                </c:pt>
                <c:pt idx="1622">
                  <c:v>2734741</c:v>
                </c:pt>
                <c:pt idx="1623">
                  <c:v>2693982</c:v>
                </c:pt>
                <c:pt idx="1624">
                  <c:v>2715490</c:v>
                </c:pt>
                <c:pt idx="1625">
                  <c:v>2740607</c:v>
                </c:pt>
                <c:pt idx="1626">
                  <c:v>2799386</c:v>
                </c:pt>
                <c:pt idx="1627">
                  <c:v>2817244</c:v>
                </c:pt>
                <c:pt idx="1628">
                  <c:v>2823409</c:v>
                </c:pt>
                <c:pt idx="1629">
                  <c:v>2872579</c:v>
                </c:pt>
                <c:pt idx="1630">
                  <c:v>2896203</c:v>
                </c:pt>
                <c:pt idx="1631">
                  <c:v>2866267</c:v>
                </c:pt>
                <c:pt idx="1632">
                  <c:v>2807254</c:v>
                </c:pt>
                <c:pt idx="1633">
                  <c:v>2817113</c:v>
                </c:pt>
                <c:pt idx="1634">
                  <c:v>2817267</c:v>
                </c:pt>
                <c:pt idx="1635">
                  <c:v>2783702</c:v>
                </c:pt>
                <c:pt idx="1636">
                  <c:v>2769927</c:v>
                </c:pt>
                <c:pt idx="1637">
                  <c:v>2731614</c:v>
                </c:pt>
                <c:pt idx="1638">
                  <c:v>2732953</c:v>
                </c:pt>
                <c:pt idx="1639">
                  <c:v>2782617</c:v>
                </c:pt>
                <c:pt idx="1640">
                  <c:v>2805229</c:v>
                </c:pt>
                <c:pt idx="1641">
                  <c:v>2788054</c:v>
                </c:pt>
                <c:pt idx="1642">
                  <c:v>2773921</c:v>
                </c:pt>
                <c:pt idx="1643">
                  <c:v>2768808</c:v>
                </c:pt>
                <c:pt idx="1644">
                  <c:v>2734448</c:v>
                </c:pt>
                <c:pt idx="1645">
                  <c:v>2747239</c:v>
                </c:pt>
                <c:pt idx="1646">
                  <c:v>2752309</c:v>
                </c:pt>
                <c:pt idx="1647">
                  <c:v>2777494</c:v>
                </c:pt>
                <c:pt idx="1648">
                  <c:v>2777675</c:v>
                </c:pt>
                <c:pt idx="1649">
                  <c:v>2792125</c:v>
                </c:pt>
                <c:pt idx="1650">
                  <c:v>2756888</c:v>
                </c:pt>
                <c:pt idx="1651">
                  <c:v>2701061</c:v>
                </c:pt>
                <c:pt idx="1652">
                  <c:v>2654932</c:v>
                </c:pt>
                <c:pt idx="1653">
                  <c:v>2674467</c:v>
                </c:pt>
                <c:pt idx="1654">
                  <c:v>2689682</c:v>
                </c:pt>
                <c:pt idx="1655">
                  <c:v>2699899</c:v>
                </c:pt>
                <c:pt idx="1656">
                  <c:v>2680330</c:v>
                </c:pt>
                <c:pt idx="1657">
                  <c:v>2699383</c:v>
                </c:pt>
                <c:pt idx="1658">
                  <c:v>2753270</c:v>
                </c:pt>
                <c:pt idx="1659">
                  <c:v>2798748</c:v>
                </c:pt>
                <c:pt idx="1660">
                  <c:v>2797277</c:v>
                </c:pt>
                <c:pt idx="1661">
                  <c:v>2805109</c:v>
                </c:pt>
                <c:pt idx="1662">
                  <c:v>2819625</c:v>
                </c:pt>
                <c:pt idx="1663">
                  <c:v>2763129</c:v>
                </c:pt>
                <c:pt idx="1664">
                  <c:v>2754840</c:v>
                </c:pt>
                <c:pt idx="1665">
                  <c:v>2739735</c:v>
                </c:pt>
                <c:pt idx="1666">
                  <c:v>2705275</c:v>
                </c:pt>
                <c:pt idx="1667">
                  <c:v>2669165</c:v>
                </c:pt>
                <c:pt idx="1668">
                  <c:v>2669424</c:v>
                </c:pt>
                <c:pt idx="1669">
                  <c:v>2634788</c:v>
                </c:pt>
                <c:pt idx="1670">
                  <c:v>2639750</c:v>
                </c:pt>
              </c:numCache>
              <c:extLst/>
            </c:numRef>
          </c:val>
          <c:smooth val="1"/>
          <c:extLst>
            <c:ext xmlns:c16="http://schemas.microsoft.com/office/drawing/2014/chart" uri="{C3380CC4-5D6E-409C-BE32-E72D297353CC}">
              <c16:uniqueId val="{00000002-A600-4ED6-AD43-B001D4871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7119583"/>
        <c:axId val="167128735"/>
      </c:lineChart>
      <c:catAx>
        <c:axId val="1671195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67128735"/>
        <c:crosses val="autoZero"/>
        <c:auto val="1"/>
        <c:lblAlgn val="ctr"/>
        <c:lblOffset val="100"/>
        <c:noMultiLvlLbl val="0"/>
      </c:catAx>
      <c:valAx>
        <c:axId val="167128735"/>
        <c:scaling>
          <c:orientation val="minMax"/>
          <c:min val="70000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167119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 sz="1200"/>
              <a:t>نرخ بهره بدون ریسک</a:t>
            </a:r>
            <a:endParaRPr lang="en-US" sz="1200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4"/>
          <c:order val="0"/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580</c:f>
              <c:numCache>
                <c:formatCode>0.0%</c:formatCode>
                <c:ptCount val="157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77-4A4E-99BB-DD4930C84B06}"/>
            </c:ext>
          </c:extLst>
        </c:ser>
        <c:ser>
          <c:idx val="5"/>
          <c:order val="1"/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580</c:f>
              <c:numCache>
                <c:formatCode>0.0%</c:formatCode>
                <c:ptCount val="157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77-4A4E-99BB-DD4930C84B06}"/>
            </c:ext>
          </c:extLst>
        </c:ser>
        <c:ser>
          <c:idx val="6"/>
          <c:order val="2"/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580</c:f>
              <c:numCache>
                <c:formatCode>0.0%</c:formatCode>
                <c:ptCount val="157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C77-4A4E-99BB-DD4930C84B06}"/>
            </c:ext>
          </c:extLst>
        </c:ser>
        <c:ser>
          <c:idx val="7"/>
          <c:order val="3"/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580</c:f>
              <c:numCache>
                <c:formatCode>0.0%</c:formatCode>
                <c:ptCount val="157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C77-4A4E-99BB-DD4930C84B06}"/>
            </c:ext>
          </c:extLst>
        </c:ser>
        <c:ser>
          <c:idx val="8"/>
          <c:order val="4"/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580</c:f>
              <c:numCache>
                <c:formatCode>0.0%</c:formatCode>
                <c:ptCount val="157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C77-4A4E-99BB-DD4930C84B06}"/>
            </c:ext>
          </c:extLst>
        </c:ser>
        <c:ser>
          <c:idx val="9"/>
          <c:order val="5"/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580</c:f>
              <c:numCache>
                <c:formatCode>0.0%</c:formatCode>
                <c:ptCount val="157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C77-4A4E-99BB-DD4930C84B06}"/>
            </c:ext>
          </c:extLst>
        </c:ser>
        <c:ser>
          <c:idx val="10"/>
          <c:order val="6"/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580</c:f>
              <c:numCache>
                <c:formatCode>0.0%</c:formatCode>
                <c:ptCount val="157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C77-4A4E-99BB-DD4930C84B06}"/>
            </c:ext>
          </c:extLst>
        </c:ser>
        <c:ser>
          <c:idx val="11"/>
          <c:order val="7"/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580</c:f>
              <c:numCache>
                <c:formatCode>0.0%</c:formatCode>
                <c:ptCount val="157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C77-4A4E-99BB-DD4930C84B06}"/>
            </c:ext>
          </c:extLst>
        </c:ser>
        <c:ser>
          <c:idx val="2"/>
          <c:order val="8"/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580</c:f>
              <c:numCache>
                <c:formatCode>0.0%</c:formatCode>
                <c:ptCount val="157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9C77-4A4E-99BB-DD4930C84B06}"/>
            </c:ext>
          </c:extLst>
        </c:ser>
        <c:ser>
          <c:idx val="3"/>
          <c:order val="9"/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580</c:f>
              <c:numCache>
                <c:formatCode>0.0%</c:formatCode>
                <c:ptCount val="157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9C77-4A4E-99BB-DD4930C84B06}"/>
            </c:ext>
          </c:extLst>
        </c:ser>
        <c:ser>
          <c:idx val="1"/>
          <c:order val="10"/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580</c:f>
              <c:numCache>
                <c:formatCode>0.0%</c:formatCode>
                <c:ptCount val="157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9C77-4A4E-99BB-DD4930C84B06}"/>
            </c:ext>
          </c:extLst>
        </c:ser>
        <c:ser>
          <c:idx val="0"/>
          <c:order val="11"/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450"/>
              <c:layout>
                <c:manualLayout>
                  <c:x val="-1.9838002321422969E-2"/>
                  <c:y val="-3.24515957244475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C77-4A4E-99BB-DD4930C84B06}"/>
                </c:ext>
              </c:extLst>
            </c:dLbl>
            <c:dLbl>
              <c:idx val="1474"/>
              <c:layout>
                <c:manualLayout>
                  <c:x val="-2.0043087834359687E-2"/>
                  <c:y val="2.27899501692722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C77-4A4E-99BB-DD4930C84B06}"/>
                </c:ext>
              </c:extLst>
            </c:dLbl>
            <c:dLbl>
              <c:idx val="157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3.7301460823373177E-2"/>
                      <c:h val="3.83333333333333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9C77-4A4E-99BB-DD4930C84B06}"/>
                </c:ext>
              </c:extLst>
            </c:dLbl>
            <c:dLbl>
              <c:idx val="162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3.8685447187627446E-2"/>
                      <c:h val="5.765700483091787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9C77-4A4E-99BB-DD4930C84B06}"/>
                </c:ext>
              </c:extLst>
            </c:dLbl>
            <c:dLbl>
              <c:idx val="1646"/>
              <c:tx>
                <c:rich>
                  <a:bodyPr/>
                  <a:lstStyle/>
                  <a:p>
                    <a:r>
                      <a:rPr lang="en-US"/>
                      <a:t>35.9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9C77-4A4E-99BB-DD4930C84B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2060"/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heet 0'!$A$2:$A$1700</c:f>
              <c:strCache>
                <c:ptCount val="1648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7</c:v>
                </c:pt>
                <c:pt idx="12">
                  <c:v>1397-01-28</c:v>
                </c:pt>
                <c:pt idx="13">
                  <c:v>1397-01-29</c:v>
                </c:pt>
                <c:pt idx="14">
                  <c:v>1397-02-01</c:v>
                </c:pt>
                <c:pt idx="15">
                  <c:v>1397-02-02</c:v>
                </c:pt>
                <c:pt idx="16">
                  <c:v>1397-02-03</c:v>
                </c:pt>
                <c:pt idx="17">
                  <c:v>1397-02-04</c:v>
                </c:pt>
                <c:pt idx="18">
                  <c:v>1397-02-05</c:v>
                </c:pt>
                <c:pt idx="19">
                  <c:v>1397-02-09</c:v>
                </c:pt>
                <c:pt idx="20">
                  <c:v>1397-02-10</c:v>
                </c:pt>
                <c:pt idx="21">
                  <c:v>1397-02-11</c:v>
                </c:pt>
                <c:pt idx="22">
                  <c:v>1397-02-15</c:v>
                </c:pt>
                <c:pt idx="23">
                  <c:v>1397-02-16</c:v>
                </c:pt>
                <c:pt idx="24">
                  <c:v>1397-02-17</c:v>
                </c:pt>
                <c:pt idx="25">
                  <c:v>1397-02-18</c:v>
                </c:pt>
                <c:pt idx="26">
                  <c:v>1397-02-19</c:v>
                </c:pt>
                <c:pt idx="27">
                  <c:v>1397-02-22</c:v>
                </c:pt>
                <c:pt idx="28">
                  <c:v>1397-02-23</c:v>
                </c:pt>
                <c:pt idx="29">
                  <c:v>1397-02-24</c:v>
                </c:pt>
                <c:pt idx="30">
                  <c:v>1397-02-25</c:v>
                </c:pt>
                <c:pt idx="31">
                  <c:v>1397-02-26</c:v>
                </c:pt>
                <c:pt idx="32">
                  <c:v>1397-02-29</c:v>
                </c:pt>
                <c:pt idx="33">
                  <c:v>1397-02-30</c:v>
                </c:pt>
                <c:pt idx="34">
                  <c:v>1397-02-31</c:v>
                </c:pt>
                <c:pt idx="35">
                  <c:v>1397-03-01</c:v>
                </c:pt>
                <c:pt idx="36">
                  <c:v>1397-03-02</c:v>
                </c:pt>
                <c:pt idx="37">
                  <c:v>1397-03-05</c:v>
                </c:pt>
                <c:pt idx="38">
                  <c:v>1397-03-06</c:v>
                </c:pt>
                <c:pt idx="39">
                  <c:v>1397-03-07</c:v>
                </c:pt>
                <c:pt idx="40">
                  <c:v>1397-03-08</c:v>
                </c:pt>
                <c:pt idx="41">
                  <c:v>1397-03-09</c:v>
                </c:pt>
                <c:pt idx="42">
                  <c:v>1397-03-12</c:v>
                </c:pt>
                <c:pt idx="43">
                  <c:v>1397-03-13</c:v>
                </c:pt>
                <c:pt idx="44">
                  <c:v>1397-03-19</c:v>
                </c:pt>
                <c:pt idx="45">
                  <c:v>1397-03-20</c:v>
                </c:pt>
                <c:pt idx="46">
                  <c:v>1397-03-21</c:v>
                </c:pt>
                <c:pt idx="47">
                  <c:v>1397-03-22</c:v>
                </c:pt>
                <c:pt idx="48">
                  <c:v>1397-03-23</c:v>
                </c:pt>
                <c:pt idx="49">
                  <c:v>1397-03-27</c:v>
                </c:pt>
                <c:pt idx="50">
                  <c:v>1397-03-28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16</c:v>
                </c:pt>
                <c:pt idx="64">
                  <c:v>1397-04-17</c:v>
                </c:pt>
                <c:pt idx="65">
                  <c:v>1397-04-19</c:v>
                </c:pt>
                <c:pt idx="66">
                  <c:v>1397-04-20</c:v>
                </c:pt>
                <c:pt idx="67">
                  <c:v>1397-04-23</c:v>
                </c:pt>
                <c:pt idx="68">
                  <c:v>1397-04-24</c:v>
                </c:pt>
                <c:pt idx="69">
                  <c:v>1397-04-25</c:v>
                </c:pt>
                <c:pt idx="70">
                  <c:v>1397-04-26</c:v>
                </c:pt>
                <c:pt idx="71">
                  <c:v>1397-04-27</c:v>
                </c:pt>
                <c:pt idx="72">
                  <c:v>1397-04-31</c:v>
                </c:pt>
                <c:pt idx="73">
                  <c:v>1397-05-01</c:v>
                </c:pt>
                <c:pt idx="74">
                  <c:v>1397-05-02</c:v>
                </c:pt>
                <c:pt idx="75">
                  <c:v>1397-05-03</c:v>
                </c:pt>
                <c:pt idx="76">
                  <c:v>1397-05-06</c:v>
                </c:pt>
                <c:pt idx="77">
                  <c:v>1397-05-07</c:v>
                </c:pt>
                <c:pt idx="78">
                  <c:v>1397-05-08</c:v>
                </c:pt>
                <c:pt idx="79">
                  <c:v>1397-05-09</c:v>
                </c:pt>
                <c:pt idx="80">
                  <c:v>1397-05-10</c:v>
                </c:pt>
                <c:pt idx="81">
                  <c:v>1397-05-13</c:v>
                </c:pt>
                <c:pt idx="82">
                  <c:v>1397-05-14</c:v>
                </c:pt>
                <c:pt idx="83">
                  <c:v>1397-05-15</c:v>
                </c:pt>
                <c:pt idx="84">
                  <c:v>1397-05-16</c:v>
                </c:pt>
                <c:pt idx="85">
                  <c:v>1397-05-17</c:v>
                </c:pt>
                <c:pt idx="86">
                  <c:v>1397-05-20</c:v>
                </c:pt>
                <c:pt idx="87">
                  <c:v>1397-05-22</c:v>
                </c:pt>
                <c:pt idx="88">
                  <c:v>1397-05-23</c:v>
                </c:pt>
                <c:pt idx="89">
                  <c:v>1397-05-24</c:v>
                </c:pt>
                <c:pt idx="90">
                  <c:v>1397-05-27</c:v>
                </c:pt>
                <c:pt idx="91">
                  <c:v>1397-05-28</c:v>
                </c:pt>
                <c:pt idx="92">
                  <c:v>1397-06-03</c:v>
                </c:pt>
                <c:pt idx="93">
                  <c:v>1397-06-04</c:v>
                </c:pt>
                <c:pt idx="94">
                  <c:v>1397-06-05</c:v>
                </c:pt>
                <c:pt idx="95">
                  <c:v>1397-06-06</c:v>
                </c:pt>
                <c:pt idx="96">
                  <c:v>1397-06-07</c:v>
                </c:pt>
                <c:pt idx="97">
                  <c:v>1397-06-10</c:v>
                </c:pt>
                <c:pt idx="98">
                  <c:v>1397-06-11</c:v>
                </c:pt>
                <c:pt idx="99">
                  <c:v>1397-06-12</c:v>
                </c:pt>
                <c:pt idx="100">
                  <c:v>1397-06-13</c:v>
                </c:pt>
                <c:pt idx="101">
                  <c:v>1397-06-14</c:v>
                </c:pt>
                <c:pt idx="102">
                  <c:v>1397-06-17</c:v>
                </c:pt>
                <c:pt idx="103">
                  <c:v>1397-06-18</c:v>
                </c:pt>
                <c:pt idx="104">
                  <c:v>1397-06-19</c:v>
                </c:pt>
                <c:pt idx="105">
                  <c:v>1397-06-20</c:v>
                </c:pt>
                <c:pt idx="106">
                  <c:v>1397-06-21</c:v>
                </c:pt>
                <c:pt idx="107">
                  <c:v>1397-06-24</c:v>
                </c:pt>
                <c:pt idx="108">
                  <c:v>1397-06-25</c:v>
                </c:pt>
                <c:pt idx="109">
                  <c:v>1397-06-26</c:v>
                </c:pt>
                <c:pt idx="110">
                  <c:v>1397-06-27</c:v>
                </c:pt>
                <c:pt idx="111">
                  <c:v>1397-06-31</c:v>
                </c:pt>
                <c:pt idx="112">
                  <c:v>1397-07-01</c:v>
                </c:pt>
                <c:pt idx="113">
                  <c:v>1397-07-02</c:v>
                </c:pt>
                <c:pt idx="114">
                  <c:v>1397-07-03</c:v>
                </c:pt>
                <c:pt idx="115">
                  <c:v>1397-07-04</c:v>
                </c:pt>
                <c:pt idx="116">
                  <c:v>1397-07-07</c:v>
                </c:pt>
                <c:pt idx="117">
                  <c:v>1397-07-08</c:v>
                </c:pt>
                <c:pt idx="118">
                  <c:v>1397-07-09</c:v>
                </c:pt>
                <c:pt idx="119">
                  <c:v>1397-07-10</c:v>
                </c:pt>
                <c:pt idx="120">
                  <c:v>1397-07-11</c:v>
                </c:pt>
                <c:pt idx="121">
                  <c:v>1397-07-14</c:v>
                </c:pt>
                <c:pt idx="122">
                  <c:v>1397-07-15</c:v>
                </c:pt>
                <c:pt idx="123">
                  <c:v>1397-07-16</c:v>
                </c:pt>
                <c:pt idx="124">
                  <c:v>1397-07-17</c:v>
                </c:pt>
                <c:pt idx="125">
                  <c:v>1397-07-18</c:v>
                </c:pt>
                <c:pt idx="126">
                  <c:v>1397-07-21</c:v>
                </c:pt>
                <c:pt idx="127">
                  <c:v>1397-07-22</c:v>
                </c:pt>
                <c:pt idx="128">
                  <c:v>1397-07-23</c:v>
                </c:pt>
                <c:pt idx="129">
                  <c:v>1397-07-24</c:v>
                </c:pt>
                <c:pt idx="130">
                  <c:v>1397-07-25</c:v>
                </c:pt>
                <c:pt idx="131">
                  <c:v>1397-07-28</c:v>
                </c:pt>
                <c:pt idx="132">
                  <c:v>1397-07-29</c:v>
                </c:pt>
                <c:pt idx="133">
                  <c:v>1397-07-30</c:v>
                </c:pt>
                <c:pt idx="134">
                  <c:v>1397-08-01</c:v>
                </c:pt>
                <c:pt idx="135">
                  <c:v>1397-08-02</c:v>
                </c:pt>
                <c:pt idx="136">
                  <c:v>1397-08-05</c:v>
                </c:pt>
                <c:pt idx="137">
                  <c:v>1397-08-06</c:v>
                </c:pt>
                <c:pt idx="138">
                  <c:v>1397-08-07</c:v>
                </c:pt>
                <c:pt idx="139">
                  <c:v>1397-08-09</c:v>
                </c:pt>
                <c:pt idx="140">
                  <c:v>1397-08-12</c:v>
                </c:pt>
                <c:pt idx="141">
                  <c:v>1397-08-13</c:v>
                </c:pt>
                <c:pt idx="142">
                  <c:v>1397-08-14</c:v>
                </c:pt>
                <c:pt idx="143">
                  <c:v>1397-08-15</c:v>
                </c:pt>
                <c:pt idx="144">
                  <c:v>1397-08-19</c:v>
                </c:pt>
                <c:pt idx="145">
                  <c:v>1397-08-20</c:v>
                </c:pt>
                <c:pt idx="146">
                  <c:v>1397-08-21</c:v>
                </c:pt>
                <c:pt idx="147">
                  <c:v>1397-08-22</c:v>
                </c:pt>
                <c:pt idx="148">
                  <c:v>1397-08-23</c:v>
                </c:pt>
                <c:pt idx="149">
                  <c:v>1397-08-26</c:v>
                </c:pt>
                <c:pt idx="150">
                  <c:v>1397-08-27</c:v>
                </c:pt>
                <c:pt idx="151">
                  <c:v>1397-08-28</c:v>
                </c:pt>
                <c:pt idx="152">
                  <c:v>1397-08-29</c:v>
                </c:pt>
                <c:pt idx="153">
                  <c:v>1397-08-30</c:v>
                </c:pt>
                <c:pt idx="154">
                  <c:v>1397-09-03</c:v>
                </c:pt>
                <c:pt idx="155">
                  <c:v>1397-09-05</c:v>
                </c:pt>
                <c:pt idx="156">
                  <c:v>1397-09-06</c:v>
                </c:pt>
                <c:pt idx="157">
                  <c:v>1397-09-07</c:v>
                </c:pt>
                <c:pt idx="158">
                  <c:v>1397-09-10</c:v>
                </c:pt>
                <c:pt idx="159">
                  <c:v>1397-09-11</c:v>
                </c:pt>
                <c:pt idx="160">
                  <c:v>1397-09-12</c:v>
                </c:pt>
                <c:pt idx="161">
                  <c:v>1397-09-13</c:v>
                </c:pt>
                <c:pt idx="162">
                  <c:v>1397-09-14</c:v>
                </c:pt>
                <c:pt idx="163">
                  <c:v>1397-09-17</c:v>
                </c:pt>
                <c:pt idx="164">
                  <c:v>1397-09-18</c:v>
                </c:pt>
                <c:pt idx="165">
                  <c:v>1397-09-19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09-27</c:v>
                </c:pt>
                <c:pt idx="171">
                  <c:v>1397-09-28</c:v>
                </c:pt>
                <c:pt idx="172">
                  <c:v>1397-10-01</c:v>
                </c:pt>
                <c:pt idx="173">
                  <c:v>1397-10-02</c:v>
                </c:pt>
                <c:pt idx="174">
                  <c:v>1397-10-03</c:v>
                </c:pt>
                <c:pt idx="175">
                  <c:v>1397-10-04</c:v>
                </c:pt>
                <c:pt idx="176">
                  <c:v>1397-10-05</c:v>
                </c:pt>
                <c:pt idx="177">
                  <c:v>1397-10-08</c:v>
                </c:pt>
                <c:pt idx="178">
                  <c:v>1397-10-09</c:v>
                </c:pt>
                <c:pt idx="179">
                  <c:v>1397-10-10</c:v>
                </c:pt>
                <c:pt idx="180">
                  <c:v>1397-10-11</c:v>
                </c:pt>
                <c:pt idx="181">
                  <c:v>1397-10-12</c:v>
                </c:pt>
                <c:pt idx="182">
                  <c:v>1397-10-15</c:v>
                </c:pt>
                <c:pt idx="183">
                  <c:v>1397-10-16</c:v>
                </c:pt>
                <c:pt idx="184">
                  <c:v>1397-10-17</c:v>
                </c:pt>
                <c:pt idx="185">
                  <c:v>1397-10-18</c:v>
                </c:pt>
                <c:pt idx="186">
                  <c:v>1397-10-19</c:v>
                </c:pt>
                <c:pt idx="187">
                  <c:v>1397-10-22</c:v>
                </c:pt>
                <c:pt idx="188">
                  <c:v>1397-10-23</c:v>
                </c:pt>
                <c:pt idx="189">
                  <c:v>1397-10-24</c:v>
                </c:pt>
                <c:pt idx="190">
                  <c:v>1397-10-25</c:v>
                </c:pt>
                <c:pt idx="191">
                  <c:v>1397-10-26</c:v>
                </c:pt>
                <c:pt idx="192">
                  <c:v>1397-10-29</c:v>
                </c:pt>
                <c:pt idx="193">
                  <c:v>1397-10-30</c:v>
                </c:pt>
                <c:pt idx="194">
                  <c:v>1397-11-01</c:v>
                </c:pt>
                <c:pt idx="195">
                  <c:v>1397-11-02</c:v>
                </c:pt>
                <c:pt idx="196">
                  <c:v>1397-11-03</c:v>
                </c:pt>
                <c:pt idx="197">
                  <c:v>1397-11-06</c:v>
                </c:pt>
                <c:pt idx="198">
                  <c:v>1397-11-07</c:v>
                </c:pt>
                <c:pt idx="199">
                  <c:v>1397-11-08</c:v>
                </c:pt>
                <c:pt idx="200">
                  <c:v>1397-11-09</c:v>
                </c:pt>
                <c:pt idx="201">
                  <c:v>1397-11-10</c:v>
                </c:pt>
                <c:pt idx="202">
                  <c:v>1397-11-13</c:v>
                </c:pt>
                <c:pt idx="203">
                  <c:v>1397-11-14</c:v>
                </c:pt>
                <c:pt idx="204">
                  <c:v>1397-11-15</c:v>
                </c:pt>
                <c:pt idx="205">
                  <c:v>1397-11-16</c:v>
                </c:pt>
                <c:pt idx="206">
                  <c:v>1397-11-17</c:v>
                </c:pt>
                <c:pt idx="207">
                  <c:v>1397-11-21</c:v>
                </c:pt>
                <c:pt idx="208">
                  <c:v>1397-11-27</c:v>
                </c:pt>
                <c:pt idx="209">
                  <c:v>1397-11-28</c:v>
                </c:pt>
                <c:pt idx="210">
                  <c:v>1397-11-29</c:v>
                </c:pt>
                <c:pt idx="211">
                  <c:v>1397-11-30</c:v>
                </c:pt>
                <c:pt idx="212">
                  <c:v>1397-12-01</c:v>
                </c:pt>
                <c:pt idx="213">
                  <c:v>1397-12-04</c:v>
                </c:pt>
                <c:pt idx="214">
                  <c:v>1397-12-05</c:v>
                </c:pt>
                <c:pt idx="215">
                  <c:v>1397-12-06</c:v>
                </c:pt>
                <c:pt idx="216">
                  <c:v>1397-12-07</c:v>
                </c:pt>
                <c:pt idx="217">
                  <c:v>1397-12-08</c:v>
                </c:pt>
                <c:pt idx="218">
                  <c:v>1397-12-11</c:v>
                </c:pt>
                <c:pt idx="219">
                  <c:v>1397-12-12</c:v>
                </c:pt>
                <c:pt idx="220">
                  <c:v>1397-12-13</c:v>
                </c:pt>
                <c:pt idx="221">
                  <c:v>1397-12-14</c:v>
                </c:pt>
                <c:pt idx="222">
                  <c:v>1397-12-15</c:v>
                </c:pt>
                <c:pt idx="223">
                  <c:v>1397-12-19</c:v>
                </c:pt>
                <c:pt idx="224">
                  <c:v>1397-12-20</c:v>
                </c:pt>
                <c:pt idx="225">
                  <c:v>1397-12-21</c:v>
                </c:pt>
                <c:pt idx="226">
                  <c:v>1397-12-22</c:v>
                </c:pt>
                <c:pt idx="227">
                  <c:v>1397-12-25</c:v>
                </c:pt>
                <c:pt idx="228">
                  <c:v>1397-12-26</c:v>
                </c:pt>
                <c:pt idx="229">
                  <c:v>1397-12-27</c:v>
                </c:pt>
                <c:pt idx="230">
                  <c:v>1397-12-28</c:v>
                </c:pt>
                <c:pt idx="231">
                  <c:v>1398-01-05</c:v>
                </c:pt>
                <c:pt idx="232">
                  <c:v>1398-01-06</c:v>
                </c:pt>
                <c:pt idx="233">
                  <c:v>1398-01-07</c:v>
                </c:pt>
                <c:pt idx="234">
                  <c:v>1398-01-10</c:v>
                </c:pt>
                <c:pt idx="235">
                  <c:v>1398-01-11</c:v>
                </c:pt>
                <c:pt idx="236">
                  <c:v>1398-01-17</c:v>
                </c:pt>
                <c:pt idx="237">
                  <c:v>1398-01-18</c:v>
                </c:pt>
                <c:pt idx="238">
                  <c:v>1398-01-19</c:v>
                </c:pt>
                <c:pt idx="239">
                  <c:v>1398-01-20</c:v>
                </c:pt>
                <c:pt idx="240">
                  <c:v>1398-01-21</c:v>
                </c:pt>
                <c:pt idx="241">
                  <c:v>1398-01-24</c:v>
                </c:pt>
                <c:pt idx="242">
                  <c:v>1398-01-25</c:v>
                </c:pt>
                <c:pt idx="243">
                  <c:v>1398-01-26</c:v>
                </c:pt>
                <c:pt idx="244">
                  <c:v>1398-01-27</c:v>
                </c:pt>
                <c:pt idx="245">
                  <c:v>1398-01-28</c:v>
                </c:pt>
                <c:pt idx="246">
                  <c:v>1398-01-31</c:v>
                </c:pt>
                <c:pt idx="247">
                  <c:v>1398-02-07</c:v>
                </c:pt>
                <c:pt idx="248">
                  <c:v>1398-02-08</c:v>
                </c:pt>
                <c:pt idx="249">
                  <c:v>1398-02-14</c:v>
                </c:pt>
                <c:pt idx="250">
                  <c:v>1398-02-15</c:v>
                </c:pt>
                <c:pt idx="251">
                  <c:v>1398-02-16</c:v>
                </c:pt>
                <c:pt idx="252">
                  <c:v>1398-02-17</c:v>
                </c:pt>
                <c:pt idx="253">
                  <c:v>1398-02-18</c:v>
                </c:pt>
                <c:pt idx="254">
                  <c:v>1398-02-21</c:v>
                </c:pt>
                <c:pt idx="255">
                  <c:v>1398-02-22</c:v>
                </c:pt>
                <c:pt idx="256">
                  <c:v>1398-02-23</c:v>
                </c:pt>
                <c:pt idx="257">
                  <c:v>1398-02-24</c:v>
                </c:pt>
                <c:pt idx="258">
                  <c:v>1398-02-25</c:v>
                </c:pt>
                <c:pt idx="259">
                  <c:v>1398-02-28</c:v>
                </c:pt>
                <c:pt idx="260">
                  <c:v>1398-02-29</c:v>
                </c:pt>
                <c:pt idx="261">
                  <c:v>1398-02-30</c:v>
                </c:pt>
                <c:pt idx="262">
                  <c:v>1398-02-31</c:v>
                </c:pt>
                <c:pt idx="263">
                  <c:v>1398-03-01</c:v>
                </c:pt>
                <c:pt idx="264">
                  <c:v>1398-03-04</c:v>
                </c:pt>
                <c:pt idx="265">
                  <c:v>1398-03-05</c:v>
                </c:pt>
                <c:pt idx="266">
                  <c:v>1398-03-07</c:v>
                </c:pt>
                <c:pt idx="267">
                  <c:v>1398-03-08</c:v>
                </c:pt>
                <c:pt idx="268">
                  <c:v>1398-03-11</c:v>
                </c:pt>
                <c:pt idx="269">
                  <c:v>1398-03-12</c:v>
                </c:pt>
                <c:pt idx="270">
                  <c:v>1398-03-13</c:v>
                </c:pt>
                <c:pt idx="271">
                  <c:v>1398-03-18</c:v>
                </c:pt>
                <c:pt idx="272">
                  <c:v>1398-03-19</c:v>
                </c:pt>
                <c:pt idx="273">
                  <c:v>1398-03-20</c:v>
                </c:pt>
                <c:pt idx="274">
                  <c:v>1398-03-21</c:v>
                </c:pt>
                <c:pt idx="275">
                  <c:v>1398-03-22</c:v>
                </c:pt>
                <c:pt idx="276">
                  <c:v>1398-03-25</c:v>
                </c:pt>
                <c:pt idx="277">
                  <c:v>1398-03-26</c:v>
                </c:pt>
                <c:pt idx="278">
                  <c:v>1398-03-27</c:v>
                </c:pt>
                <c:pt idx="279">
                  <c:v>1398-03-28</c:v>
                </c:pt>
                <c:pt idx="280">
                  <c:v>1398-03-29</c:v>
                </c:pt>
                <c:pt idx="281">
                  <c:v>1398-04-01</c:v>
                </c:pt>
                <c:pt idx="282">
                  <c:v>1398-04-02</c:v>
                </c:pt>
                <c:pt idx="283">
                  <c:v>1398-04-03</c:v>
                </c:pt>
                <c:pt idx="284">
                  <c:v>1398-04-04</c:v>
                </c:pt>
                <c:pt idx="285">
                  <c:v>1398-04-05</c:v>
                </c:pt>
                <c:pt idx="286">
                  <c:v>1398-04-09</c:v>
                </c:pt>
                <c:pt idx="287">
                  <c:v>1398-04-10</c:v>
                </c:pt>
                <c:pt idx="288">
                  <c:v>1398-04-11</c:v>
                </c:pt>
                <c:pt idx="289">
                  <c:v>1398-04-12</c:v>
                </c:pt>
                <c:pt idx="290">
                  <c:v>1398-04-15</c:v>
                </c:pt>
                <c:pt idx="291">
                  <c:v>1398-04-16</c:v>
                </c:pt>
                <c:pt idx="292">
                  <c:v>1398-04-17</c:v>
                </c:pt>
                <c:pt idx="293">
                  <c:v>1398-04-18</c:v>
                </c:pt>
                <c:pt idx="294">
                  <c:v>1398-04-19</c:v>
                </c:pt>
                <c:pt idx="295">
                  <c:v>1398-04-22</c:v>
                </c:pt>
                <c:pt idx="296">
                  <c:v>1398-04-23</c:v>
                </c:pt>
                <c:pt idx="297">
                  <c:v>1398-04-24</c:v>
                </c:pt>
                <c:pt idx="298">
                  <c:v>1398-04-25</c:v>
                </c:pt>
                <c:pt idx="299">
                  <c:v>1398-04-26</c:v>
                </c:pt>
                <c:pt idx="300">
                  <c:v>1398-04-29</c:v>
                </c:pt>
                <c:pt idx="301">
                  <c:v>1398-04-30</c:v>
                </c:pt>
                <c:pt idx="302">
                  <c:v>1398-04-31</c:v>
                </c:pt>
                <c:pt idx="303">
                  <c:v>1398-05-01</c:v>
                </c:pt>
                <c:pt idx="304">
                  <c:v>1398-05-02</c:v>
                </c:pt>
                <c:pt idx="305">
                  <c:v>1398-05-05</c:v>
                </c:pt>
                <c:pt idx="306">
                  <c:v>1398-05-06</c:v>
                </c:pt>
                <c:pt idx="307">
                  <c:v>1398-05-07</c:v>
                </c:pt>
                <c:pt idx="308">
                  <c:v>1398-05-08</c:v>
                </c:pt>
                <c:pt idx="309">
                  <c:v>1398-05-09</c:v>
                </c:pt>
                <c:pt idx="310">
                  <c:v>1398-05-12</c:v>
                </c:pt>
                <c:pt idx="311">
                  <c:v>1398-05-13</c:v>
                </c:pt>
                <c:pt idx="312">
                  <c:v>1398-05-14</c:v>
                </c:pt>
                <c:pt idx="313">
                  <c:v>1398-05-15</c:v>
                </c:pt>
                <c:pt idx="314">
                  <c:v>1398-05-16</c:v>
                </c:pt>
                <c:pt idx="315">
                  <c:v>1398-05-19</c:v>
                </c:pt>
                <c:pt idx="316">
                  <c:v>1398-05-20</c:v>
                </c:pt>
                <c:pt idx="317">
                  <c:v>1398-05-22</c:v>
                </c:pt>
                <c:pt idx="318">
                  <c:v>1398-05-23</c:v>
                </c:pt>
                <c:pt idx="319">
                  <c:v>1398-05-26</c:v>
                </c:pt>
                <c:pt idx="320">
                  <c:v>1398-05-27</c:v>
                </c:pt>
                <c:pt idx="321">
                  <c:v>1398-05-28</c:v>
                </c:pt>
                <c:pt idx="322">
                  <c:v>1398-05-30</c:v>
                </c:pt>
                <c:pt idx="323">
                  <c:v>1398-06-02</c:v>
                </c:pt>
                <c:pt idx="324">
                  <c:v>1398-06-03</c:v>
                </c:pt>
                <c:pt idx="325">
                  <c:v>1398-06-04</c:v>
                </c:pt>
                <c:pt idx="326">
                  <c:v>1398-06-05</c:v>
                </c:pt>
                <c:pt idx="327">
                  <c:v>1398-06-06</c:v>
                </c:pt>
                <c:pt idx="328">
                  <c:v>1398-06-09</c:v>
                </c:pt>
                <c:pt idx="329">
                  <c:v>1398-06-10</c:v>
                </c:pt>
                <c:pt idx="330">
                  <c:v>1398-06-11</c:v>
                </c:pt>
                <c:pt idx="331">
                  <c:v>1398-06-12</c:v>
                </c:pt>
                <c:pt idx="332">
                  <c:v>1398-06-13</c:v>
                </c:pt>
                <c:pt idx="333">
                  <c:v>1398-06-16</c:v>
                </c:pt>
                <c:pt idx="334">
                  <c:v>1398-06-17</c:v>
                </c:pt>
                <c:pt idx="335">
                  <c:v>1398-06-20</c:v>
                </c:pt>
                <c:pt idx="336">
                  <c:v>1398-06-23</c:v>
                </c:pt>
                <c:pt idx="337">
                  <c:v>1398-06-24</c:v>
                </c:pt>
                <c:pt idx="338">
                  <c:v>1398-06-25</c:v>
                </c:pt>
                <c:pt idx="339">
                  <c:v>1398-06-26</c:v>
                </c:pt>
                <c:pt idx="340">
                  <c:v>1398-06-27</c:v>
                </c:pt>
                <c:pt idx="341">
                  <c:v>1398-06-30</c:v>
                </c:pt>
                <c:pt idx="342">
                  <c:v>1398-06-31</c:v>
                </c:pt>
                <c:pt idx="343">
                  <c:v>1398-07-01</c:v>
                </c:pt>
                <c:pt idx="344">
                  <c:v>1398-07-02</c:v>
                </c:pt>
                <c:pt idx="345">
                  <c:v>1398-07-03</c:v>
                </c:pt>
                <c:pt idx="346">
                  <c:v>1398-07-06</c:v>
                </c:pt>
                <c:pt idx="347">
                  <c:v>1398-07-07</c:v>
                </c:pt>
                <c:pt idx="348">
                  <c:v>1398-07-08</c:v>
                </c:pt>
                <c:pt idx="349">
                  <c:v>1398-07-09</c:v>
                </c:pt>
                <c:pt idx="350">
                  <c:v>1398-07-10</c:v>
                </c:pt>
                <c:pt idx="351">
                  <c:v>1398-07-13</c:v>
                </c:pt>
                <c:pt idx="352">
                  <c:v>1398-07-14</c:v>
                </c:pt>
                <c:pt idx="353">
                  <c:v>1398-07-15</c:v>
                </c:pt>
                <c:pt idx="354">
                  <c:v>1398-07-16</c:v>
                </c:pt>
                <c:pt idx="355">
                  <c:v>1398-07-17</c:v>
                </c:pt>
                <c:pt idx="356">
                  <c:v>1398-07-20</c:v>
                </c:pt>
                <c:pt idx="357">
                  <c:v>1398-07-21</c:v>
                </c:pt>
                <c:pt idx="358">
                  <c:v>1398-07-22</c:v>
                </c:pt>
                <c:pt idx="359">
                  <c:v>1398-07-23</c:v>
                </c:pt>
                <c:pt idx="360">
                  <c:v>1398-07-24</c:v>
                </c:pt>
                <c:pt idx="361">
                  <c:v>1398-07-28</c:v>
                </c:pt>
                <c:pt idx="362">
                  <c:v>1398-07-29</c:v>
                </c:pt>
                <c:pt idx="363">
                  <c:v>1398-07-30</c:v>
                </c:pt>
                <c:pt idx="364">
                  <c:v>1398-08-01</c:v>
                </c:pt>
                <c:pt idx="365">
                  <c:v>1398-08-04</c:v>
                </c:pt>
                <c:pt idx="366">
                  <c:v>1398-08-06</c:v>
                </c:pt>
                <c:pt idx="367">
                  <c:v>1398-08-08</c:v>
                </c:pt>
                <c:pt idx="368">
                  <c:v>1398-08-11</c:v>
                </c:pt>
                <c:pt idx="369">
                  <c:v>1398-08-12</c:v>
                </c:pt>
                <c:pt idx="370">
                  <c:v>1398-08-13</c:v>
                </c:pt>
                <c:pt idx="371">
                  <c:v>1398-08-14</c:v>
                </c:pt>
                <c:pt idx="372">
                  <c:v>1398-08-18</c:v>
                </c:pt>
                <c:pt idx="373">
                  <c:v>1398-08-19</c:v>
                </c:pt>
                <c:pt idx="374">
                  <c:v>1398-08-20</c:v>
                </c:pt>
                <c:pt idx="375">
                  <c:v>1398-08-21</c:v>
                </c:pt>
                <c:pt idx="376">
                  <c:v>1398-08-22</c:v>
                </c:pt>
                <c:pt idx="377">
                  <c:v>1398-08-25</c:v>
                </c:pt>
                <c:pt idx="378">
                  <c:v>1398-08-26</c:v>
                </c:pt>
                <c:pt idx="379">
                  <c:v>1398-08-27</c:v>
                </c:pt>
                <c:pt idx="380">
                  <c:v>1398-08-28</c:v>
                </c:pt>
                <c:pt idx="381">
                  <c:v>1398-08-29</c:v>
                </c:pt>
                <c:pt idx="382">
                  <c:v>1398-09-02</c:v>
                </c:pt>
                <c:pt idx="383">
                  <c:v>1398-09-03</c:v>
                </c:pt>
                <c:pt idx="384">
                  <c:v>1398-09-04</c:v>
                </c:pt>
                <c:pt idx="385">
                  <c:v>1398-09-05</c:v>
                </c:pt>
                <c:pt idx="386">
                  <c:v>1398-09-06</c:v>
                </c:pt>
                <c:pt idx="387">
                  <c:v>1398-09-09</c:v>
                </c:pt>
                <c:pt idx="388">
                  <c:v>1398-09-10</c:v>
                </c:pt>
                <c:pt idx="389">
                  <c:v>1398-09-11</c:v>
                </c:pt>
                <c:pt idx="390">
                  <c:v>1398-09-12</c:v>
                </c:pt>
                <c:pt idx="391">
                  <c:v>1398-09-13</c:v>
                </c:pt>
                <c:pt idx="392">
                  <c:v>1398-09-16</c:v>
                </c:pt>
                <c:pt idx="393">
                  <c:v>1398-09-17</c:v>
                </c:pt>
                <c:pt idx="394">
                  <c:v>1398-09-18</c:v>
                </c:pt>
                <c:pt idx="395">
                  <c:v>1398-09-19</c:v>
                </c:pt>
                <c:pt idx="396">
                  <c:v>1398-09-20</c:v>
                </c:pt>
                <c:pt idx="397">
                  <c:v>1398-09-23</c:v>
                </c:pt>
                <c:pt idx="398">
                  <c:v>1398-09-24</c:v>
                </c:pt>
                <c:pt idx="399">
                  <c:v>1398-09-25</c:v>
                </c:pt>
                <c:pt idx="400">
                  <c:v>1398-09-26</c:v>
                </c:pt>
                <c:pt idx="401">
                  <c:v>1398-09-27</c:v>
                </c:pt>
                <c:pt idx="402">
                  <c:v>1398-09-30</c:v>
                </c:pt>
                <c:pt idx="403">
                  <c:v>1398-10-01</c:v>
                </c:pt>
                <c:pt idx="404">
                  <c:v>1398-10-02</c:v>
                </c:pt>
                <c:pt idx="405">
                  <c:v>1398-10-03</c:v>
                </c:pt>
                <c:pt idx="406">
                  <c:v>1398-10-04</c:v>
                </c:pt>
                <c:pt idx="407">
                  <c:v>1398-10-07</c:v>
                </c:pt>
                <c:pt idx="408">
                  <c:v>1398-10-08</c:v>
                </c:pt>
                <c:pt idx="409">
                  <c:v>1398-10-09</c:v>
                </c:pt>
                <c:pt idx="410">
                  <c:v>1398-10-10</c:v>
                </c:pt>
                <c:pt idx="411">
                  <c:v>1398-10-11</c:v>
                </c:pt>
                <c:pt idx="412">
                  <c:v>1398-10-14</c:v>
                </c:pt>
                <c:pt idx="413">
                  <c:v>1398-10-15</c:v>
                </c:pt>
                <c:pt idx="414">
                  <c:v>1398-10-17</c:v>
                </c:pt>
                <c:pt idx="415">
                  <c:v>1398-10-18</c:v>
                </c:pt>
                <c:pt idx="416">
                  <c:v>1398-10-21</c:v>
                </c:pt>
                <c:pt idx="417">
                  <c:v>1398-10-22</c:v>
                </c:pt>
                <c:pt idx="418">
                  <c:v>1398-10-23</c:v>
                </c:pt>
                <c:pt idx="419">
                  <c:v>1398-10-24</c:v>
                </c:pt>
                <c:pt idx="420">
                  <c:v>1398-10-25</c:v>
                </c:pt>
                <c:pt idx="421">
                  <c:v>1398-10-28</c:v>
                </c:pt>
                <c:pt idx="422">
                  <c:v>1398-10-29</c:v>
                </c:pt>
                <c:pt idx="423">
                  <c:v>1398-10-30</c:v>
                </c:pt>
                <c:pt idx="424">
                  <c:v>1398-11-01</c:v>
                </c:pt>
                <c:pt idx="425">
                  <c:v>1398-11-02</c:v>
                </c:pt>
                <c:pt idx="426">
                  <c:v>1398-11-05</c:v>
                </c:pt>
                <c:pt idx="427">
                  <c:v>1398-11-06</c:v>
                </c:pt>
                <c:pt idx="428">
                  <c:v>1398-11-07</c:v>
                </c:pt>
                <c:pt idx="429">
                  <c:v>1398-11-08</c:v>
                </c:pt>
                <c:pt idx="430">
                  <c:v>1398-11-12</c:v>
                </c:pt>
                <c:pt idx="431">
                  <c:v>1398-11-13</c:v>
                </c:pt>
                <c:pt idx="432">
                  <c:v>1398-11-14</c:v>
                </c:pt>
                <c:pt idx="433">
                  <c:v>1398-11-15</c:v>
                </c:pt>
                <c:pt idx="434">
                  <c:v>1398-11-16</c:v>
                </c:pt>
                <c:pt idx="435">
                  <c:v>1398-11-19</c:v>
                </c:pt>
                <c:pt idx="436">
                  <c:v>1398-11-20</c:v>
                </c:pt>
                <c:pt idx="437">
                  <c:v>1398-11-21</c:v>
                </c:pt>
                <c:pt idx="438">
                  <c:v>1398-11-23</c:v>
                </c:pt>
                <c:pt idx="439">
                  <c:v>1398-11-26</c:v>
                </c:pt>
                <c:pt idx="440">
                  <c:v>1398-11-27</c:v>
                </c:pt>
                <c:pt idx="441">
                  <c:v>1398-11-28</c:v>
                </c:pt>
                <c:pt idx="442">
                  <c:v>1398-11-29</c:v>
                </c:pt>
                <c:pt idx="443">
                  <c:v>1398-11-30</c:v>
                </c:pt>
                <c:pt idx="444">
                  <c:v>1398-12-03</c:v>
                </c:pt>
                <c:pt idx="445">
                  <c:v>1398-12-04</c:v>
                </c:pt>
                <c:pt idx="446">
                  <c:v>1398-12-05</c:v>
                </c:pt>
                <c:pt idx="447">
                  <c:v>1398-12-06</c:v>
                </c:pt>
                <c:pt idx="448">
                  <c:v>1398-12-07</c:v>
                </c:pt>
                <c:pt idx="449">
                  <c:v>1398-12-10</c:v>
                </c:pt>
                <c:pt idx="450">
                  <c:v>1398-12-11</c:v>
                </c:pt>
                <c:pt idx="451">
                  <c:v>1398-12-12</c:v>
                </c:pt>
                <c:pt idx="452">
                  <c:v>1398-12-13</c:v>
                </c:pt>
                <c:pt idx="453">
                  <c:v>1398-12-14</c:v>
                </c:pt>
                <c:pt idx="454">
                  <c:v>1398-12-17</c:v>
                </c:pt>
                <c:pt idx="455">
                  <c:v>1398-12-19</c:v>
                </c:pt>
                <c:pt idx="456">
                  <c:v>1398-12-20</c:v>
                </c:pt>
                <c:pt idx="457">
                  <c:v>1398-12-21</c:v>
                </c:pt>
                <c:pt idx="458">
                  <c:v>1398-12-24</c:v>
                </c:pt>
                <c:pt idx="459">
                  <c:v>1398-12-25</c:v>
                </c:pt>
                <c:pt idx="460">
                  <c:v>1398-12-26</c:v>
                </c:pt>
                <c:pt idx="461">
                  <c:v>1398-12-27</c:v>
                </c:pt>
                <c:pt idx="462">
                  <c:v>1398-12-28</c:v>
                </c:pt>
                <c:pt idx="463">
                  <c:v>1399-01-05</c:v>
                </c:pt>
                <c:pt idx="464">
                  <c:v>1399-01-06</c:v>
                </c:pt>
                <c:pt idx="465">
                  <c:v>1399-01-09</c:v>
                </c:pt>
                <c:pt idx="466">
                  <c:v>1399-01-10</c:v>
                </c:pt>
                <c:pt idx="467">
                  <c:v>1399-01-11</c:v>
                </c:pt>
                <c:pt idx="468">
                  <c:v>1399-01-16</c:v>
                </c:pt>
                <c:pt idx="469">
                  <c:v>1399-01-17</c:v>
                </c:pt>
                <c:pt idx="470">
                  <c:v>1399-01-18</c:v>
                </c:pt>
                <c:pt idx="471">
                  <c:v>1399-01-19</c:v>
                </c:pt>
                <c:pt idx="472">
                  <c:v>1399-01-20</c:v>
                </c:pt>
                <c:pt idx="473">
                  <c:v>1399-01-23</c:v>
                </c:pt>
                <c:pt idx="474">
                  <c:v>1399-01-24</c:v>
                </c:pt>
                <c:pt idx="475">
                  <c:v>1399-01-25</c:v>
                </c:pt>
                <c:pt idx="476">
                  <c:v>1399-01-26</c:v>
                </c:pt>
                <c:pt idx="477">
                  <c:v>1399-01-27</c:v>
                </c:pt>
                <c:pt idx="478">
                  <c:v>1399-01-30</c:v>
                </c:pt>
                <c:pt idx="479">
                  <c:v>1399-01-31</c:v>
                </c:pt>
                <c:pt idx="480">
                  <c:v>1399-02-01</c:v>
                </c:pt>
                <c:pt idx="481">
                  <c:v>1399-02-02</c:v>
                </c:pt>
                <c:pt idx="482">
                  <c:v>1399-02-03</c:v>
                </c:pt>
                <c:pt idx="483">
                  <c:v>1399-02-06</c:v>
                </c:pt>
                <c:pt idx="484">
                  <c:v>1399-02-07</c:v>
                </c:pt>
                <c:pt idx="485">
                  <c:v>1399-02-08</c:v>
                </c:pt>
                <c:pt idx="486">
                  <c:v>1399-02-09</c:v>
                </c:pt>
                <c:pt idx="487">
                  <c:v>1399-02-13</c:v>
                </c:pt>
                <c:pt idx="488">
                  <c:v>1399-02-14</c:v>
                </c:pt>
                <c:pt idx="489">
                  <c:v>1399-02-15</c:v>
                </c:pt>
                <c:pt idx="490">
                  <c:v>1399-02-16</c:v>
                </c:pt>
                <c:pt idx="491">
                  <c:v>1399-02-17</c:v>
                </c:pt>
                <c:pt idx="492">
                  <c:v>1399-02-20</c:v>
                </c:pt>
                <c:pt idx="493">
                  <c:v>1399-02-21</c:v>
                </c:pt>
                <c:pt idx="494">
                  <c:v>1399-02-22</c:v>
                </c:pt>
                <c:pt idx="495">
                  <c:v>1399-02-23</c:v>
                </c:pt>
                <c:pt idx="496">
                  <c:v>1399-02-24</c:v>
                </c:pt>
                <c:pt idx="497">
                  <c:v>1399-02-27</c:v>
                </c:pt>
                <c:pt idx="498">
                  <c:v>1399-02-28</c:v>
                </c:pt>
                <c:pt idx="499">
                  <c:v>1399-02-29</c:v>
                </c:pt>
                <c:pt idx="500">
                  <c:v>1399-02-30</c:v>
                </c:pt>
                <c:pt idx="501">
                  <c:v>1399-02-31</c:v>
                </c:pt>
                <c:pt idx="502">
                  <c:v>1399-03-03</c:v>
                </c:pt>
                <c:pt idx="503">
                  <c:v>1399-03-06</c:v>
                </c:pt>
                <c:pt idx="504">
                  <c:v>1399-03-07</c:v>
                </c:pt>
                <c:pt idx="505">
                  <c:v>1399-03-10</c:v>
                </c:pt>
                <c:pt idx="506">
                  <c:v>1399-03-11</c:v>
                </c:pt>
                <c:pt idx="507">
                  <c:v>1399-03-12</c:v>
                </c:pt>
                <c:pt idx="508">
                  <c:v>1399-03-13</c:v>
                </c:pt>
                <c:pt idx="509">
                  <c:v>1399-03-17</c:v>
                </c:pt>
                <c:pt idx="510">
                  <c:v>1399-03-18</c:v>
                </c:pt>
                <c:pt idx="511">
                  <c:v>1399-03-19</c:v>
                </c:pt>
                <c:pt idx="512">
                  <c:v>1399-03-20</c:v>
                </c:pt>
                <c:pt idx="513">
                  <c:v>1399-03-21</c:v>
                </c:pt>
                <c:pt idx="514">
                  <c:v>1399-03-24</c:v>
                </c:pt>
                <c:pt idx="515">
                  <c:v>1399-03-25</c:v>
                </c:pt>
                <c:pt idx="516">
                  <c:v>1399-03-26</c:v>
                </c:pt>
                <c:pt idx="517">
                  <c:v>1399-03-27</c:v>
                </c:pt>
                <c:pt idx="518">
                  <c:v>1399-03-31</c:v>
                </c:pt>
                <c:pt idx="519">
                  <c:v>1399-04-01</c:v>
                </c:pt>
                <c:pt idx="520">
                  <c:v>1399-04-02</c:v>
                </c:pt>
                <c:pt idx="521">
                  <c:v>1399-04-03</c:v>
                </c:pt>
                <c:pt idx="522">
                  <c:v>1399-04-04</c:v>
                </c:pt>
                <c:pt idx="523">
                  <c:v>1399-04-07</c:v>
                </c:pt>
                <c:pt idx="524">
                  <c:v>1399-04-08</c:v>
                </c:pt>
                <c:pt idx="525">
                  <c:v>1399-04-09</c:v>
                </c:pt>
                <c:pt idx="526">
                  <c:v>1399-04-10</c:v>
                </c:pt>
                <c:pt idx="527">
                  <c:v>1399-04-11</c:v>
                </c:pt>
                <c:pt idx="528">
                  <c:v>1399-04-14</c:v>
                </c:pt>
                <c:pt idx="529">
                  <c:v>1399-04-15</c:v>
                </c:pt>
                <c:pt idx="530">
                  <c:v>1399-04-16</c:v>
                </c:pt>
                <c:pt idx="531">
                  <c:v>1399-04-17</c:v>
                </c:pt>
                <c:pt idx="532">
                  <c:v>1399-04-18</c:v>
                </c:pt>
                <c:pt idx="533">
                  <c:v>1399-04-21</c:v>
                </c:pt>
                <c:pt idx="534">
                  <c:v>1399-04-22</c:v>
                </c:pt>
                <c:pt idx="535">
                  <c:v>1399-04-23</c:v>
                </c:pt>
                <c:pt idx="536">
                  <c:v>1399-04-24</c:v>
                </c:pt>
                <c:pt idx="537">
                  <c:v>1399-04-25</c:v>
                </c:pt>
                <c:pt idx="538">
                  <c:v>1399-04-28</c:v>
                </c:pt>
                <c:pt idx="539">
                  <c:v>1399-04-29</c:v>
                </c:pt>
                <c:pt idx="540">
                  <c:v>1399-04-30</c:v>
                </c:pt>
                <c:pt idx="541">
                  <c:v>1399-04-31</c:v>
                </c:pt>
                <c:pt idx="542">
                  <c:v>1399-05-01</c:v>
                </c:pt>
                <c:pt idx="543">
                  <c:v>1399-05-04</c:v>
                </c:pt>
                <c:pt idx="544">
                  <c:v>1399-05-05</c:v>
                </c:pt>
                <c:pt idx="545">
                  <c:v>1399-05-06</c:v>
                </c:pt>
                <c:pt idx="546">
                  <c:v>1399-05-07</c:v>
                </c:pt>
                <c:pt idx="547">
                  <c:v>1399-05-08</c:v>
                </c:pt>
                <c:pt idx="548">
                  <c:v>1399-05-11</c:v>
                </c:pt>
                <c:pt idx="549">
                  <c:v>1399-05-12</c:v>
                </c:pt>
                <c:pt idx="550">
                  <c:v>1399-05-13</c:v>
                </c:pt>
                <c:pt idx="551">
                  <c:v>1399-05-14</c:v>
                </c:pt>
                <c:pt idx="552">
                  <c:v>1399-05-15</c:v>
                </c:pt>
                <c:pt idx="553">
                  <c:v>1399-05-19</c:v>
                </c:pt>
                <c:pt idx="554">
                  <c:v>1399-05-20</c:v>
                </c:pt>
                <c:pt idx="555">
                  <c:v>1399-05-21</c:v>
                </c:pt>
                <c:pt idx="556">
                  <c:v>1399-05-22</c:v>
                </c:pt>
                <c:pt idx="557">
                  <c:v>1399-05-25</c:v>
                </c:pt>
                <c:pt idx="558">
                  <c:v>1399-05-26</c:v>
                </c:pt>
                <c:pt idx="559">
                  <c:v>1399-05-27</c:v>
                </c:pt>
                <c:pt idx="560">
                  <c:v>1399-05-28</c:v>
                </c:pt>
                <c:pt idx="561">
                  <c:v>1399-05-29</c:v>
                </c:pt>
                <c:pt idx="562">
                  <c:v>1399-06-01</c:v>
                </c:pt>
                <c:pt idx="563">
                  <c:v>1399-06-02</c:v>
                </c:pt>
                <c:pt idx="564">
                  <c:v>1399-06-03</c:v>
                </c:pt>
                <c:pt idx="565">
                  <c:v>1399-06-04</c:v>
                </c:pt>
                <c:pt idx="566">
                  <c:v>1399-06-05</c:v>
                </c:pt>
                <c:pt idx="567">
                  <c:v>1399-06-10</c:v>
                </c:pt>
                <c:pt idx="568">
                  <c:v>1399-06-11</c:v>
                </c:pt>
                <c:pt idx="569">
                  <c:v>1399-06-12</c:v>
                </c:pt>
                <c:pt idx="570">
                  <c:v>1399-06-15</c:v>
                </c:pt>
                <c:pt idx="571">
                  <c:v>1399-06-16</c:v>
                </c:pt>
                <c:pt idx="572">
                  <c:v>1399-06-17</c:v>
                </c:pt>
                <c:pt idx="573">
                  <c:v>1399-06-18</c:v>
                </c:pt>
                <c:pt idx="574">
                  <c:v>1399-06-19</c:v>
                </c:pt>
                <c:pt idx="575">
                  <c:v>1399-06-22</c:v>
                </c:pt>
                <c:pt idx="576">
                  <c:v>1399-06-23</c:v>
                </c:pt>
                <c:pt idx="577">
                  <c:v>1399-06-24</c:v>
                </c:pt>
                <c:pt idx="578">
                  <c:v>1399-06-25</c:v>
                </c:pt>
                <c:pt idx="579">
                  <c:v>1399-06-26</c:v>
                </c:pt>
                <c:pt idx="580">
                  <c:v>1399-06-29</c:v>
                </c:pt>
                <c:pt idx="581">
                  <c:v>1399-06-30</c:v>
                </c:pt>
                <c:pt idx="582">
                  <c:v>1399-06-31</c:v>
                </c:pt>
                <c:pt idx="583">
                  <c:v>1399-07-01</c:v>
                </c:pt>
                <c:pt idx="584">
                  <c:v>1399-07-02</c:v>
                </c:pt>
                <c:pt idx="585">
                  <c:v>1399-07-05</c:v>
                </c:pt>
                <c:pt idx="586">
                  <c:v>1399-07-06</c:v>
                </c:pt>
                <c:pt idx="587">
                  <c:v>1399-07-07</c:v>
                </c:pt>
                <c:pt idx="588">
                  <c:v>1399-07-08</c:v>
                </c:pt>
                <c:pt idx="589">
                  <c:v>1399-07-09</c:v>
                </c:pt>
                <c:pt idx="590">
                  <c:v>1399-07-12</c:v>
                </c:pt>
                <c:pt idx="591">
                  <c:v>1399-07-13</c:v>
                </c:pt>
                <c:pt idx="592">
                  <c:v>1399-07-14</c:v>
                </c:pt>
                <c:pt idx="593">
                  <c:v>1399-07-15</c:v>
                </c:pt>
                <c:pt idx="594">
                  <c:v>1399-07-16</c:v>
                </c:pt>
                <c:pt idx="595">
                  <c:v>1399-07-19</c:v>
                </c:pt>
                <c:pt idx="596">
                  <c:v>1399-07-20</c:v>
                </c:pt>
                <c:pt idx="597">
                  <c:v>1399-07-21</c:v>
                </c:pt>
                <c:pt idx="598">
                  <c:v>1399-07-22</c:v>
                </c:pt>
                <c:pt idx="599">
                  <c:v>1399-07-23</c:v>
                </c:pt>
                <c:pt idx="600">
                  <c:v>1399-07-27</c:v>
                </c:pt>
                <c:pt idx="601">
                  <c:v>1399-07-28</c:v>
                </c:pt>
                <c:pt idx="602">
                  <c:v>1399-07-29</c:v>
                </c:pt>
                <c:pt idx="603">
                  <c:v>1399-07-30</c:v>
                </c:pt>
                <c:pt idx="604">
                  <c:v>1399-08-03</c:v>
                </c:pt>
                <c:pt idx="605">
                  <c:v>1399-08-05</c:v>
                </c:pt>
                <c:pt idx="606">
                  <c:v>1399-08-06</c:v>
                </c:pt>
                <c:pt idx="607">
                  <c:v>1399-08-07</c:v>
                </c:pt>
                <c:pt idx="608">
                  <c:v>1399-08-10</c:v>
                </c:pt>
                <c:pt idx="609">
                  <c:v>1399-08-11</c:v>
                </c:pt>
                <c:pt idx="610">
                  <c:v>1399-08-12</c:v>
                </c:pt>
                <c:pt idx="611">
                  <c:v>1399-08-14</c:v>
                </c:pt>
                <c:pt idx="612">
                  <c:v>1399-08-17</c:v>
                </c:pt>
                <c:pt idx="613">
                  <c:v>1399-08-18</c:v>
                </c:pt>
                <c:pt idx="614">
                  <c:v>1399-08-19</c:v>
                </c:pt>
                <c:pt idx="615">
                  <c:v>1399-08-20</c:v>
                </c:pt>
                <c:pt idx="616">
                  <c:v>1399-08-21</c:v>
                </c:pt>
                <c:pt idx="617">
                  <c:v>1399-08-24</c:v>
                </c:pt>
                <c:pt idx="618">
                  <c:v>1399-08-25</c:v>
                </c:pt>
                <c:pt idx="619">
                  <c:v>1399-08-26</c:v>
                </c:pt>
                <c:pt idx="620">
                  <c:v>1399-08-27</c:v>
                </c:pt>
                <c:pt idx="621">
                  <c:v>1399-08-28</c:v>
                </c:pt>
                <c:pt idx="622">
                  <c:v>1399-09-01</c:v>
                </c:pt>
                <c:pt idx="623">
                  <c:v>1399-09-02</c:v>
                </c:pt>
                <c:pt idx="624">
                  <c:v>1399-09-03</c:v>
                </c:pt>
                <c:pt idx="625">
                  <c:v>1399-09-04</c:v>
                </c:pt>
                <c:pt idx="626">
                  <c:v>1399-09-05</c:v>
                </c:pt>
                <c:pt idx="627">
                  <c:v>1399-09-08</c:v>
                </c:pt>
                <c:pt idx="628">
                  <c:v>1399-09-09</c:v>
                </c:pt>
                <c:pt idx="629">
                  <c:v>1399-09-10</c:v>
                </c:pt>
                <c:pt idx="630">
                  <c:v>1399-09-11</c:v>
                </c:pt>
                <c:pt idx="631">
                  <c:v>1399-09-12</c:v>
                </c:pt>
                <c:pt idx="632">
                  <c:v>1399-09-15</c:v>
                </c:pt>
                <c:pt idx="633">
                  <c:v>1399-09-16</c:v>
                </c:pt>
                <c:pt idx="634">
                  <c:v>1399-09-17</c:v>
                </c:pt>
                <c:pt idx="635">
                  <c:v>1399-09-18</c:v>
                </c:pt>
                <c:pt idx="636">
                  <c:v>1399-09-19</c:v>
                </c:pt>
                <c:pt idx="637">
                  <c:v>1399-09-22</c:v>
                </c:pt>
                <c:pt idx="638">
                  <c:v>1399-09-23</c:v>
                </c:pt>
                <c:pt idx="639">
                  <c:v>1399-09-24</c:v>
                </c:pt>
                <c:pt idx="640">
                  <c:v>1399-09-25</c:v>
                </c:pt>
                <c:pt idx="641">
                  <c:v>1399-09-26</c:v>
                </c:pt>
                <c:pt idx="642">
                  <c:v>1399-09-29</c:v>
                </c:pt>
                <c:pt idx="643">
                  <c:v>1399-09-30</c:v>
                </c:pt>
                <c:pt idx="644">
                  <c:v>1399-10-01</c:v>
                </c:pt>
                <c:pt idx="645">
                  <c:v>1399-10-02</c:v>
                </c:pt>
                <c:pt idx="646">
                  <c:v>1399-10-03</c:v>
                </c:pt>
                <c:pt idx="647">
                  <c:v>1399-10-06</c:v>
                </c:pt>
                <c:pt idx="648">
                  <c:v>1399-10-07</c:v>
                </c:pt>
                <c:pt idx="649">
                  <c:v>1399-10-08</c:v>
                </c:pt>
                <c:pt idx="650">
                  <c:v>1399-10-09</c:v>
                </c:pt>
                <c:pt idx="651">
                  <c:v>1399-10-10</c:v>
                </c:pt>
                <c:pt idx="652">
                  <c:v>1399-10-13</c:v>
                </c:pt>
                <c:pt idx="653">
                  <c:v>1399-10-14</c:v>
                </c:pt>
                <c:pt idx="654">
                  <c:v>1399-10-15</c:v>
                </c:pt>
                <c:pt idx="655">
                  <c:v>1399-10-16</c:v>
                </c:pt>
                <c:pt idx="656">
                  <c:v>1399-10-17</c:v>
                </c:pt>
                <c:pt idx="657">
                  <c:v>1399-10-20</c:v>
                </c:pt>
                <c:pt idx="658">
                  <c:v>1399-10-21</c:v>
                </c:pt>
                <c:pt idx="659">
                  <c:v>1399-10-22</c:v>
                </c:pt>
                <c:pt idx="660">
                  <c:v>1399-10-23</c:v>
                </c:pt>
                <c:pt idx="661">
                  <c:v>1399-10-24</c:v>
                </c:pt>
                <c:pt idx="662">
                  <c:v>1399-10-27</c:v>
                </c:pt>
                <c:pt idx="663">
                  <c:v>1399-10-29</c:v>
                </c:pt>
                <c:pt idx="664">
                  <c:v>1399-10-30</c:v>
                </c:pt>
                <c:pt idx="665">
                  <c:v>1399-11-01</c:v>
                </c:pt>
                <c:pt idx="666">
                  <c:v>1399-11-04</c:v>
                </c:pt>
                <c:pt idx="667">
                  <c:v>1399-11-05</c:v>
                </c:pt>
                <c:pt idx="668">
                  <c:v>1399-11-06</c:v>
                </c:pt>
                <c:pt idx="669">
                  <c:v>1399-11-07</c:v>
                </c:pt>
                <c:pt idx="670">
                  <c:v>1399-11-08</c:v>
                </c:pt>
                <c:pt idx="671">
                  <c:v>1399-11-11</c:v>
                </c:pt>
                <c:pt idx="672">
                  <c:v>1399-11-12</c:v>
                </c:pt>
                <c:pt idx="673">
                  <c:v>1399-11-13</c:v>
                </c:pt>
                <c:pt idx="674">
                  <c:v>1399-11-14</c:v>
                </c:pt>
                <c:pt idx="675">
                  <c:v>1399-11-15</c:v>
                </c:pt>
                <c:pt idx="676">
                  <c:v>1399-11-18</c:v>
                </c:pt>
                <c:pt idx="677">
                  <c:v>1399-11-19</c:v>
                </c:pt>
                <c:pt idx="678">
                  <c:v>1399-11-20</c:v>
                </c:pt>
                <c:pt idx="679">
                  <c:v>1399-11-21</c:v>
                </c:pt>
                <c:pt idx="680">
                  <c:v>1399-11-25</c:v>
                </c:pt>
                <c:pt idx="681">
                  <c:v>1399-11-26</c:v>
                </c:pt>
                <c:pt idx="682">
                  <c:v>1399-11-27</c:v>
                </c:pt>
                <c:pt idx="683">
                  <c:v>1399-11-28</c:v>
                </c:pt>
                <c:pt idx="684">
                  <c:v>1399-11-29</c:v>
                </c:pt>
                <c:pt idx="685">
                  <c:v>1399-12-02</c:v>
                </c:pt>
                <c:pt idx="686">
                  <c:v>1399-12-03</c:v>
                </c:pt>
                <c:pt idx="687">
                  <c:v>1399-12-04</c:v>
                </c:pt>
                <c:pt idx="688">
                  <c:v>1399-12-05</c:v>
                </c:pt>
                <c:pt idx="689">
                  <c:v>1399-12-06</c:v>
                </c:pt>
                <c:pt idx="690">
                  <c:v>1399-12-09</c:v>
                </c:pt>
                <c:pt idx="691">
                  <c:v>1399-12-10</c:v>
                </c:pt>
                <c:pt idx="692">
                  <c:v>1399-12-11</c:v>
                </c:pt>
                <c:pt idx="693">
                  <c:v>1399-12-12</c:v>
                </c:pt>
                <c:pt idx="694">
                  <c:v>1399-12-13</c:v>
                </c:pt>
                <c:pt idx="695">
                  <c:v>1399-12-16</c:v>
                </c:pt>
                <c:pt idx="696">
                  <c:v>1399-12-17</c:v>
                </c:pt>
                <c:pt idx="697">
                  <c:v>1399-12-18</c:v>
                </c:pt>
                <c:pt idx="698">
                  <c:v>1399-12-19</c:v>
                </c:pt>
                <c:pt idx="699">
                  <c:v>1399-12-20</c:v>
                </c:pt>
                <c:pt idx="700">
                  <c:v>1399-12-23</c:v>
                </c:pt>
                <c:pt idx="701">
                  <c:v>1399-12-24</c:v>
                </c:pt>
                <c:pt idx="702">
                  <c:v>1399-12-25</c:v>
                </c:pt>
                <c:pt idx="703">
                  <c:v>1399-12-26</c:v>
                </c:pt>
                <c:pt idx="704">
                  <c:v>1399-12-27</c:v>
                </c:pt>
                <c:pt idx="705">
                  <c:v>1400-01-07</c:v>
                </c:pt>
                <c:pt idx="706">
                  <c:v>1400-01-08</c:v>
                </c:pt>
                <c:pt idx="707">
                  <c:v>1400-01-10</c:v>
                </c:pt>
                <c:pt idx="708">
                  <c:v>1400-01-11</c:v>
                </c:pt>
                <c:pt idx="709">
                  <c:v>1400-01-14</c:v>
                </c:pt>
                <c:pt idx="710">
                  <c:v>1400-01-15</c:v>
                </c:pt>
                <c:pt idx="711">
                  <c:v>1400-01-16</c:v>
                </c:pt>
                <c:pt idx="712">
                  <c:v>1400-01-17</c:v>
                </c:pt>
                <c:pt idx="713">
                  <c:v>1400-01-18</c:v>
                </c:pt>
                <c:pt idx="714">
                  <c:v>1400-01-21</c:v>
                </c:pt>
                <c:pt idx="715">
                  <c:v>1400-01-22</c:v>
                </c:pt>
                <c:pt idx="716">
                  <c:v>1400-01-23</c:v>
                </c:pt>
                <c:pt idx="717">
                  <c:v>1400-01-24</c:v>
                </c:pt>
                <c:pt idx="718">
                  <c:v>1400-01-25</c:v>
                </c:pt>
                <c:pt idx="719">
                  <c:v>1400-01-28</c:v>
                </c:pt>
                <c:pt idx="720">
                  <c:v>1400-01-29</c:v>
                </c:pt>
                <c:pt idx="721">
                  <c:v>1400-01-30</c:v>
                </c:pt>
                <c:pt idx="722">
                  <c:v>1400-01-31</c:v>
                </c:pt>
                <c:pt idx="723">
                  <c:v>1400-02-01</c:v>
                </c:pt>
                <c:pt idx="724">
                  <c:v>1400-02-04</c:v>
                </c:pt>
                <c:pt idx="725">
                  <c:v>1400-02-05</c:v>
                </c:pt>
                <c:pt idx="726">
                  <c:v>1400-02-06</c:v>
                </c:pt>
                <c:pt idx="727">
                  <c:v>1400-02-07</c:v>
                </c:pt>
                <c:pt idx="728">
                  <c:v>1400-02-08</c:v>
                </c:pt>
                <c:pt idx="729">
                  <c:v>1400-02-11</c:v>
                </c:pt>
                <c:pt idx="730">
                  <c:v>1400-02-12</c:v>
                </c:pt>
                <c:pt idx="731">
                  <c:v>1400-02-13</c:v>
                </c:pt>
                <c:pt idx="732">
                  <c:v>1400-02-15</c:v>
                </c:pt>
                <c:pt idx="733">
                  <c:v>1400-02-18</c:v>
                </c:pt>
                <c:pt idx="734">
                  <c:v>1400-02-19</c:v>
                </c:pt>
                <c:pt idx="735">
                  <c:v>1400-02-20</c:v>
                </c:pt>
                <c:pt idx="736">
                  <c:v>1400-02-21</c:v>
                </c:pt>
                <c:pt idx="737">
                  <c:v>1400-02-22</c:v>
                </c:pt>
                <c:pt idx="738">
                  <c:v>1400-02-25</c:v>
                </c:pt>
                <c:pt idx="739">
                  <c:v>1400-02-26</c:v>
                </c:pt>
                <c:pt idx="740">
                  <c:v>1400-02-27</c:v>
                </c:pt>
                <c:pt idx="741">
                  <c:v>1400-02-28</c:v>
                </c:pt>
                <c:pt idx="742">
                  <c:v>1400-02-29</c:v>
                </c:pt>
                <c:pt idx="743">
                  <c:v>1400-03-01</c:v>
                </c:pt>
                <c:pt idx="744">
                  <c:v>1400-03-02</c:v>
                </c:pt>
                <c:pt idx="745">
                  <c:v>1400-03-03</c:v>
                </c:pt>
                <c:pt idx="746">
                  <c:v>1400-03-04</c:v>
                </c:pt>
                <c:pt idx="747">
                  <c:v>1400-03-05</c:v>
                </c:pt>
                <c:pt idx="748">
                  <c:v>1400-03-08</c:v>
                </c:pt>
                <c:pt idx="749">
                  <c:v>1400-03-09</c:v>
                </c:pt>
                <c:pt idx="750">
                  <c:v>1400-03-10</c:v>
                </c:pt>
                <c:pt idx="751">
                  <c:v>1400-03-11</c:v>
                </c:pt>
                <c:pt idx="752">
                  <c:v>1400-03-12</c:v>
                </c:pt>
                <c:pt idx="753">
                  <c:v>1400-03-17</c:v>
                </c:pt>
                <c:pt idx="754">
                  <c:v>1400-03-18</c:v>
                </c:pt>
                <c:pt idx="755">
                  <c:v>1400-03-19</c:v>
                </c:pt>
                <c:pt idx="756">
                  <c:v>1400-03-22</c:v>
                </c:pt>
                <c:pt idx="757">
                  <c:v>1400-03-23</c:v>
                </c:pt>
                <c:pt idx="758">
                  <c:v>1400-03-24</c:v>
                </c:pt>
                <c:pt idx="759">
                  <c:v>1400-03-25</c:v>
                </c:pt>
                <c:pt idx="760">
                  <c:v>1400-03-26</c:v>
                </c:pt>
                <c:pt idx="761">
                  <c:v>1400-03-29</c:v>
                </c:pt>
                <c:pt idx="762">
                  <c:v>1400-03-30</c:v>
                </c:pt>
                <c:pt idx="763">
                  <c:v>1400-03-31</c:v>
                </c:pt>
                <c:pt idx="764">
                  <c:v>1400-04-01</c:v>
                </c:pt>
                <c:pt idx="765">
                  <c:v>1400-04-02</c:v>
                </c:pt>
                <c:pt idx="766">
                  <c:v>1400-04-05</c:v>
                </c:pt>
                <c:pt idx="767">
                  <c:v>1400-04-06</c:v>
                </c:pt>
                <c:pt idx="768">
                  <c:v>1400-04-07</c:v>
                </c:pt>
                <c:pt idx="769">
                  <c:v>1400-04-08</c:v>
                </c:pt>
                <c:pt idx="770">
                  <c:v>1400-04-09</c:v>
                </c:pt>
                <c:pt idx="771">
                  <c:v>1400-04-12</c:v>
                </c:pt>
                <c:pt idx="772">
                  <c:v>1400-04-13</c:v>
                </c:pt>
                <c:pt idx="773">
                  <c:v>1400-04-14</c:v>
                </c:pt>
                <c:pt idx="774">
                  <c:v>1400-04-15</c:v>
                </c:pt>
                <c:pt idx="775">
                  <c:v>1400-04-16</c:v>
                </c:pt>
                <c:pt idx="776">
                  <c:v>1400-04-19</c:v>
                </c:pt>
                <c:pt idx="777">
                  <c:v>1400-04-20</c:v>
                </c:pt>
                <c:pt idx="778">
                  <c:v>1400-04-21</c:v>
                </c:pt>
                <c:pt idx="779">
                  <c:v>1400-04-22</c:v>
                </c:pt>
                <c:pt idx="780">
                  <c:v>1400-04-23</c:v>
                </c:pt>
                <c:pt idx="781">
                  <c:v>1400-04-26</c:v>
                </c:pt>
                <c:pt idx="782">
                  <c:v>1400-04-27</c:v>
                </c:pt>
                <c:pt idx="783">
                  <c:v>1400-04-28</c:v>
                </c:pt>
                <c:pt idx="784">
                  <c:v>1400-05-04</c:v>
                </c:pt>
                <c:pt idx="785">
                  <c:v>1400-05-05</c:v>
                </c:pt>
                <c:pt idx="786">
                  <c:v>1400-05-06</c:v>
                </c:pt>
                <c:pt idx="787">
                  <c:v>1400-05-09</c:v>
                </c:pt>
                <c:pt idx="788">
                  <c:v>1400-05-10</c:v>
                </c:pt>
                <c:pt idx="789">
                  <c:v>1400-05-11</c:v>
                </c:pt>
                <c:pt idx="790">
                  <c:v>1400-05-12</c:v>
                </c:pt>
                <c:pt idx="791">
                  <c:v>1400-05-13</c:v>
                </c:pt>
                <c:pt idx="792">
                  <c:v>1400-05-16</c:v>
                </c:pt>
                <c:pt idx="793">
                  <c:v>1400-05-17</c:v>
                </c:pt>
                <c:pt idx="794">
                  <c:v>1400-05-18</c:v>
                </c:pt>
                <c:pt idx="795">
                  <c:v>1400-05-19</c:v>
                </c:pt>
                <c:pt idx="796">
                  <c:v>1400-05-20</c:v>
                </c:pt>
                <c:pt idx="797">
                  <c:v>1400-05-23</c:v>
                </c:pt>
                <c:pt idx="798">
                  <c:v>1400-05-24</c:v>
                </c:pt>
                <c:pt idx="799">
                  <c:v>1400-05-31</c:v>
                </c:pt>
                <c:pt idx="800">
                  <c:v>1400-06-01</c:v>
                </c:pt>
                <c:pt idx="801">
                  <c:v>1400-06-02</c:v>
                </c:pt>
                <c:pt idx="802">
                  <c:v>1400-06-03</c:v>
                </c:pt>
                <c:pt idx="803">
                  <c:v>1400-06-06</c:v>
                </c:pt>
                <c:pt idx="804">
                  <c:v>1400-06-07</c:v>
                </c:pt>
                <c:pt idx="805">
                  <c:v>1400-06-08</c:v>
                </c:pt>
                <c:pt idx="806">
                  <c:v>1400-06-09</c:v>
                </c:pt>
                <c:pt idx="807">
                  <c:v>1400-06-10</c:v>
                </c:pt>
                <c:pt idx="808">
                  <c:v>1400-06-13</c:v>
                </c:pt>
                <c:pt idx="809">
                  <c:v>1400-06-14</c:v>
                </c:pt>
                <c:pt idx="810">
                  <c:v>1400-06-15</c:v>
                </c:pt>
                <c:pt idx="811">
                  <c:v>1400-06-16</c:v>
                </c:pt>
                <c:pt idx="812">
                  <c:v>1400-06-17</c:v>
                </c:pt>
                <c:pt idx="813">
                  <c:v>1400-06-20</c:v>
                </c:pt>
                <c:pt idx="814">
                  <c:v>1400-06-21</c:v>
                </c:pt>
                <c:pt idx="815">
                  <c:v>1400-06-22</c:v>
                </c:pt>
                <c:pt idx="816">
                  <c:v>1400-06-23</c:v>
                </c:pt>
                <c:pt idx="817">
                  <c:v>1400-06-24</c:v>
                </c:pt>
                <c:pt idx="818">
                  <c:v>1400-06-27</c:v>
                </c:pt>
                <c:pt idx="819">
                  <c:v>1400-06-28</c:v>
                </c:pt>
                <c:pt idx="820">
                  <c:v>1400-06-29</c:v>
                </c:pt>
                <c:pt idx="821">
                  <c:v>1400-06-30</c:v>
                </c:pt>
                <c:pt idx="822">
                  <c:v>1400-06-31</c:v>
                </c:pt>
                <c:pt idx="823">
                  <c:v>1400-07-03</c:v>
                </c:pt>
                <c:pt idx="824">
                  <c:v>1400-07-04</c:v>
                </c:pt>
                <c:pt idx="825">
                  <c:v>1400-07-06</c:v>
                </c:pt>
                <c:pt idx="826">
                  <c:v>1400-07-07</c:v>
                </c:pt>
                <c:pt idx="827">
                  <c:v>1400-07-10</c:v>
                </c:pt>
                <c:pt idx="828">
                  <c:v>1400-07-11</c:v>
                </c:pt>
                <c:pt idx="829">
                  <c:v>1400-07-12</c:v>
                </c:pt>
                <c:pt idx="830">
                  <c:v>1400-07-14</c:v>
                </c:pt>
                <c:pt idx="831">
                  <c:v>1400-07-17</c:v>
                </c:pt>
                <c:pt idx="832">
                  <c:v>1400-07-18</c:v>
                </c:pt>
                <c:pt idx="833">
                  <c:v>1400-07-19</c:v>
                </c:pt>
                <c:pt idx="834">
                  <c:v>1400-07-20</c:v>
                </c:pt>
                <c:pt idx="835">
                  <c:v>1400-07-21</c:v>
                </c:pt>
                <c:pt idx="836">
                  <c:v>1400-07-24</c:v>
                </c:pt>
                <c:pt idx="837">
                  <c:v>1400-07-25</c:v>
                </c:pt>
                <c:pt idx="838">
                  <c:v>1400-07-26</c:v>
                </c:pt>
                <c:pt idx="839">
                  <c:v>1400-07-27</c:v>
                </c:pt>
                <c:pt idx="840">
                  <c:v>1400-07-28</c:v>
                </c:pt>
                <c:pt idx="841">
                  <c:v>1400-08-01</c:v>
                </c:pt>
                <c:pt idx="842">
                  <c:v>1400-08-03</c:v>
                </c:pt>
                <c:pt idx="843">
                  <c:v>1400-08-04</c:v>
                </c:pt>
                <c:pt idx="844">
                  <c:v>1400-08-05</c:v>
                </c:pt>
                <c:pt idx="845">
                  <c:v>1400-08-08</c:v>
                </c:pt>
                <c:pt idx="846">
                  <c:v>1400-08-09</c:v>
                </c:pt>
                <c:pt idx="847">
                  <c:v>1400-08-10</c:v>
                </c:pt>
                <c:pt idx="848">
                  <c:v>1400-08-11</c:v>
                </c:pt>
                <c:pt idx="849">
                  <c:v>1400-08-12</c:v>
                </c:pt>
                <c:pt idx="850">
                  <c:v>1400-08-15</c:v>
                </c:pt>
                <c:pt idx="851">
                  <c:v>1400-08-16</c:v>
                </c:pt>
                <c:pt idx="852">
                  <c:v>1400-08-17</c:v>
                </c:pt>
                <c:pt idx="853">
                  <c:v>1400-08-18</c:v>
                </c:pt>
                <c:pt idx="854">
                  <c:v>1400-08-19</c:v>
                </c:pt>
                <c:pt idx="855">
                  <c:v>1400-08-22</c:v>
                </c:pt>
                <c:pt idx="856">
                  <c:v>1400-08-23</c:v>
                </c:pt>
                <c:pt idx="857">
                  <c:v>1400-08-24</c:v>
                </c:pt>
                <c:pt idx="858">
                  <c:v>1400-08-25</c:v>
                </c:pt>
                <c:pt idx="859">
                  <c:v>1400-08-26</c:v>
                </c:pt>
                <c:pt idx="860">
                  <c:v>1400-08-29</c:v>
                </c:pt>
                <c:pt idx="861">
                  <c:v>1400-08-30</c:v>
                </c:pt>
                <c:pt idx="862">
                  <c:v>1400-09-01</c:v>
                </c:pt>
                <c:pt idx="863">
                  <c:v>1400-09-02</c:v>
                </c:pt>
                <c:pt idx="864">
                  <c:v>1400-09-03</c:v>
                </c:pt>
                <c:pt idx="865">
                  <c:v>1400-09-06</c:v>
                </c:pt>
                <c:pt idx="866">
                  <c:v>1400-09-07</c:v>
                </c:pt>
                <c:pt idx="867">
                  <c:v>1400-09-08</c:v>
                </c:pt>
                <c:pt idx="868">
                  <c:v>1400-09-09</c:v>
                </c:pt>
                <c:pt idx="869">
                  <c:v>1400-09-10</c:v>
                </c:pt>
                <c:pt idx="870">
                  <c:v>1400-09-13</c:v>
                </c:pt>
                <c:pt idx="871">
                  <c:v>1400-09-14</c:v>
                </c:pt>
                <c:pt idx="872">
                  <c:v>1400-09-15</c:v>
                </c:pt>
                <c:pt idx="873">
                  <c:v>1400-09-16</c:v>
                </c:pt>
                <c:pt idx="874">
                  <c:v>1400-09-17</c:v>
                </c:pt>
                <c:pt idx="875">
                  <c:v>1400-09-20</c:v>
                </c:pt>
                <c:pt idx="876">
                  <c:v>1400-09-21</c:v>
                </c:pt>
                <c:pt idx="877">
                  <c:v>1400-09-22</c:v>
                </c:pt>
                <c:pt idx="878">
                  <c:v>1400-09-23</c:v>
                </c:pt>
                <c:pt idx="879">
                  <c:v>1400-09-24</c:v>
                </c:pt>
                <c:pt idx="880">
                  <c:v>1400-09-27</c:v>
                </c:pt>
                <c:pt idx="881">
                  <c:v>1400-09-28</c:v>
                </c:pt>
                <c:pt idx="882">
                  <c:v>1400-09-29</c:v>
                </c:pt>
                <c:pt idx="883">
                  <c:v>1400-09-30</c:v>
                </c:pt>
                <c:pt idx="884">
                  <c:v>1400-10-01</c:v>
                </c:pt>
                <c:pt idx="885">
                  <c:v>1400-10-04</c:v>
                </c:pt>
                <c:pt idx="886">
                  <c:v>1400-10-05</c:v>
                </c:pt>
                <c:pt idx="887">
                  <c:v>1400-10-06</c:v>
                </c:pt>
                <c:pt idx="888">
                  <c:v>1400-10-07</c:v>
                </c:pt>
                <c:pt idx="889">
                  <c:v>1400-10-08</c:v>
                </c:pt>
                <c:pt idx="890">
                  <c:v>1400-10-11</c:v>
                </c:pt>
                <c:pt idx="891">
                  <c:v>1400-10-12</c:v>
                </c:pt>
                <c:pt idx="892">
                  <c:v>1400-10-13</c:v>
                </c:pt>
                <c:pt idx="893">
                  <c:v>1400-10-14</c:v>
                </c:pt>
                <c:pt idx="894">
                  <c:v>1400-10-15</c:v>
                </c:pt>
                <c:pt idx="895">
                  <c:v>1400-10-18</c:v>
                </c:pt>
                <c:pt idx="896">
                  <c:v>1400-10-25</c:v>
                </c:pt>
                <c:pt idx="897">
                  <c:v>1400-10-26</c:v>
                </c:pt>
                <c:pt idx="898">
                  <c:v>1400-10-27</c:v>
                </c:pt>
                <c:pt idx="899">
                  <c:v>1400-10-28</c:v>
                </c:pt>
                <c:pt idx="900">
                  <c:v>1400-10-29</c:v>
                </c:pt>
                <c:pt idx="901">
                  <c:v>1400-11-02</c:v>
                </c:pt>
                <c:pt idx="902">
                  <c:v>1400-11-03</c:v>
                </c:pt>
                <c:pt idx="903">
                  <c:v>1400-11-04</c:v>
                </c:pt>
                <c:pt idx="904">
                  <c:v>1400-11-05</c:v>
                </c:pt>
                <c:pt idx="905">
                  <c:v>1400-11-06</c:v>
                </c:pt>
                <c:pt idx="906">
                  <c:v>1400-11-09</c:v>
                </c:pt>
                <c:pt idx="907">
                  <c:v>1400-11-10</c:v>
                </c:pt>
                <c:pt idx="908">
                  <c:v>1400-11-11</c:v>
                </c:pt>
                <c:pt idx="909">
                  <c:v>1400-11-12</c:v>
                </c:pt>
                <c:pt idx="910">
                  <c:v>1400-11-13</c:v>
                </c:pt>
                <c:pt idx="911">
                  <c:v>1400-11-16</c:v>
                </c:pt>
                <c:pt idx="912">
                  <c:v>1400-11-17</c:v>
                </c:pt>
                <c:pt idx="913">
                  <c:v>1400-11-18</c:v>
                </c:pt>
                <c:pt idx="914">
                  <c:v>1400-11-19</c:v>
                </c:pt>
                <c:pt idx="915">
                  <c:v>1400-11-20</c:v>
                </c:pt>
                <c:pt idx="916">
                  <c:v>1400-11-23</c:v>
                </c:pt>
                <c:pt idx="917">
                  <c:v>1400-11-24</c:v>
                </c:pt>
                <c:pt idx="918">
                  <c:v>1400-11-25</c:v>
                </c:pt>
                <c:pt idx="919">
                  <c:v>1400-11-27</c:v>
                </c:pt>
                <c:pt idx="920">
                  <c:v>1400-11-30</c:v>
                </c:pt>
                <c:pt idx="921">
                  <c:v>1400-12-01</c:v>
                </c:pt>
                <c:pt idx="922">
                  <c:v>1400-12-02</c:v>
                </c:pt>
                <c:pt idx="923">
                  <c:v>1400-12-03</c:v>
                </c:pt>
                <c:pt idx="924">
                  <c:v>1400-12-04</c:v>
                </c:pt>
                <c:pt idx="925">
                  <c:v>1400-12-07</c:v>
                </c:pt>
                <c:pt idx="926">
                  <c:v>1400-12-08</c:v>
                </c:pt>
                <c:pt idx="927">
                  <c:v>1400-12-09</c:v>
                </c:pt>
                <c:pt idx="928">
                  <c:v>1400-12-11</c:v>
                </c:pt>
                <c:pt idx="929">
                  <c:v>1400-12-14</c:v>
                </c:pt>
                <c:pt idx="930">
                  <c:v>1400-12-15</c:v>
                </c:pt>
                <c:pt idx="931">
                  <c:v>1400-12-16</c:v>
                </c:pt>
                <c:pt idx="932">
                  <c:v>1400-12-17</c:v>
                </c:pt>
                <c:pt idx="933">
                  <c:v>1400-12-18</c:v>
                </c:pt>
                <c:pt idx="934">
                  <c:v>1400-12-21</c:v>
                </c:pt>
                <c:pt idx="935">
                  <c:v>1400-12-22</c:v>
                </c:pt>
                <c:pt idx="936">
                  <c:v>1400-12-23</c:v>
                </c:pt>
                <c:pt idx="937">
                  <c:v>1400-12-24</c:v>
                </c:pt>
                <c:pt idx="938">
                  <c:v>1400-12-25</c:v>
                </c:pt>
                <c:pt idx="939">
                  <c:v>1400-12-28</c:v>
                </c:pt>
                <c:pt idx="940">
                  <c:v>1401-01-06</c:v>
                </c:pt>
                <c:pt idx="941">
                  <c:v>1401-01-07</c:v>
                </c:pt>
                <c:pt idx="942">
                  <c:v>1401-01-09</c:v>
                </c:pt>
                <c:pt idx="943">
                  <c:v>1401-01-10</c:v>
                </c:pt>
                <c:pt idx="944">
                  <c:v>1401-01-14</c:v>
                </c:pt>
                <c:pt idx="945">
                  <c:v>1401-01-15</c:v>
                </c:pt>
                <c:pt idx="946">
                  <c:v>1401-01-16</c:v>
                </c:pt>
                <c:pt idx="947">
                  <c:v>1401-01-17</c:v>
                </c:pt>
                <c:pt idx="948">
                  <c:v>1401-01-20</c:v>
                </c:pt>
                <c:pt idx="949">
                  <c:v>1401-01-21</c:v>
                </c:pt>
                <c:pt idx="950">
                  <c:v>1401-01-22</c:v>
                </c:pt>
                <c:pt idx="951">
                  <c:v>1401-01-23</c:v>
                </c:pt>
                <c:pt idx="952">
                  <c:v>1401-01-24</c:v>
                </c:pt>
                <c:pt idx="953">
                  <c:v>1401-01-27</c:v>
                </c:pt>
                <c:pt idx="954">
                  <c:v>1401-01-28</c:v>
                </c:pt>
                <c:pt idx="955">
                  <c:v>1401-01-29</c:v>
                </c:pt>
                <c:pt idx="956">
                  <c:v>1401-01-30</c:v>
                </c:pt>
                <c:pt idx="957">
                  <c:v>1401-01-31</c:v>
                </c:pt>
                <c:pt idx="958">
                  <c:v>1401-02-04</c:v>
                </c:pt>
                <c:pt idx="959">
                  <c:v>1401-02-05</c:v>
                </c:pt>
                <c:pt idx="960">
                  <c:v>1401-02-06</c:v>
                </c:pt>
                <c:pt idx="961">
                  <c:v>1401-02-07</c:v>
                </c:pt>
                <c:pt idx="962">
                  <c:v>1401-02-10</c:v>
                </c:pt>
                <c:pt idx="963">
                  <c:v>1401-02-12</c:v>
                </c:pt>
                <c:pt idx="964">
                  <c:v>1401-02-17</c:v>
                </c:pt>
                <c:pt idx="965">
                  <c:v>1401-02-18</c:v>
                </c:pt>
                <c:pt idx="966">
                  <c:v>1401-02-19</c:v>
                </c:pt>
                <c:pt idx="967">
                  <c:v>1401-02-20</c:v>
                </c:pt>
                <c:pt idx="968">
                  <c:v>1401-02-21</c:v>
                </c:pt>
                <c:pt idx="969">
                  <c:v>1401-02-24</c:v>
                </c:pt>
                <c:pt idx="970">
                  <c:v>1401-02-25</c:v>
                </c:pt>
                <c:pt idx="971">
                  <c:v>1401-02-26</c:v>
                </c:pt>
                <c:pt idx="972">
                  <c:v>1401-02-27</c:v>
                </c:pt>
                <c:pt idx="973">
                  <c:v>1401-02-28</c:v>
                </c:pt>
                <c:pt idx="974">
                  <c:v>1401-02-31</c:v>
                </c:pt>
                <c:pt idx="975">
                  <c:v>1401-03-01</c:v>
                </c:pt>
                <c:pt idx="976">
                  <c:v>1401-03-02</c:v>
                </c:pt>
                <c:pt idx="977">
                  <c:v>1401-03-03</c:v>
                </c:pt>
                <c:pt idx="978">
                  <c:v>1401-03-04</c:v>
                </c:pt>
                <c:pt idx="979">
                  <c:v>1401-03-07</c:v>
                </c:pt>
                <c:pt idx="980">
                  <c:v>1401-03-08</c:v>
                </c:pt>
                <c:pt idx="981">
                  <c:v>1401-03-09</c:v>
                </c:pt>
                <c:pt idx="982">
                  <c:v>1401-03-10</c:v>
                </c:pt>
                <c:pt idx="983">
                  <c:v>1401-03-11</c:v>
                </c:pt>
                <c:pt idx="984">
                  <c:v>1401-03-16</c:v>
                </c:pt>
                <c:pt idx="985">
                  <c:v>1401-03-17</c:v>
                </c:pt>
                <c:pt idx="986">
                  <c:v>1401-03-18</c:v>
                </c:pt>
                <c:pt idx="987">
                  <c:v>1401-03-21</c:v>
                </c:pt>
                <c:pt idx="988">
                  <c:v>1401-03-22</c:v>
                </c:pt>
                <c:pt idx="989">
                  <c:v>1401-03-23</c:v>
                </c:pt>
                <c:pt idx="990">
                  <c:v>1401-03-24</c:v>
                </c:pt>
                <c:pt idx="991">
                  <c:v>1401-03-25</c:v>
                </c:pt>
                <c:pt idx="992">
                  <c:v>1401-03-28</c:v>
                </c:pt>
                <c:pt idx="993">
                  <c:v>1401-03-29</c:v>
                </c:pt>
                <c:pt idx="994">
                  <c:v>1401-03-30</c:v>
                </c:pt>
                <c:pt idx="995">
                  <c:v>1401-03-31</c:v>
                </c:pt>
                <c:pt idx="996">
                  <c:v>1401-04-01</c:v>
                </c:pt>
                <c:pt idx="997">
                  <c:v>1401-04-04</c:v>
                </c:pt>
                <c:pt idx="998">
                  <c:v>1401-04-05</c:v>
                </c:pt>
                <c:pt idx="999">
                  <c:v>1401-04-06</c:v>
                </c:pt>
                <c:pt idx="1000">
                  <c:v>1401-04-07</c:v>
                </c:pt>
                <c:pt idx="1001">
                  <c:v>1401-04-08</c:v>
                </c:pt>
                <c:pt idx="1002">
                  <c:v>1401-04-11</c:v>
                </c:pt>
                <c:pt idx="1003">
                  <c:v>1401-04-12</c:v>
                </c:pt>
                <c:pt idx="1004">
                  <c:v>1401-04-13</c:v>
                </c:pt>
                <c:pt idx="1005">
                  <c:v>1401-04-14</c:v>
                </c:pt>
                <c:pt idx="1006">
                  <c:v>1401-04-15</c:v>
                </c:pt>
                <c:pt idx="1007">
                  <c:v>1401-04-18</c:v>
                </c:pt>
                <c:pt idx="1008">
                  <c:v>1401-04-20</c:v>
                </c:pt>
                <c:pt idx="1009">
                  <c:v>1401-04-21</c:v>
                </c:pt>
                <c:pt idx="1010">
                  <c:v>1401-04-22</c:v>
                </c:pt>
                <c:pt idx="1011">
                  <c:v>1401-04-25</c:v>
                </c:pt>
                <c:pt idx="1012">
                  <c:v>1401-04-26</c:v>
                </c:pt>
                <c:pt idx="1013">
                  <c:v>1401-04-28</c:v>
                </c:pt>
                <c:pt idx="1014">
                  <c:v>1401-04-29</c:v>
                </c:pt>
                <c:pt idx="1015">
                  <c:v>1401-05-01</c:v>
                </c:pt>
                <c:pt idx="1016">
                  <c:v>1401-05-02</c:v>
                </c:pt>
                <c:pt idx="1017">
                  <c:v>1401-05-03</c:v>
                </c:pt>
                <c:pt idx="1018">
                  <c:v>1401-05-04</c:v>
                </c:pt>
                <c:pt idx="1019">
                  <c:v>1401-05-05</c:v>
                </c:pt>
                <c:pt idx="1020">
                  <c:v>1401-05-08</c:v>
                </c:pt>
                <c:pt idx="1021">
                  <c:v>1401-05-09</c:v>
                </c:pt>
                <c:pt idx="1022">
                  <c:v>1401-05-10</c:v>
                </c:pt>
                <c:pt idx="1023">
                  <c:v>1401-05-11</c:v>
                </c:pt>
                <c:pt idx="1024">
                  <c:v>1401-05-12</c:v>
                </c:pt>
                <c:pt idx="1025">
                  <c:v>1401-05-15</c:v>
                </c:pt>
                <c:pt idx="1026">
                  <c:v>1401-05-18</c:v>
                </c:pt>
                <c:pt idx="1027">
                  <c:v>1401-05-19</c:v>
                </c:pt>
                <c:pt idx="1028">
                  <c:v>1401-05-22</c:v>
                </c:pt>
                <c:pt idx="1029">
                  <c:v>1401-05-23</c:v>
                </c:pt>
                <c:pt idx="1030">
                  <c:v>1401-05-24</c:v>
                </c:pt>
                <c:pt idx="1031">
                  <c:v>1401-05-25</c:v>
                </c:pt>
                <c:pt idx="1032">
                  <c:v>1401-05-26</c:v>
                </c:pt>
                <c:pt idx="1033">
                  <c:v>1401-05-29</c:v>
                </c:pt>
                <c:pt idx="1034">
                  <c:v>1401-05-30</c:v>
                </c:pt>
                <c:pt idx="1035">
                  <c:v>1401-05-31</c:v>
                </c:pt>
                <c:pt idx="1036">
                  <c:v>1401-06-01</c:v>
                </c:pt>
                <c:pt idx="1037">
                  <c:v>1401-06-02</c:v>
                </c:pt>
                <c:pt idx="1038">
                  <c:v>1401-06-05</c:v>
                </c:pt>
                <c:pt idx="1039">
                  <c:v>1401-06-06</c:v>
                </c:pt>
                <c:pt idx="1040">
                  <c:v>1401-06-07</c:v>
                </c:pt>
                <c:pt idx="1041">
                  <c:v>1401-06-08</c:v>
                </c:pt>
                <c:pt idx="1042">
                  <c:v>1401-06-09</c:v>
                </c:pt>
                <c:pt idx="1043">
                  <c:v>1401-06-12</c:v>
                </c:pt>
                <c:pt idx="1044">
                  <c:v>1401-06-13</c:v>
                </c:pt>
                <c:pt idx="1045">
                  <c:v>1401-06-14</c:v>
                </c:pt>
                <c:pt idx="1046">
                  <c:v>1401-06-15</c:v>
                </c:pt>
                <c:pt idx="1047">
                  <c:v>1401-06-16</c:v>
                </c:pt>
                <c:pt idx="1048">
                  <c:v>1401-06-19</c:v>
                </c:pt>
                <c:pt idx="1049">
                  <c:v>1401-06-20</c:v>
                </c:pt>
                <c:pt idx="1050">
                  <c:v>1401-06-21</c:v>
                </c:pt>
                <c:pt idx="1051">
                  <c:v>1401-06-22</c:v>
                </c:pt>
                <c:pt idx="1052">
                  <c:v>1401-06-23</c:v>
                </c:pt>
                <c:pt idx="1053">
                  <c:v>1401-06-27</c:v>
                </c:pt>
                <c:pt idx="1054">
                  <c:v>1401-06-28</c:v>
                </c:pt>
                <c:pt idx="1055">
                  <c:v>1401-06-29</c:v>
                </c:pt>
                <c:pt idx="1056">
                  <c:v>1401-06-30</c:v>
                </c:pt>
                <c:pt idx="1057">
                  <c:v>1401-07-02</c:v>
                </c:pt>
                <c:pt idx="1058">
                  <c:v>1401-07-04</c:v>
                </c:pt>
                <c:pt idx="1059">
                  <c:v>1401-07-06</c:v>
                </c:pt>
                <c:pt idx="1060">
                  <c:v>1401-07-09</c:v>
                </c:pt>
                <c:pt idx="1061">
                  <c:v>1401-07-10</c:v>
                </c:pt>
                <c:pt idx="1062">
                  <c:v>1401-07-11</c:v>
                </c:pt>
                <c:pt idx="1063">
                  <c:v>1401-07-12</c:v>
                </c:pt>
                <c:pt idx="1064">
                  <c:v>1401-07-16</c:v>
                </c:pt>
                <c:pt idx="1065">
                  <c:v>1401-07-17</c:v>
                </c:pt>
                <c:pt idx="1066">
                  <c:v>1401-07-18</c:v>
                </c:pt>
                <c:pt idx="1067">
                  <c:v>1401-07-19</c:v>
                </c:pt>
                <c:pt idx="1068">
                  <c:v>1401-07-20</c:v>
                </c:pt>
                <c:pt idx="1069">
                  <c:v>1401-07-23</c:v>
                </c:pt>
                <c:pt idx="1070">
                  <c:v>1401-07-24</c:v>
                </c:pt>
                <c:pt idx="1071">
                  <c:v>1401-07-25</c:v>
                </c:pt>
                <c:pt idx="1072">
                  <c:v>1401-07-26</c:v>
                </c:pt>
                <c:pt idx="1073">
                  <c:v>1401-07-27</c:v>
                </c:pt>
                <c:pt idx="1074">
                  <c:v>1401-07-30</c:v>
                </c:pt>
                <c:pt idx="1075">
                  <c:v>1401-08-01</c:v>
                </c:pt>
                <c:pt idx="1076">
                  <c:v>1401-08-02</c:v>
                </c:pt>
                <c:pt idx="1077">
                  <c:v>1401-08-03</c:v>
                </c:pt>
                <c:pt idx="1078">
                  <c:v>1401-08-04</c:v>
                </c:pt>
                <c:pt idx="1079">
                  <c:v>1401-08-07</c:v>
                </c:pt>
                <c:pt idx="1080">
                  <c:v>1401-08-08</c:v>
                </c:pt>
                <c:pt idx="1081">
                  <c:v>1401-08-09</c:v>
                </c:pt>
                <c:pt idx="1082">
                  <c:v>1401-08-10</c:v>
                </c:pt>
                <c:pt idx="1083">
                  <c:v>1401-08-11</c:v>
                </c:pt>
                <c:pt idx="1084">
                  <c:v>1401-08-14</c:v>
                </c:pt>
                <c:pt idx="1085">
                  <c:v>1401-08-15</c:v>
                </c:pt>
                <c:pt idx="1086">
                  <c:v>1401-08-16</c:v>
                </c:pt>
                <c:pt idx="1087">
                  <c:v>1401-08-17</c:v>
                </c:pt>
                <c:pt idx="1088">
                  <c:v>1401-08-18</c:v>
                </c:pt>
                <c:pt idx="1089">
                  <c:v>1401-08-21</c:v>
                </c:pt>
                <c:pt idx="1090">
                  <c:v>1401-08-22</c:v>
                </c:pt>
                <c:pt idx="1091">
                  <c:v>1401-08-23</c:v>
                </c:pt>
                <c:pt idx="1092">
                  <c:v>1401-08-24</c:v>
                </c:pt>
                <c:pt idx="1093">
                  <c:v>1401-08-25</c:v>
                </c:pt>
                <c:pt idx="1094">
                  <c:v>1401-08-28</c:v>
                </c:pt>
                <c:pt idx="1095">
                  <c:v>1401-08-29</c:v>
                </c:pt>
                <c:pt idx="1096">
                  <c:v>1401-08-30</c:v>
                </c:pt>
                <c:pt idx="1097">
                  <c:v>1401-09-01</c:v>
                </c:pt>
                <c:pt idx="1098">
                  <c:v>1401-09-02</c:v>
                </c:pt>
                <c:pt idx="1099">
                  <c:v>1401-09-05</c:v>
                </c:pt>
                <c:pt idx="1100">
                  <c:v>1401-09-06</c:v>
                </c:pt>
                <c:pt idx="1101">
                  <c:v>1401-09-07</c:v>
                </c:pt>
                <c:pt idx="1102">
                  <c:v>1401-09-08</c:v>
                </c:pt>
                <c:pt idx="1103">
                  <c:v>1401-09-09</c:v>
                </c:pt>
                <c:pt idx="1104">
                  <c:v>1401-09-12</c:v>
                </c:pt>
                <c:pt idx="1105">
                  <c:v>1401-09-13</c:v>
                </c:pt>
                <c:pt idx="1106">
                  <c:v>1401-09-14</c:v>
                </c:pt>
                <c:pt idx="1107">
                  <c:v>1401-09-15</c:v>
                </c:pt>
                <c:pt idx="1108">
                  <c:v>1401-09-16</c:v>
                </c:pt>
                <c:pt idx="1109">
                  <c:v>1401-09-19</c:v>
                </c:pt>
                <c:pt idx="1110">
                  <c:v>1401-09-20</c:v>
                </c:pt>
                <c:pt idx="1111">
                  <c:v>1401-09-21</c:v>
                </c:pt>
                <c:pt idx="1112">
                  <c:v>1401-09-22</c:v>
                </c:pt>
                <c:pt idx="1113">
                  <c:v>1401-09-23</c:v>
                </c:pt>
                <c:pt idx="1114">
                  <c:v>1401-09-26</c:v>
                </c:pt>
                <c:pt idx="1115">
                  <c:v>1401-09-27</c:v>
                </c:pt>
                <c:pt idx="1116">
                  <c:v>1401-09-29</c:v>
                </c:pt>
                <c:pt idx="1117">
                  <c:v>1401-09-30</c:v>
                </c:pt>
                <c:pt idx="1118">
                  <c:v>1401-10-03</c:v>
                </c:pt>
                <c:pt idx="1119">
                  <c:v>1401-10-04</c:v>
                </c:pt>
                <c:pt idx="1120">
                  <c:v>1401-10-05</c:v>
                </c:pt>
                <c:pt idx="1121">
                  <c:v>1401-10-07</c:v>
                </c:pt>
                <c:pt idx="1122">
                  <c:v>1401-10-10</c:v>
                </c:pt>
                <c:pt idx="1123">
                  <c:v>1401-10-11</c:v>
                </c:pt>
                <c:pt idx="1124">
                  <c:v>1401-10-12</c:v>
                </c:pt>
                <c:pt idx="1125">
                  <c:v>1401-10-13</c:v>
                </c:pt>
                <c:pt idx="1126">
                  <c:v>1401-10-14</c:v>
                </c:pt>
                <c:pt idx="1127">
                  <c:v>1401-10-17</c:v>
                </c:pt>
                <c:pt idx="1128">
                  <c:v>1401-10-18</c:v>
                </c:pt>
                <c:pt idx="1129">
                  <c:v>1401-10-19</c:v>
                </c:pt>
                <c:pt idx="1130">
                  <c:v>1401-10-20</c:v>
                </c:pt>
                <c:pt idx="1131">
                  <c:v>1401-10-21</c:v>
                </c:pt>
                <c:pt idx="1132">
                  <c:v>1401-10-24</c:v>
                </c:pt>
                <c:pt idx="1133">
                  <c:v>1401-10-26</c:v>
                </c:pt>
                <c:pt idx="1134">
                  <c:v>1401-10-27</c:v>
                </c:pt>
                <c:pt idx="1135">
                  <c:v>1401-10-28</c:v>
                </c:pt>
                <c:pt idx="1136">
                  <c:v>1401-11-01</c:v>
                </c:pt>
                <c:pt idx="1137">
                  <c:v>1401-11-02</c:v>
                </c:pt>
                <c:pt idx="1138">
                  <c:v>1401-11-03</c:v>
                </c:pt>
                <c:pt idx="1139">
                  <c:v>1401-11-04</c:v>
                </c:pt>
                <c:pt idx="1140">
                  <c:v>1401-11-05</c:v>
                </c:pt>
                <c:pt idx="1141">
                  <c:v>1401-11-08</c:v>
                </c:pt>
                <c:pt idx="1142">
                  <c:v>1401-11-09</c:v>
                </c:pt>
                <c:pt idx="1143">
                  <c:v>1401-11-10</c:v>
                </c:pt>
                <c:pt idx="1144">
                  <c:v>1401-11-11</c:v>
                </c:pt>
                <c:pt idx="1145">
                  <c:v>1401-11-12</c:v>
                </c:pt>
                <c:pt idx="1146">
                  <c:v>1401-11-16</c:v>
                </c:pt>
                <c:pt idx="1147">
                  <c:v>1401-11-17</c:v>
                </c:pt>
                <c:pt idx="1148">
                  <c:v>1401-11-18</c:v>
                </c:pt>
                <c:pt idx="1149">
                  <c:v>1401-11-19</c:v>
                </c:pt>
                <c:pt idx="1150">
                  <c:v>1401-11-23</c:v>
                </c:pt>
                <c:pt idx="1151">
                  <c:v>1401-11-24</c:v>
                </c:pt>
                <c:pt idx="1152">
                  <c:v>1401-11-25</c:v>
                </c:pt>
                <c:pt idx="1153">
                  <c:v>1401-11-26</c:v>
                </c:pt>
                <c:pt idx="1154">
                  <c:v>1401-11-30</c:v>
                </c:pt>
                <c:pt idx="1155">
                  <c:v>1401-12-01</c:v>
                </c:pt>
                <c:pt idx="1156">
                  <c:v>1401-12-02</c:v>
                </c:pt>
                <c:pt idx="1157">
                  <c:v>1401-12-03</c:v>
                </c:pt>
                <c:pt idx="1158">
                  <c:v>1401-12-06</c:v>
                </c:pt>
                <c:pt idx="1159">
                  <c:v>1401-12-07</c:v>
                </c:pt>
                <c:pt idx="1160">
                  <c:v>1401-12-08</c:v>
                </c:pt>
                <c:pt idx="1161">
                  <c:v>1401-12-09</c:v>
                </c:pt>
                <c:pt idx="1162">
                  <c:v>1401-12-10</c:v>
                </c:pt>
                <c:pt idx="1163">
                  <c:v>1401-12-13</c:v>
                </c:pt>
                <c:pt idx="1164">
                  <c:v>1401-12-14</c:v>
                </c:pt>
                <c:pt idx="1165">
                  <c:v>1401-12-15</c:v>
                </c:pt>
                <c:pt idx="1166">
                  <c:v>1401-12-16</c:v>
                </c:pt>
                <c:pt idx="1167">
                  <c:v>1401-12-20</c:v>
                </c:pt>
                <c:pt idx="1168">
                  <c:v>1401-12-21</c:v>
                </c:pt>
                <c:pt idx="1169">
                  <c:v>1401-12-22</c:v>
                </c:pt>
                <c:pt idx="1170">
                  <c:v>1401-12-23</c:v>
                </c:pt>
                <c:pt idx="1171">
                  <c:v>1401-12-24</c:v>
                </c:pt>
                <c:pt idx="1172">
                  <c:v>1401-12-27</c:v>
                </c:pt>
                <c:pt idx="1173">
                  <c:v>1401-12-28</c:v>
                </c:pt>
                <c:pt idx="1174">
                  <c:v>1402-01-05</c:v>
                </c:pt>
                <c:pt idx="1175">
                  <c:v>1402-01-06</c:v>
                </c:pt>
                <c:pt idx="1176">
                  <c:v>1402-01-07</c:v>
                </c:pt>
                <c:pt idx="1177">
                  <c:v>1402-01-08</c:v>
                </c:pt>
                <c:pt idx="1178">
                  <c:v>1402-01-09</c:v>
                </c:pt>
                <c:pt idx="1179">
                  <c:v>1402-01-14</c:v>
                </c:pt>
                <c:pt idx="1180">
                  <c:v>1402-01-15</c:v>
                </c:pt>
                <c:pt idx="1181">
                  <c:v>1402-01-16</c:v>
                </c:pt>
                <c:pt idx="1182">
                  <c:v>1402-01-19</c:v>
                </c:pt>
                <c:pt idx="1183">
                  <c:v>1402-01-20</c:v>
                </c:pt>
                <c:pt idx="1184">
                  <c:v>1402-01-21</c:v>
                </c:pt>
                <c:pt idx="1185">
                  <c:v>1402-01-22</c:v>
                </c:pt>
                <c:pt idx="1186">
                  <c:v>1402-01-26</c:v>
                </c:pt>
                <c:pt idx="1187">
                  <c:v>1402-01-27</c:v>
                </c:pt>
                <c:pt idx="1188">
                  <c:v>1402-01-28</c:v>
                </c:pt>
                <c:pt idx="1189">
                  <c:v>1402-01-29</c:v>
                </c:pt>
                <c:pt idx="1190">
                  <c:v>1402-01-30</c:v>
                </c:pt>
                <c:pt idx="1191">
                  <c:v>1402-02-04</c:v>
                </c:pt>
                <c:pt idx="1192">
                  <c:v>1402-02-05</c:v>
                </c:pt>
                <c:pt idx="1193">
                  <c:v>1402-02-06</c:v>
                </c:pt>
                <c:pt idx="1194">
                  <c:v>1402-02-09</c:v>
                </c:pt>
                <c:pt idx="1195">
                  <c:v>1402-02-10</c:v>
                </c:pt>
                <c:pt idx="1196">
                  <c:v>1402-02-11</c:v>
                </c:pt>
                <c:pt idx="1197">
                  <c:v>1402-02-12</c:v>
                </c:pt>
                <c:pt idx="1198">
                  <c:v>1402-02-13</c:v>
                </c:pt>
                <c:pt idx="1199">
                  <c:v>1402-02-16</c:v>
                </c:pt>
                <c:pt idx="1200">
                  <c:v>1402-02-17</c:v>
                </c:pt>
                <c:pt idx="1201">
                  <c:v>1402-02-18</c:v>
                </c:pt>
                <c:pt idx="1202">
                  <c:v>1402-02-19</c:v>
                </c:pt>
                <c:pt idx="1203">
                  <c:v>1402-02-20</c:v>
                </c:pt>
                <c:pt idx="1204">
                  <c:v>1402-02-23</c:v>
                </c:pt>
                <c:pt idx="1205">
                  <c:v>1402-02-24</c:v>
                </c:pt>
                <c:pt idx="1206">
                  <c:v>1402-02-25</c:v>
                </c:pt>
                <c:pt idx="1207">
                  <c:v>1402-02-27</c:v>
                </c:pt>
                <c:pt idx="1208">
                  <c:v>1402-02-30</c:v>
                </c:pt>
                <c:pt idx="1209">
                  <c:v>1402-02-31</c:v>
                </c:pt>
                <c:pt idx="1210">
                  <c:v>1402-03-01</c:v>
                </c:pt>
                <c:pt idx="1211">
                  <c:v>1402-03-02</c:v>
                </c:pt>
                <c:pt idx="1212">
                  <c:v>1402-03-03</c:v>
                </c:pt>
                <c:pt idx="1213">
                  <c:v>1402-03-06</c:v>
                </c:pt>
                <c:pt idx="1214">
                  <c:v>1402-03-07</c:v>
                </c:pt>
                <c:pt idx="1215">
                  <c:v>1402-03-08</c:v>
                </c:pt>
                <c:pt idx="1216">
                  <c:v>1402-03-09</c:v>
                </c:pt>
                <c:pt idx="1217">
                  <c:v>1402-03-10</c:v>
                </c:pt>
                <c:pt idx="1218">
                  <c:v>1402-03-13</c:v>
                </c:pt>
                <c:pt idx="1219">
                  <c:v>1402-03-16</c:v>
                </c:pt>
                <c:pt idx="1220">
                  <c:v>1402-03-17</c:v>
                </c:pt>
                <c:pt idx="1221">
                  <c:v>1402-03-20</c:v>
                </c:pt>
                <c:pt idx="1222">
                  <c:v>1402-03-21</c:v>
                </c:pt>
                <c:pt idx="1223">
                  <c:v>1402-03-22</c:v>
                </c:pt>
                <c:pt idx="1224">
                  <c:v>1402-03-23</c:v>
                </c:pt>
                <c:pt idx="1225">
                  <c:v>1402-03-24</c:v>
                </c:pt>
                <c:pt idx="1226">
                  <c:v>1402-03-27</c:v>
                </c:pt>
                <c:pt idx="1227">
                  <c:v>1402-03-28</c:v>
                </c:pt>
                <c:pt idx="1228">
                  <c:v>1402-03-29</c:v>
                </c:pt>
                <c:pt idx="1229">
                  <c:v>1402-03-30</c:v>
                </c:pt>
                <c:pt idx="1230">
                  <c:v>1402-03-31</c:v>
                </c:pt>
                <c:pt idx="1231">
                  <c:v>1402-04-03</c:v>
                </c:pt>
                <c:pt idx="1232">
                  <c:v>1402-04-04</c:v>
                </c:pt>
                <c:pt idx="1233">
                  <c:v>1402-04-05</c:v>
                </c:pt>
                <c:pt idx="1234">
                  <c:v>1402-04-06</c:v>
                </c:pt>
                <c:pt idx="1235">
                  <c:v>1402-04-07</c:v>
                </c:pt>
                <c:pt idx="1236">
                  <c:v>1402-04-10</c:v>
                </c:pt>
                <c:pt idx="1237">
                  <c:v>1402-04-11</c:v>
                </c:pt>
                <c:pt idx="1238">
                  <c:v>1402-04-12</c:v>
                </c:pt>
                <c:pt idx="1239">
                  <c:v>1402-04-13</c:v>
                </c:pt>
                <c:pt idx="1240">
                  <c:v>1402-04-14</c:v>
                </c:pt>
                <c:pt idx="1241">
                  <c:v>1402-04-17</c:v>
                </c:pt>
                <c:pt idx="1242">
                  <c:v>1402-04-18</c:v>
                </c:pt>
                <c:pt idx="1243">
                  <c:v>1402-04-19</c:v>
                </c:pt>
                <c:pt idx="1244">
                  <c:v>1402-04-20</c:v>
                </c:pt>
                <c:pt idx="1245">
                  <c:v>1402-04-21</c:v>
                </c:pt>
                <c:pt idx="1246">
                  <c:v>1402-04-24</c:v>
                </c:pt>
                <c:pt idx="1247">
                  <c:v>1402-04-25</c:v>
                </c:pt>
                <c:pt idx="1248">
                  <c:v>1402-04-26</c:v>
                </c:pt>
                <c:pt idx="1249">
                  <c:v>1402-04-27</c:v>
                </c:pt>
                <c:pt idx="1250">
                  <c:v>1402-04-28</c:v>
                </c:pt>
                <c:pt idx="1251">
                  <c:v>1402-04-31</c:v>
                </c:pt>
                <c:pt idx="1252">
                  <c:v>1402-05-01</c:v>
                </c:pt>
                <c:pt idx="1253">
                  <c:v>1402-05-02</c:v>
                </c:pt>
                <c:pt idx="1254">
                  <c:v>1402-05-03</c:v>
                </c:pt>
                <c:pt idx="1255">
                  <c:v>1402-05-04</c:v>
                </c:pt>
                <c:pt idx="1256">
                  <c:v>1402-05-07</c:v>
                </c:pt>
                <c:pt idx="1257">
                  <c:v>1402-05-08</c:v>
                </c:pt>
                <c:pt idx="1258">
                  <c:v>1402-05-09</c:v>
                </c:pt>
                <c:pt idx="1259">
                  <c:v>1402-05-10</c:v>
                </c:pt>
                <c:pt idx="1260">
                  <c:v>1402-05-14</c:v>
                </c:pt>
                <c:pt idx="1261">
                  <c:v>1402-05-15</c:v>
                </c:pt>
                <c:pt idx="1262">
                  <c:v>1402-05-16</c:v>
                </c:pt>
                <c:pt idx="1263">
                  <c:v>1402-05-17</c:v>
                </c:pt>
                <c:pt idx="1264">
                  <c:v>1402-05-18</c:v>
                </c:pt>
                <c:pt idx="1265">
                  <c:v>1402-05-21</c:v>
                </c:pt>
                <c:pt idx="1266">
                  <c:v>1402-05-22</c:v>
                </c:pt>
                <c:pt idx="1267">
                  <c:v>1402-05-23</c:v>
                </c:pt>
                <c:pt idx="1268">
                  <c:v>1402-05-24</c:v>
                </c:pt>
                <c:pt idx="1269">
                  <c:v>1402-05-25</c:v>
                </c:pt>
                <c:pt idx="1270">
                  <c:v>1402-05-28</c:v>
                </c:pt>
                <c:pt idx="1271">
                  <c:v>1402-05-29</c:v>
                </c:pt>
                <c:pt idx="1272">
                  <c:v>1402-05-30</c:v>
                </c:pt>
                <c:pt idx="1273">
                  <c:v>1402-05-31</c:v>
                </c:pt>
                <c:pt idx="1274">
                  <c:v>1402-06-01</c:v>
                </c:pt>
                <c:pt idx="1275">
                  <c:v>1402-06-04</c:v>
                </c:pt>
                <c:pt idx="1276">
                  <c:v>1402-06-05</c:v>
                </c:pt>
                <c:pt idx="1277">
                  <c:v>1402-06-06</c:v>
                </c:pt>
                <c:pt idx="1278">
                  <c:v>1402-06-07</c:v>
                </c:pt>
                <c:pt idx="1279">
                  <c:v>1402-06-08</c:v>
                </c:pt>
                <c:pt idx="1280">
                  <c:v>1402-06-11</c:v>
                </c:pt>
                <c:pt idx="1281">
                  <c:v>1402-06-12</c:v>
                </c:pt>
                <c:pt idx="1282">
                  <c:v>1402-06-13</c:v>
                </c:pt>
                <c:pt idx="1283">
                  <c:v>1402-06-14</c:v>
                </c:pt>
                <c:pt idx="1284">
                  <c:v>1402-06-18</c:v>
                </c:pt>
                <c:pt idx="1285">
                  <c:v>1402-06-19</c:v>
                </c:pt>
                <c:pt idx="1286">
                  <c:v>1402-06-20</c:v>
                </c:pt>
                <c:pt idx="1287">
                  <c:v>1402-06-21</c:v>
                </c:pt>
                <c:pt idx="1288">
                  <c:v>1402-06-22</c:v>
                </c:pt>
                <c:pt idx="1289">
                  <c:v>1402-06-26</c:v>
                </c:pt>
                <c:pt idx="1290">
                  <c:v>1402-06-27</c:v>
                </c:pt>
                <c:pt idx="1291">
                  <c:v>1402-06-28</c:v>
                </c:pt>
                <c:pt idx="1292">
                  <c:v>1402-06-29</c:v>
                </c:pt>
                <c:pt idx="1293">
                  <c:v>1402-07-01</c:v>
                </c:pt>
                <c:pt idx="1294">
                  <c:v>1402-07-03</c:v>
                </c:pt>
                <c:pt idx="1295">
                  <c:v>1402-07-04</c:v>
                </c:pt>
                <c:pt idx="1296">
                  <c:v>1402-07-05</c:v>
                </c:pt>
                <c:pt idx="1297">
                  <c:v>1402-07-08</c:v>
                </c:pt>
                <c:pt idx="1298">
                  <c:v>1402-07-09</c:v>
                </c:pt>
                <c:pt idx="1299">
                  <c:v>1402-07-10</c:v>
                </c:pt>
                <c:pt idx="1300">
                  <c:v>1402-07-12</c:v>
                </c:pt>
                <c:pt idx="1301">
                  <c:v>1402-07-15</c:v>
                </c:pt>
                <c:pt idx="1302">
                  <c:v>1402-07-16</c:v>
                </c:pt>
                <c:pt idx="1303">
                  <c:v>1402-07-17</c:v>
                </c:pt>
                <c:pt idx="1304">
                  <c:v>1402-07-18</c:v>
                </c:pt>
                <c:pt idx="1305">
                  <c:v>1402-07-19</c:v>
                </c:pt>
                <c:pt idx="1306">
                  <c:v>1402-07-22</c:v>
                </c:pt>
                <c:pt idx="1307">
                  <c:v>1402-07-23</c:v>
                </c:pt>
                <c:pt idx="1308">
                  <c:v>1402-07-24</c:v>
                </c:pt>
                <c:pt idx="1309">
                  <c:v>1402-07-25</c:v>
                </c:pt>
                <c:pt idx="1310">
                  <c:v>1402-07-26</c:v>
                </c:pt>
                <c:pt idx="1311">
                  <c:v>1402-07-29</c:v>
                </c:pt>
                <c:pt idx="1312">
                  <c:v>1402-07-30</c:v>
                </c:pt>
                <c:pt idx="1313">
                  <c:v>1402-08-01</c:v>
                </c:pt>
                <c:pt idx="1314">
                  <c:v>1402-08-02</c:v>
                </c:pt>
                <c:pt idx="1315">
                  <c:v>1402-08-03</c:v>
                </c:pt>
                <c:pt idx="1316">
                  <c:v>1402-08-06</c:v>
                </c:pt>
                <c:pt idx="1317">
                  <c:v>1402-08-07</c:v>
                </c:pt>
                <c:pt idx="1318">
                  <c:v>1402-08-08</c:v>
                </c:pt>
                <c:pt idx="1319">
                  <c:v>1402-08-09</c:v>
                </c:pt>
                <c:pt idx="1320">
                  <c:v>1402-08-10</c:v>
                </c:pt>
                <c:pt idx="1321">
                  <c:v>1402-08-13</c:v>
                </c:pt>
                <c:pt idx="1322">
                  <c:v>1402-08-14</c:v>
                </c:pt>
                <c:pt idx="1323">
                  <c:v>1402-08-15</c:v>
                </c:pt>
                <c:pt idx="1324">
                  <c:v>1402-08-16</c:v>
                </c:pt>
                <c:pt idx="1325">
                  <c:v>1402-08-17</c:v>
                </c:pt>
                <c:pt idx="1326">
                  <c:v>1402-08-20</c:v>
                </c:pt>
                <c:pt idx="1327">
                  <c:v>1402-08-21</c:v>
                </c:pt>
                <c:pt idx="1328">
                  <c:v>1402-08-22</c:v>
                </c:pt>
                <c:pt idx="1329">
                  <c:v>1402-08-23</c:v>
                </c:pt>
                <c:pt idx="1330">
                  <c:v>1402-08-24</c:v>
                </c:pt>
                <c:pt idx="1331">
                  <c:v>1402-08-27</c:v>
                </c:pt>
                <c:pt idx="1332">
                  <c:v>1402-08-28</c:v>
                </c:pt>
                <c:pt idx="1333">
                  <c:v>1402-08-29</c:v>
                </c:pt>
                <c:pt idx="1334">
                  <c:v>1402-08-30</c:v>
                </c:pt>
                <c:pt idx="1335">
                  <c:v>1402-09-01</c:v>
                </c:pt>
                <c:pt idx="1336">
                  <c:v>1402-09-04</c:v>
                </c:pt>
                <c:pt idx="1337">
                  <c:v>1402-09-05</c:v>
                </c:pt>
                <c:pt idx="1338">
                  <c:v>1402-09-06</c:v>
                </c:pt>
                <c:pt idx="1339">
                  <c:v>1402-09-07</c:v>
                </c:pt>
                <c:pt idx="1340">
                  <c:v>1402-09-08</c:v>
                </c:pt>
                <c:pt idx="1341">
                  <c:v>1402-09-11</c:v>
                </c:pt>
                <c:pt idx="1342">
                  <c:v>1402-09-12</c:v>
                </c:pt>
                <c:pt idx="1343">
                  <c:v>1402-09-13</c:v>
                </c:pt>
                <c:pt idx="1344">
                  <c:v>1402-09-14</c:v>
                </c:pt>
                <c:pt idx="1345">
                  <c:v>1402-09-15</c:v>
                </c:pt>
                <c:pt idx="1346">
                  <c:v>1402-09-18</c:v>
                </c:pt>
                <c:pt idx="1347">
                  <c:v>1402-09-19</c:v>
                </c:pt>
                <c:pt idx="1348">
                  <c:v>1402-09-20</c:v>
                </c:pt>
                <c:pt idx="1349">
                  <c:v>1402-09-21</c:v>
                </c:pt>
                <c:pt idx="1350">
                  <c:v>1402-09-22</c:v>
                </c:pt>
                <c:pt idx="1351">
                  <c:v>1402-09-25</c:v>
                </c:pt>
                <c:pt idx="1352">
                  <c:v>1402-09-27</c:v>
                </c:pt>
                <c:pt idx="1353">
                  <c:v>1402-09-28</c:v>
                </c:pt>
                <c:pt idx="1354">
                  <c:v>1402-09-29</c:v>
                </c:pt>
                <c:pt idx="1355">
                  <c:v>1402-10-02</c:v>
                </c:pt>
                <c:pt idx="1356">
                  <c:v>1402-10-03</c:v>
                </c:pt>
                <c:pt idx="1357">
                  <c:v>1402-10-04</c:v>
                </c:pt>
                <c:pt idx="1358">
                  <c:v>1402-10-05</c:v>
                </c:pt>
                <c:pt idx="1359">
                  <c:v>1402-10-06</c:v>
                </c:pt>
                <c:pt idx="1360">
                  <c:v>1402-10-09</c:v>
                </c:pt>
                <c:pt idx="1361">
                  <c:v>1402-10-10</c:v>
                </c:pt>
                <c:pt idx="1362">
                  <c:v>1402-10-11</c:v>
                </c:pt>
                <c:pt idx="1363">
                  <c:v>1402-10-12</c:v>
                </c:pt>
                <c:pt idx="1364">
                  <c:v>1402-10-13</c:v>
                </c:pt>
                <c:pt idx="1365">
                  <c:v>1402-10-16</c:v>
                </c:pt>
                <c:pt idx="1366">
                  <c:v>1402-10-17</c:v>
                </c:pt>
                <c:pt idx="1367">
                  <c:v>1402-10-18</c:v>
                </c:pt>
                <c:pt idx="1368">
                  <c:v>1402-10-19</c:v>
                </c:pt>
                <c:pt idx="1369">
                  <c:v>1402-10-20</c:v>
                </c:pt>
                <c:pt idx="1370">
                  <c:v>1402-10-23</c:v>
                </c:pt>
                <c:pt idx="1371">
                  <c:v>1402-10-24</c:v>
                </c:pt>
                <c:pt idx="1372">
                  <c:v>1402-10-25</c:v>
                </c:pt>
                <c:pt idx="1373">
                  <c:v>1402-10-26</c:v>
                </c:pt>
                <c:pt idx="1374">
                  <c:v>1402-10-27</c:v>
                </c:pt>
                <c:pt idx="1375">
                  <c:v>1402-10-30</c:v>
                </c:pt>
                <c:pt idx="1376">
                  <c:v>1402-11-01</c:v>
                </c:pt>
                <c:pt idx="1377">
                  <c:v>1402-11-02</c:v>
                </c:pt>
                <c:pt idx="1378">
                  <c:v>1402-11-03</c:v>
                </c:pt>
                <c:pt idx="1379">
                  <c:v>1402-11-04</c:v>
                </c:pt>
                <c:pt idx="1380">
                  <c:v>1402-11-07</c:v>
                </c:pt>
                <c:pt idx="1381">
                  <c:v>1402-11-08</c:v>
                </c:pt>
                <c:pt idx="1382">
                  <c:v>1402-11-09</c:v>
                </c:pt>
                <c:pt idx="1383">
                  <c:v>1402-11-10</c:v>
                </c:pt>
                <c:pt idx="1384">
                  <c:v>1402-11-11</c:v>
                </c:pt>
                <c:pt idx="1385">
                  <c:v>1402-11-14</c:v>
                </c:pt>
                <c:pt idx="1386">
                  <c:v>1402-11-15</c:v>
                </c:pt>
                <c:pt idx="1387">
                  <c:v>1402-11-16</c:v>
                </c:pt>
                <c:pt idx="1388">
                  <c:v>1402-11-17</c:v>
                </c:pt>
                <c:pt idx="1389">
                  <c:v>1402-11-18</c:v>
                </c:pt>
                <c:pt idx="1390">
                  <c:v>1402-11-21</c:v>
                </c:pt>
                <c:pt idx="1391">
                  <c:v>1402-11-23</c:v>
                </c:pt>
                <c:pt idx="1392">
                  <c:v>1402-11-24</c:v>
                </c:pt>
                <c:pt idx="1393">
                  <c:v>1402-11-25</c:v>
                </c:pt>
                <c:pt idx="1394">
                  <c:v>1402-11-28</c:v>
                </c:pt>
                <c:pt idx="1395">
                  <c:v>1402-11-29</c:v>
                </c:pt>
                <c:pt idx="1396">
                  <c:v>1402-11-30</c:v>
                </c:pt>
                <c:pt idx="1397">
                  <c:v>1402-12-01</c:v>
                </c:pt>
                <c:pt idx="1398">
                  <c:v>1402-12-02</c:v>
                </c:pt>
                <c:pt idx="1399">
                  <c:v>1402-12-05</c:v>
                </c:pt>
                <c:pt idx="1400">
                  <c:v>1402-12-07</c:v>
                </c:pt>
                <c:pt idx="1401">
                  <c:v>1402-12-08</c:v>
                </c:pt>
                <c:pt idx="1402">
                  <c:v>1402-12-09</c:v>
                </c:pt>
                <c:pt idx="1403">
                  <c:v>1402-12-12</c:v>
                </c:pt>
                <c:pt idx="1404">
                  <c:v>1402-12-13</c:v>
                </c:pt>
                <c:pt idx="1405">
                  <c:v>1402-12-14</c:v>
                </c:pt>
                <c:pt idx="1406">
                  <c:v>1402-12-15</c:v>
                </c:pt>
                <c:pt idx="1407">
                  <c:v>1402-12-16</c:v>
                </c:pt>
                <c:pt idx="1408">
                  <c:v>1402-12-20</c:v>
                </c:pt>
                <c:pt idx="1409">
                  <c:v>1402-12-21</c:v>
                </c:pt>
                <c:pt idx="1410">
                  <c:v>1402-12-22</c:v>
                </c:pt>
                <c:pt idx="1411">
                  <c:v>1402-12-23</c:v>
                </c:pt>
                <c:pt idx="1412">
                  <c:v>1402-12-26</c:v>
                </c:pt>
                <c:pt idx="1413">
                  <c:v>1402-12-27</c:v>
                </c:pt>
                <c:pt idx="1414">
                  <c:v>1403-01-05</c:v>
                </c:pt>
                <c:pt idx="1415">
                  <c:v>1403-01-06</c:v>
                </c:pt>
                <c:pt idx="1416">
                  <c:v>1403-01-07</c:v>
                </c:pt>
                <c:pt idx="1417">
                  <c:v>1403-01-08</c:v>
                </c:pt>
                <c:pt idx="1418">
                  <c:v>1403-01-11</c:v>
                </c:pt>
                <c:pt idx="1419">
                  <c:v>1403-01-14</c:v>
                </c:pt>
                <c:pt idx="1420">
                  <c:v>1403-01-15</c:v>
                </c:pt>
                <c:pt idx="1421">
                  <c:v>1403-01-18</c:v>
                </c:pt>
                <c:pt idx="1422">
                  <c:v>1403-01-19</c:v>
                </c:pt>
                <c:pt idx="1423">
                  <c:v>1403-01-20</c:v>
                </c:pt>
                <c:pt idx="1424">
                  <c:v>1403-01-21</c:v>
                </c:pt>
                <c:pt idx="1425">
                  <c:v>1403-01-25</c:v>
                </c:pt>
                <c:pt idx="1426">
                  <c:v>1403-01-26</c:v>
                </c:pt>
                <c:pt idx="1427">
                  <c:v>1403-01-27</c:v>
                </c:pt>
                <c:pt idx="1428">
                  <c:v>1403-01-28</c:v>
                </c:pt>
                <c:pt idx="1429">
                  <c:v>1403-01-29</c:v>
                </c:pt>
                <c:pt idx="1430">
                  <c:v>1403-02-01</c:v>
                </c:pt>
                <c:pt idx="1431">
                  <c:v>1403-02-02</c:v>
                </c:pt>
                <c:pt idx="1432">
                  <c:v>1403-02-03</c:v>
                </c:pt>
                <c:pt idx="1433">
                  <c:v>1403-02-04</c:v>
                </c:pt>
                <c:pt idx="1434">
                  <c:v>1403-02-05</c:v>
                </c:pt>
                <c:pt idx="1435">
                  <c:v>1403-02-08</c:v>
                </c:pt>
                <c:pt idx="1436">
                  <c:v>1403-02-09</c:v>
                </c:pt>
                <c:pt idx="1437">
                  <c:v>1403-02-10</c:v>
                </c:pt>
                <c:pt idx="1438">
                  <c:v>1403-02-11</c:v>
                </c:pt>
                <c:pt idx="1439">
                  <c:v>1403-02-12</c:v>
                </c:pt>
                <c:pt idx="1440">
                  <c:v>1403-02-16</c:v>
                </c:pt>
                <c:pt idx="1441">
                  <c:v>1403-02-17</c:v>
                </c:pt>
                <c:pt idx="1442">
                  <c:v>1403-02-18</c:v>
                </c:pt>
                <c:pt idx="1443">
                  <c:v>1403-02-19</c:v>
                </c:pt>
                <c:pt idx="1444">
                  <c:v>1403-02-22</c:v>
                </c:pt>
                <c:pt idx="1445">
                  <c:v>1403-02-23</c:v>
                </c:pt>
                <c:pt idx="1446">
                  <c:v>1403-02-24</c:v>
                </c:pt>
                <c:pt idx="1447">
                  <c:v>1403-02-25</c:v>
                </c:pt>
                <c:pt idx="1448">
                  <c:v>1403-02-26</c:v>
                </c:pt>
                <c:pt idx="1449">
                  <c:v>1403-02-29</c:v>
                </c:pt>
                <c:pt idx="1450">
                  <c:v>1403-02-30</c:v>
                </c:pt>
                <c:pt idx="1451">
                  <c:v>1403-03-01</c:v>
                </c:pt>
                <c:pt idx="1452">
                  <c:v>1403-03-05</c:v>
                </c:pt>
                <c:pt idx="1453">
                  <c:v>1403-03-06</c:v>
                </c:pt>
                <c:pt idx="1454">
                  <c:v>1403-03-07</c:v>
                </c:pt>
                <c:pt idx="1455">
                  <c:v>1403-03-08</c:v>
                </c:pt>
                <c:pt idx="1456">
                  <c:v>1403-03-09</c:v>
                </c:pt>
                <c:pt idx="1457">
                  <c:v>1403-03-12</c:v>
                </c:pt>
                <c:pt idx="1458">
                  <c:v>1403-03-13</c:v>
                </c:pt>
                <c:pt idx="1459">
                  <c:v>1403-03-16</c:v>
                </c:pt>
                <c:pt idx="1460">
                  <c:v>1403-03-19</c:v>
                </c:pt>
                <c:pt idx="1461">
                  <c:v>1403-03-20</c:v>
                </c:pt>
                <c:pt idx="1462">
                  <c:v>1403-03-21</c:v>
                </c:pt>
                <c:pt idx="1463">
                  <c:v>1403-03-22</c:v>
                </c:pt>
                <c:pt idx="1464">
                  <c:v>1403-03-23</c:v>
                </c:pt>
                <c:pt idx="1465">
                  <c:v>1403-03-26</c:v>
                </c:pt>
                <c:pt idx="1466">
                  <c:v>1403-03-27</c:v>
                </c:pt>
                <c:pt idx="1467">
                  <c:v>1403-03-29</c:v>
                </c:pt>
                <c:pt idx="1468">
                  <c:v>1403-03-30</c:v>
                </c:pt>
                <c:pt idx="1469">
                  <c:v>1403-04-02</c:v>
                </c:pt>
                <c:pt idx="1470">
                  <c:v>1403-04-03</c:v>
                </c:pt>
                <c:pt idx="1471">
                  <c:v>1403-04-04</c:v>
                </c:pt>
                <c:pt idx="1472">
                  <c:v>1403-04-06</c:v>
                </c:pt>
                <c:pt idx="1473">
                  <c:v>1403-04-09</c:v>
                </c:pt>
                <c:pt idx="1474">
                  <c:v>1403-04-10</c:v>
                </c:pt>
                <c:pt idx="1475">
                  <c:v>1403-04-11</c:v>
                </c:pt>
                <c:pt idx="1476">
                  <c:v>1403-04-12</c:v>
                </c:pt>
                <c:pt idx="1477">
                  <c:v>1403-04-13</c:v>
                </c:pt>
                <c:pt idx="1478">
                  <c:v>1403-04-16</c:v>
                </c:pt>
                <c:pt idx="1479">
                  <c:v>1403-04-17</c:v>
                </c:pt>
                <c:pt idx="1480">
                  <c:v>1403-04-18</c:v>
                </c:pt>
                <c:pt idx="1481">
                  <c:v>1403-04-19</c:v>
                </c:pt>
                <c:pt idx="1482">
                  <c:v>1403-04-20</c:v>
                </c:pt>
                <c:pt idx="1483">
                  <c:v>1403-04-23</c:v>
                </c:pt>
                <c:pt idx="1484">
                  <c:v>1403-04-24</c:v>
                </c:pt>
                <c:pt idx="1485">
                  <c:v>1403-04-27</c:v>
                </c:pt>
                <c:pt idx="1486">
                  <c:v>1403-04-30</c:v>
                </c:pt>
                <c:pt idx="1487">
                  <c:v>1403-04-30</c:v>
                </c:pt>
                <c:pt idx="1488">
                  <c:v>1403-04-31</c:v>
                </c:pt>
                <c:pt idx="1489">
                  <c:v>1403-05-01</c:v>
                </c:pt>
                <c:pt idx="1490">
                  <c:v>1403-05-02</c:v>
                </c:pt>
                <c:pt idx="1491">
                  <c:v>1403-05-03</c:v>
                </c:pt>
                <c:pt idx="1492">
                  <c:v>1403-05-06</c:v>
                </c:pt>
                <c:pt idx="1493">
                  <c:v>1403-05-08</c:v>
                </c:pt>
                <c:pt idx="1494">
                  <c:v>1403-05-09</c:v>
                </c:pt>
                <c:pt idx="1495">
                  <c:v>1403-05-10</c:v>
                </c:pt>
                <c:pt idx="1496">
                  <c:v>1403-05-13</c:v>
                </c:pt>
                <c:pt idx="1497">
                  <c:v>1403-05-14</c:v>
                </c:pt>
                <c:pt idx="1498">
                  <c:v>1403-05-15</c:v>
                </c:pt>
                <c:pt idx="1499">
                  <c:v>1403-05-16</c:v>
                </c:pt>
                <c:pt idx="1500">
                  <c:v>1403-05-20</c:v>
                </c:pt>
                <c:pt idx="1501">
                  <c:v>1403-05-21</c:v>
                </c:pt>
                <c:pt idx="1502">
                  <c:v>1403-05-22</c:v>
                </c:pt>
                <c:pt idx="1503">
                  <c:v>1403-05-23</c:v>
                </c:pt>
                <c:pt idx="1504">
                  <c:v>1403-05-24</c:v>
                </c:pt>
                <c:pt idx="1505">
                  <c:v>1403-05-27</c:v>
                </c:pt>
                <c:pt idx="1506">
                  <c:v>1403-05-28</c:v>
                </c:pt>
                <c:pt idx="1507">
                  <c:v>1403-05-29</c:v>
                </c:pt>
                <c:pt idx="1508">
                  <c:v>1403-05-30</c:v>
                </c:pt>
                <c:pt idx="1509">
                  <c:v>1403-05-31</c:v>
                </c:pt>
                <c:pt idx="1510">
                  <c:v>1403-06-03</c:v>
                </c:pt>
                <c:pt idx="1511">
                  <c:v>1403-06-05</c:v>
                </c:pt>
                <c:pt idx="1512">
                  <c:v>1403-06-06</c:v>
                </c:pt>
                <c:pt idx="1513">
                  <c:v>1403-06-07</c:v>
                </c:pt>
                <c:pt idx="1514">
                  <c:v>1403-06-10</c:v>
                </c:pt>
                <c:pt idx="1515">
                  <c:v>1403-06-11</c:v>
                </c:pt>
                <c:pt idx="1516">
                  <c:v>1403-06-13</c:v>
                </c:pt>
                <c:pt idx="1517">
                  <c:v>1403-06-17</c:v>
                </c:pt>
                <c:pt idx="1518">
                  <c:v>1403-06-18</c:v>
                </c:pt>
                <c:pt idx="1519">
                  <c:v>1403-06-19</c:v>
                </c:pt>
                <c:pt idx="1520">
                  <c:v>1403-06-20</c:v>
                </c:pt>
                <c:pt idx="1521">
                  <c:v>1403-06-21</c:v>
                </c:pt>
                <c:pt idx="1522">
                  <c:v>1403-06-24</c:v>
                </c:pt>
                <c:pt idx="1523">
                  <c:v>1403-06-25</c:v>
                </c:pt>
                <c:pt idx="1524">
                  <c:v>1403-06-26</c:v>
                </c:pt>
                <c:pt idx="1525">
                  <c:v>1403-06-27</c:v>
                </c:pt>
                <c:pt idx="1526">
                  <c:v>1403-06-28</c:v>
                </c:pt>
                <c:pt idx="1527">
                  <c:v>1403-07-01</c:v>
                </c:pt>
                <c:pt idx="1528">
                  <c:v>1403-07-02</c:v>
                </c:pt>
                <c:pt idx="1529">
                  <c:v>1403-07-03</c:v>
                </c:pt>
                <c:pt idx="1530">
                  <c:v>1403-07-04</c:v>
                </c:pt>
                <c:pt idx="1531">
                  <c:v>1403-07-07</c:v>
                </c:pt>
                <c:pt idx="1532">
                  <c:v>1403-07-08</c:v>
                </c:pt>
                <c:pt idx="1533">
                  <c:v>1403-07-09</c:v>
                </c:pt>
                <c:pt idx="1534">
                  <c:v>1403-07-10</c:v>
                </c:pt>
                <c:pt idx="1535">
                  <c:v>1403-07-11</c:v>
                </c:pt>
                <c:pt idx="1536">
                  <c:v>1403-07-14</c:v>
                </c:pt>
                <c:pt idx="1537">
                  <c:v>1403-07-15</c:v>
                </c:pt>
                <c:pt idx="1538">
                  <c:v>1403-07-16</c:v>
                </c:pt>
                <c:pt idx="1539">
                  <c:v>1403-07-17</c:v>
                </c:pt>
                <c:pt idx="1540">
                  <c:v>1403-07-18</c:v>
                </c:pt>
                <c:pt idx="1541">
                  <c:v>1403-07-21</c:v>
                </c:pt>
                <c:pt idx="1542">
                  <c:v>1403-07-22</c:v>
                </c:pt>
                <c:pt idx="1543">
                  <c:v>1403-07-23</c:v>
                </c:pt>
                <c:pt idx="1544">
                  <c:v>1403-07-24</c:v>
                </c:pt>
                <c:pt idx="1545">
                  <c:v>1403-07-25</c:v>
                </c:pt>
                <c:pt idx="1546">
                  <c:v>1403-07-28</c:v>
                </c:pt>
                <c:pt idx="1547">
                  <c:v>1403-07-29</c:v>
                </c:pt>
                <c:pt idx="1548">
                  <c:v>1403-07-30</c:v>
                </c:pt>
                <c:pt idx="1549">
                  <c:v>1403-08-01</c:v>
                </c:pt>
                <c:pt idx="1550">
                  <c:v>1403-08-02</c:v>
                </c:pt>
                <c:pt idx="1551">
                  <c:v>1403-08-05</c:v>
                </c:pt>
                <c:pt idx="1552">
                  <c:v>1403-08-06</c:v>
                </c:pt>
                <c:pt idx="1553">
                  <c:v>1403-08-07</c:v>
                </c:pt>
                <c:pt idx="1554">
                  <c:v>1403-08-08</c:v>
                </c:pt>
                <c:pt idx="1555">
                  <c:v>1403-08-09</c:v>
                </c:pt>
                <c:pt idx="1556">
                  <c:v>1403-08-12</c:v>
                </c:pt>
                <c:pt idx="1557">
                  <c:v>1403-08-13</c:v>
                </c:pt>
                <c:pt idx="1558">
                  <c:v>1403-08-14</c:v>
                </c:pt>
                <c:pt idx="1559">
                  <c:v>1403-08-15</c:v>
                </c:pt>
                <c:pt idx="1560">
                  <c:v>1403-08-16</c:v>
                </c:pt>
                <c:pt idx="1561">
                  <c:v>1403-08-19</c:v>
                </c:pt>
                <c:pt idx="1562">
                  <c:v>1403-08-20</c:v>
                </c:pt>
                <c:pt idx="1563">
                  <c:v>1403-08-21</c:v>
                </c:pt>
                <c:pt idx="1564">
                  <c:v>1403-08-22</c:v>
                </c:pt>
                <c:pt idx="1565">
                  <c:v>1403-08-23</c:v>
                </c:pt>
                <c:pt idx="1566">
                  <c:v>1403-08-26</c:v>
                </c:pt>
                <c:pt idx="1567">
                  <c:v>1403-08-27</c:v>
                </c:pt>
                <c:pt idx="1568">
                  <c:v>1403-08-28</c:v>
                </c:pt>
                <c:pt idx="1569">
                  <c:v>1403-08-29</c:v>
                </c:pt>
                <c:pt idx="1570">
                  <c:v>1403-08-30</c:v>
                </c:pt>
                <c:pt idx="1571">
                  <c:v>1403-09-03</c:v>
                </c:pt>
                <c:pt idx="1572">
                  <c:v>1403-09-04</c:v>
                </c:pt>
                <c:pt idx="1573">
                  <c:v>1403-09-05</c:v>
                </c:pt>
                <c:pt idx="1574">
                  <c:v>1403-09-06</c:v>
                </c:pt>
                <c:pt idx="1575">
                  <c:v>1403-09-07</c:v>
                </c:pt>
                <c:pt idx="1576">
                  <c:v>1403-09-10</c:v>
                </c:pt>
                <c:pt idx="1577">
                  <c:v>1403-09-11</c:v>
                </c:pt>
                <c:pt idx="1578">
                  <c:v>1403-09-12</c:v>
                </c:pt>
                <c:pt idx="1579">
                  <c:v>1403-09-12</c:v>
                </c:pt>
                <c:pt idx="1580">
                  <c:v>1403-09-13</c:v>
                </c:pt>
                <c:pt idx="1581">
                  <c:v>1403-09-14</c:v>
                </c:pt>
                <c:pt idx="1582">
                  <c:v>1403-09-17</c:v>
                </c:pt>
                <c:pt idx="1583">
                  <c:v>1403-09-18</c:v>
                </c:pt>
                <c:pt idx="1584">
                  <c:v>1403-09-19</c:v>
                </c:pt>
                <c:pt idx="1585">
                  <c:v>1403-09-20</c:v>
                </c:pt>
                <c:pt idx="1586">
                  <c:v>1403-09-21</c:v>
                </c:pt>
                <c:pt idx="1587">
                  <c:v>1403-09-24</c:v>
                </c:pt>
                <c:pt idx="1588">
                  <c:v>1403-09-25</c:v>
                </c:pt>
                <c:pt idx="1589">
                  <c:v>1403-09-26</c:v>
                </c:pt>
                <c:pt idx="1590">
                  <c:v>1403-09-27</c:v>
                </c:pt>
                <c:pt idx="1591">
                  <c:v>1403-09-28</c:v>
                </c:pt>
                <c:pt idx="1592">
                  <c:v>1403-10-01</c:v>
                </c:pt>
                <c:pt idx="1593">
                  <c:v>1403-10-02</c:v>
                </c:pt>
                <c:pt idx="1594">
                  <c:v>1403-10-03</c:v>
                </c:pt>
                <c:pt idx="1595">
                  <c:v>1403-10-04</c:v>
                </c:pt>
                <c:pt idx="1596">
                  <c:v>1403-10-05</c:v>
                </c:pt>
                <c:pt idx="1597">
                  <c:v>1403-10-08</c:v>
                </c:pt>
                <c:pt idx="1598">
                  <c:v>1403-10-09</c:v>
                </c:pt>
                <c:pt idx="1599">
                  <c:v>1403-10-10</c:v>
                </c:pt>
                <c:pt idx="1600">
                  <c:v>1403-10-11</c:v>
                </c:pt>
                <c:pt idx="1601">
                  <c:v>1403-10-12</c:v>
                </c:pt>
                <c:pt idx="1602">
                  <c:v>1403-10-15</c:v>
                </c:pt>
                <c:pt idx="1603">
                  <c:v>1403-10-16</c:v>
                </c:pt>
                <c:pt idx="1604">
                  <c:v>1403-10-17</c:v>
                </c:pt>
                <c:pt idx="1605">
                  <c:v>1403-10-18</c:v>
                </c:pt>
                <c:pt idx="1606">
                  <c:v>1403-10-19</c:v>
                </c:pt>
                <c:pt idx="1607">
                  <c:v>1403-10-22</c:v>
                </c:pt>
                <c:pt idx="1608">
                  <c:v>1403-10-23</c:v>
                </c:pt>
                <c:pt idx="1609">
                  <c:v>1403-10-24</c:v>
                </c:pt>
                <c:pt idx="1610">
                  <c:v>1403-10-26</c:v>
                </c:pt>
                <c:pt idx="1611">
                  <c:v>1403-10-29</c:v>
                </c:pt>
                <c:pt idx="1612">
                  <c:v>1403-10-30</c:v>
                </c:pt>
                <c:pt idx="1613">
                  <c:v>1403-11-01</c:v>
                </c:pt>
                <c:pt idx="1614">
                  <c:v>1403-11-02</c:v>
                </c:pt>
                <c:pt idx="1615">
                  <c:v>1403-11-03</c:v>
                </c:pt>
                <c:pt idx="1616">
                  <c:v>1403-11-06</c:v>
                </c:pt>
                <c:pt idx="1617">
                  <c:v>1403-11-07</c:v>
                </c:pt>
                <c:pt idx="1618">
                  <c:v>1403-11-08</c:v>
                </c:pt>
                <c:pt idx="1619">
                  <c:v>1403-11-10</c:v>
                </c:pt>
                <c:pt idx="1620">
                  <c:v>1403-11-13</c:v>
                </c:pt>
                <c:pt idx="1621">
                  <c:v>1403-11-14</c:v>
                </c:pt>
                <c:pt idx="1622">
                  <c:v>1403-11-15</c:v>
                </c:pt>
                <c:pt idx="1623">
                  <c:v>1403-11-16</c:v>
                </c:pt>
                <c:pt idx="1624">
                  <c:v>1403-11-17</c:v>
                </c:pt>
                <c:pt idx="1625">
                  <c:v>1403-11-21</c:v>
                </c:pt>
                <c:pt idx="1626">
                  <c:v>1403-11-23</c:v>
                </c:pt>
                <c:pt idx="1627">
                  <c:v>1403-11-27</c:v>
                </c:pt>
                <c:pt idx="1628">
                  <c:v>1403-11-28</c:v>
                </c:pt>
                <c:pt idx="1629">
                  <c:v>1403-11-29</c:v>
                </c:pt>
                <c:pt idx="1630">
                  <c:v>1403-11-30</c:v>
                </c:pt>
                <c:pt idx="1631">
                  <c:v>1403-12-01</c:v>
                </c:pt>
                <c:pt idx="1632">
                  <c:v>1403-12-04</c:v>
                </c:pt>
                <c:pt idx="1633">
                  <c:v>1403-12-05</c:v>
                </c:pt>
                <c:pt idx="1634">
                  <c:v>1403-12-06</c:v>
                </c:pt>
                <c:pt idx="1635">
                  <c:v>1403-12-07</c:v>
                </c:pt>
                <c:pt idx="1636">
                  <c:v>1403-12-08</c:v>
                </c:pt>
                <c:pt idx="1637">
                  <c:v>1403-12-08</c:v>
                </c:pt>
                <c:pt idx="1638">
                  <c:v>1403-12-11</c:v>
                </c:pt>
                <c:pt idx="1639">
                  <c:v>1403-12-12</c:v>
                </c:pt>
                <c:pt idx="1640">
                  <c:v>1403-12-13</c:v>
                </c:pt>
                <c:pt idx="1641">
                  <c:v>1403-12-14</c:v>
                </c:pt>
                <c:pt idx="1642">
                  <c:v>1403-12-15</c:v>
                </c:pt>
                <c:pt idx="1643">
                  <c:v>1403-12-18</c:v>
                </c:pt>
                <c:pt idx="1644">
                  <c:v>1403-12-19</c:v>
                </c:pt>
                <c:pt idx="1645">
                  <c:v>1403-12-20</c:v>
                </c:pt>
                <c:pt idx="1646">
                  <c:v>1403-12-21</c:v>
                </c:pt>
                <c:pt idx="1647">
                  <c:v>1403-12-22</c:v>
                </c:pt>
              </c:strCache>
            </c:strRef>
          </c:cat>
          <c:val>
            <c:numRef>
              <c:f>'Sheet 0'!$B$2:$B$1700</c:f>
              <c:numCache>
                <c:formatCode>0.0%</c:formatCode>
                <c:ptCount val="1699"/>
                <c:pt idx="0">
                  <c:v>0.210064</c:v>
                </c:pt>
                <c:pt idx="1">
                  <c:v>0.210836</c:v>
                </c:pt>
                <c:pt idx="2">
                  <c:v>0.20618700000000001</c:v>
                </c:pt>
                <c:pt idx="3">
                  <c:v>0.19515299999999999</c:v>
                </c:pt>
                <c:pt idx="4">
                  <c:v>0.20238</c:v>
                </c:pt>
                <c:pt idx="5">
                  <c:v>0.20394399999999999</c:v>
                </c:pt>
                <c:pt idx="6">
                  <c:v>0.21405299999999999</c:v>
                </c:pt>
                <c:pt idx="7">
                  <c:v>0.21629300000000001</c:v>
                </c:pt>
                <c:pt idx="8">
                  <c:v>0.22062699999999999</c:v>
                </c:pt>
                <c:pt idx="9">
                  <c:v>0.22140699999999999</c:v>
                </c:pt>
                <c:pt idx="10">
                  <c:v>0.219914</c:v>
                </c:pt>
                <c:pt idx="11">
                  <c:v>0.218636</c:v>
                </c:pt>
                <c:pt idx="12">
                  <c:v>0.21986700000000001</c:v>
                </c:pt>
                <c:pt idx="13">
                  <c:v>0.22264</c:v>
                </c:pt>
                <c:pt idx="14">
                  <c:v>0.22248699999999999</c:v>
                </c:pt>
                <c:pt idx="15">
                  <c:v>0.222219</c:v>
                </c:pt>
                <c:pt idx="16">
                  <c:v>0.22065299999999999</c:v>
                </c:pt>
                <c:pt idx="17">
                  <c:v>0.22056000000000001</c:v>
                </c:pt>
                <c:pt idx="18">
                  <c:v>0.217193</c:v>
                </c:pt>
                <c:pt idx="19">
                  <c:v>0.21846699999999999</c:v>
                </c:pt>
                <c:pt idx="20">
                  <c:v>0.21921299999999999</c:v>
                </c:pt>
                <c:pt idx="21">
                  <c:v>0.21850700000000001</c:v>
                </c:pt>
                <c:pt idx="22">
                  <c:v>0.22029299999999999</c:v>
                </c:pt>
                <c:pt idx="23">
                  <c:v>0.21787999999999999</c:v>
                </c:pt>
                <c:pt idx="24">
                  <c:v>0.21901999999999999</c:v>
                </c:pt>
                <c:pt idx="25">
                  <c:v>0.220388</c:v>
                </c:pt>
                <c:pt idx="26">
                  <c:v>0.218973</c:v>
                </c:pt>
                <c:pt idx="27">
                  <c:v>0.22151999999999999</c:v>
                </c:pt>
                <c:pt idx="28">
                  <c:v>0.21954699999999999</c:v>
                </c:pt>
                <c:pt idx="29">
                  <c:v>0.22193099999999999</c:v>
                </c:pt>
                <c:pt idx="30">
                  <c:v>0.22326199999999999</c:v>
                </c:pt>
                <c:pt idx="31">
                  <c:v>0.22200700000000001</c:v>
                </c:pt>
                <c:pt idx="32">
                  <c:v>0.22438</c:v>
                </c:pt>
                <c:pt idx="33">
                  <c:v>0.22459999999999999</c:v>
                </c:pt>
                <c:pt idx="34">
                  <c:v>0.22598699999999999</c:v>
                </c:pt>
                <c:pt idx="35">
                  <c:v>0.226688</c:v>
                </c:pt>
                <c:pt idx="36">
                  <c:v>0.22570599999999999</c:v>
                </c:pt>
                <c:pt idx="37">
                  <c:v>0.22794700000000001</c:v>
                </c:pt>
                <c:pt idx="38">
                  <c:v>0.22833100000000001</c:v>
                </c:pt>
                <c:pt idx="39">
                  <c:v>0.22881299999999999</c:v>
                </c:pt>
                <c:pt idx="40">
                  <c:v>0.22975599999999999</c:v>
                </c:pt>
                <c:pt idx="41">
                  <c:v>0.226879</c:v>
                </c:pt>
                <c:pt idx="42">
                  <c:v>0.23016</c:v>
                </c:pt>
                <c:pt idx="43">
                  <c:v>0.22720000000000001</c:v>
                </c:pt>
                <c:pt idx="44">
                  <c:v>0.2341</c:v>
                </c:pt>
                <c:pt idx="45">
                  <c:v>0.233819</c:v>
                </c:pt>
                <c:pt idx="46">
                  <c:v>0.237619</c:v>
                </c:pt>
                <c:pt idx="47">
                  <c:v>0.239431</c:v>
                </c:pt>
                <c:pt idx="48">
                  <c:v>0.23993100000000001</c:v>
                </c:pt>
                <c:pt idx="49">
                  <c:v>0.24961900000000001</c:v>
                </c:pt>
                <c:pt idx="50">
                  <c:v>0.249135</c:v>
                </c:pt>
                <c:pt idx="51">
                  <c:v>0.250747</c:v>
                </c:pt>
                <c:pt idx="52">
                  <c:v>0.252859</c:v>
                </c:pt>
                <c:pt idx="53">
                  <c:v>0.25428200000000001</c:v>
                </c:pt>
                <c:pt idx="54">
                  <c:v>0.252253</c:v>
                </c:pt>
                <c:pt idx="55">
                  <c:v>0.26052900000000001</c:v>
                </c:pt>
                <c:pt idx="56">
                  <c:v>0.26031300000000002</c:v>
                </c:pt>
                <c:pt idx="57">
                  <c:v>0.25734699999999999</c:v>
                </c:pt>
                <c:pt idx="58">
                  <c:v>0.25444099999999997</c:v>
                </c:pt>
                <c:pt idx="59">
                  <c:v>0.25292500000000001</c:v>
                </c:pt>
                <c:pt idx="60">
                  <c:v>0.25742199999999998</c:v>
                </c:pt>
                <c:pt idx="61">
                  <c:v>0.25951600000000002</c:v>
                </c:pt>
                <c:pt idx="62">
                  <c:v>0.25095000000000001</c:v>
                </c:pt>
                <c:pt idx="63">
                  <c:v>0.26064399999999999</c:v>
                </c:pt>
                <c:pt idx="64">
                  <c:v>0.26213900000000001</c:v>
                </c:pt>
                <c:pt idx="65">
                  <c:v>0.26411499999999999</c:v>
                </c:pt>
                <c:pt idx="66">
                  <c:v>0.26601000000000002</c:v>
                </c:pt>
                <c:pt idx="67">
                  <c:v>0.27272999999999997</c:v>
                </c:pt>
                <c:pt idx="68">
                  <c:v>0.27477400000000002</c:v>
                </c:pt>
                <c:pt idx="69">
                  <c:v>0.27400000000000002</c:v>
                </c:pt>
                <c:pt idx="70">
                  <c:v>0.273345</c:v>
                </c:pt>
                <c:pt idx="71">
                  <c:v>0.26599499999999998</c:v>
                </c:pt>
                <c:pt idx="72">
                  <c:v>0.27998899999999999</c:v>
                </c:pt>
                <c:pt idx="73">
                  <c:v>0.28074700000000002</c:v>
                </c:pt>
                <c:pt idx="74">
                  <c:v>0.28439500000000001</c:v>
                </c:pt>
                <c:pt idx="75">
                  <c:v>0.27965299999999998</c:v>
                </c:pt>
                <c:pt idx="76">
                  <c:v>0.28491699999999998</c:v>
                </c:pt>
                <c:pt idx="77">
                  <c:v>0.28397899999999998</c:v>
                </c:pt>
                <c:pt idx="78">
                  <c:v>0.28618900000000003</c:v>
                </c:pt>
                <c:pt idx="79">
                  <c:v>0.28975299999999998</c:v>
                </c:pt>
                <c:pt idx="80">
                  <c:v>0.28846300000000002</c:v>
                </c:pt>
                <c:pt idx="81">
                  <c:v>0.29599999999999999</c:v>
                </c:pt>
                <c:pt idx="82">
                  <c:v>0.29836099999999999</c:v>
                </c:pt>
                <c:pt idx="83">
                  <c:v>0.29794999999999999</c:v>
                </c:pt>
                <c:pt idx="84">
                  <c:v>0.297761</c:v>
                </c:pt>
                <c:pt idx="85">
                  <c:v>0.29688900000000001</c:v>
                </c:pt>
                <c:pt idx="86">
                  <c:v>0.30094399999999999</c:v>
                </c:pt>
                <c:pt idx="87">
                  <c:v>0.301678</c:v>
                </c:pt>
                <c:pt idx="88">
                  <c:v>0.30273299999999997</c:v>
                </c:pt>
                <c:pt idx="89">
                  <c:v>0.29932799999999998</c:v>
                </c:pt>
                <c:pt idx="90">
                  <c:v>0.30322199999999999</c:v>
                </c:pt>
                <c:pt idx="91">
                  <c:v>0.30354999999999999</c:v>
                </c:pt>
                <c:pt idx="92">
                  <c:v>0.29303499999999999</c:v>
                </c:pt>
                <c:pt idx="93">
                  <c:v>0.291244</c:v>
                </c:pt>
                <c:pt idx="94">
                  <c:v>0.28743299999999999</c:v>
                </c:pt>
                <c:pt idx="95">
                  <c:v>0.286582</c:v>
                </c:pt>
                <c:pt idx="96">
                  <c:v>0.27513500000000002</c:v>
                </c:pt>
                <c:pt idx="97">
                  <c:v>0.27475899999999998</c:v>
                </c:pt>
                <c:pt idx="98">
                  <c:v>0.27313900000000002</c:v>
                </c:pt>
                <c:pt idx="99">
                  <c:v>0.27062799999999998</c:v>
                </c:pt>
                <c:pt idx="100">
                  <c:v>0.26538899999999999</c:v>
                </c:pt>
                <c:pt idx="101">
                  <c:v>0.255444</c:v>
                </c:pt>
                <c:pt idx="102">
                  <c:v>0.25815900000000003</c:v>
                </c:pt>
                <c:pt idx="103">
                  <c:v>0.25719399999999998</c:v>
                </c:pt>
                <c:pt idx="104">
                  <c:v>0.25854700000000003</c:v>
                </c:pt>
                <c:pt idx="105">
                  <c:v>0.26634000000000002</c:v>
                </c:pt>
                <c:pt idx="106">
                  <c:v>0.27032899999999999</c:v>
                </c:pt>
                <c:pt idx="107">
                  <c:v>0.27915000000000001</c:v>
                </c:pt>
                <c:pt idx="108">
                  <c:v>0.2828</c:v>
                </c:pt>
                <c:pt idx="109">
                  <c:v>0.28202300000000002</c:v>
                </c:pt>
                <c:pt idx="110">
                  <c:v>0.276555</c:v>
                </c:pt>
                <c:pt idx="111">
                  <c:v>0.28594799999999998</c:v>
                </c:pt>
                <c:pt idx="112">
                  <c:v>0.28508499999999998</c:v>
                </c:pt>
                <c:pt idx="113">
                  <c:v>0.28261599999999998</c:v>
                </c:pt>
                <c:pt idx="114">
                  <c:v>0.28544000000000003</c:v>
                </c:pt>
                <c:pt idx="115">
                  <c:v>0.284835</c:v>
                </c:pt>
                <c:pt idx="116">
                  <c:v>0.28423999999999999</c:v>
                </c:pt>
                <c:pt idx="117">
                  <c:v>0.28644199999999997</c:v>
                </c:pt>
                <c:pt idx="118">
                  <c:v>0.28565299999999999</c:v>
                </c:pt>
                <c:pt idx="119">
                  <c:v>0.277395</c:v>
                </c:pt>
                <c:pt idx="120">
                  <c:v>0.26973999999999998</c:v>
                </c:pt>
                <c:pt idx="121">
                  <c:v>0.27376200000000001</c:v>
                </c:pt>
                <c:pt idx="122">
                  <c:v>0.26743800000000001</c:v>
                </c:pt>
                <c:pt idx="123">
                  <c:v>0.26750499999999999</c:v>
                </c:pt>
                <c:pt idx="124">
                  <c:v>0.26650499999999999</c:v>
                </c:pt>
                <c:pt idx="125">
                  <c:v>0.26292900000000002</c:v>
                </c:pt>
                <c:pt idx="126">
                  <c:v>0.26463300000000001</c:v>
                </c:pt>
                <c:pt idx="127">
                  <c:v>0.25605499999999998</c:v>
                </c:pt>
                <c:pt idx="128">
                  <c:v>0.25475900000000001</c:v>
                </c:pt>
                <c:pt idx="129">
                  <c:v>0.25567000000000001</c:v>
                </c:pt>
                <c:pt idx="130">
                  <c:v>0.248305</c:v>
                </c:pt>
                <c:pt idx="131">
                  <c:v>0.25447900000000001</c:v>
                </c:pt>
                <c:pt idx="132">
                  <c:v>0.25442999999999999</c:v>
                </c:pt>
                <c:pt idx="133">
                  <c:v>0.253774</c:v>
                </c:pt>
                <c:pt idx="134">
                  <c:v>0.25437300000000002</c:v>
                </c:pt>
                <c:pt idx="135">
                  <c:v>0.25011699999999998</c:v>
                </c:pt>
                <c:pt idx="136">
                  <c:v>0.25705</c:v>
                </c:pt>
                <c:pt idx="137">
                  <c:v>0.25741199999999997</c:v>
                </c:pt>
                <c:pt idx="138">
                  <c:v>0.24379999999999999</c:v>
                </c:pt>
                <c:pt idx="139">
                  <c:v>0.24906</c:v>
                </c:pt>
                <c:pt idx="140">
                  <c:v>0.24857000000000001</c:v>
                </c:pt>
                <c:pt idx="141">
                  <c:v>0.250276</c:v>
                </c:pt>
                <c:pt idx="142">
                  <c:v>0.24834200000000001</c:v>
                </c:pt>
                <c:pt idx="143">
                  <c:v>0.241087</c:v>
                </c:pt>
                <c:pt idx="144">
                  <c:v>0.24784999999999999</c:v>
                </c:pt>
                <c:pt idx="145">
                  <c:v>0.24255399999999999</c:v>
                </c:pt>
                <c:pt idx="146">
                  <c:v>0.247109</c:v>
                </c:pt>
                <c:pt idx="147">
                  <c:v>0.24629999999999999</c:v>
                </c:pt>
                <c:pt idx="148">
                  <c:v>0.24189099999999999</c:v>
                </c:pt>
                <c:pt idx="149">
                  <c:v>0.24572099999999999</c:v>
                </c:pt>
                <c:pt idx="150">
                  <c:v>0.249916</c:v>
                </c:pt>
                <c:pt idx="151">
                  <c:v>0.24183299999999999</c:v>
                </c:pt>
                <c:pt idx="152">
                  <c:v>0.24258099999999999</c:v>
                </c:pt>
                <c:pt idx="153">
                  <c:v>0.23891200000000001</c:v>
                </c:pt>
                <c:pt idx="154">
                  <c:v>0.2419</c:v>
                </c:pt>
                <c:pt idx="155">
                  <c:v>0.24141299999999999</c:v>
                </c:pt>
                <c:pt idx="156">
                  <c:v>0.24141299999999999</c:v>
                </c:pt>
                <c:pt idx="157">
                  <c:v>0.236791</c:v>
                </c:pt>
                <c:pt idx="158">
                  <c:v>0.24192900000000001</c:v>
                </c:pt>
                <c:pt idx="159">
                  <c:v>0.238783</c:v>
                </c:pt>
                <c:pt idx="160">
                  <c:v>0.2402</c:v>
                </c:pt>
                <c:pt idx="161">
                  <c:v>0.24001400000000001</c:v>
                </c:pt>
                <c:pt idx="162">
                  <c:v>0.233843</c:v>
                </c:pt>
                <c:pt idx="163">
                  <c:v>0.23263900000000001</c:v>
                </c:pt>
                <c:pt idx="164">
                  <c:v>0.23777000000000001</c:v>
                </c:pt>
                <c:pt idx="165">
                  <c:v>0.23514099999999999</c:v>
                </c:pt>
                <c:pt idx="166">
                  <c:v>0.229439</c:v>
                </c:pt>
                <c:pt idx="167">
                  <c:v>0.225164</c:v>
                </c:pt>
                <c:pt idx="168">
                  <c:v>0.22092600000000001</c:v>
                </c:pt>
                <c:pt idx="169">
                  <c:v>0.22051000000000001</c:v>
                </c:pt>
                <c:pt idx="170">
                  <c:v>0.22290499999999999</c:v>
                </c:pt>
                <c:pt idx="171">
                  <c:v>0.21831400000000001</c:v>
                </c:pt>
                <c:pt idx="172">
                  <c:v>0.222077</c:v>
                </c:pt>
                <c:pt idx="173">
                  <c:v>0.22212299999999999</c:v>
                </c:pt>
                <c:pt idx="174">
                  <c:v>0.219615</c:v>
                </c:pt>
                <c:pt idx="175">
                  <c:v>0.21881500000000001</c:v>
                </c:pt>
                <c:pt idx="176">
                  <c:v>0.218524</c:v>
                </c:pt>
                <c:pt idx="177">
                  <c:v>0.21901000000000001</c:v>
                </c:pt>
                <c:pt idx="178">
                  <c:v>0.21490000000000001</c:v>
                </c:pt>
                <c:pt idx="179">
                  <c:v>0.21189</c:v>
                </c:pt>
                <c:pt idx="180">
                  <c:v>0.20927599999999999</c:v>
                </c:pt>
                <c:pt idx="181">
                  <c:v>0.20327500000000001</c:v>
                </c:pt>
                <c:pt idx="182">
                  <c:v>0.20494200000000001</c:v>
                </c:pt>
                <c:pt idx="183">
                  <c:v>0.20466500000000001</c:v>
                </c:pt>
                <c:pt idx="184">
                  <c:v>0.20272000000000001</c:v>
                </c:pt>
                <c:pt idx="185">
                  <c:v>0.20400599999999999</c:v>
                </c:pt>
                <c:pt idx="186">
                  <c:v>0.20571700000000001</c:v>
                </c:pt>
                <c:pt idx="187">
                  <c:v>0.208757</c:v>
                </c:pt>
                <c:pt idx="188">
                  <c:v>0.209952</c:v>
                </c:pt>
                <c:pt idx="189">
                  <c:v>0.21181800000000001</c:v>
                </c:pt>
                <c:pt idx="190">
                  <c:v>0.210614</c:v>
                </c:pt>
                <c:pt idx="191">
                  <c:v>0.211335</c:v>
                </c:pt>
                <c:pt idx="192">
                  <c:v>0.21426400000000001</c:v>
                </c:pt>
                <c:pt idx="193">
                  <c:v>0.213891</c:v>
                </c:pt>
                <c:pt idx="194">
                  <c:v>0.21417600000000001</c:v>
                </c:pt>
                <c:pt idx="195">
                  <c:v>0.21438599999999999</c:v>
                </c:pt>
                <c:pt idx="196">
                  <c:v>0.21344099999999999</c:v>
                </c:pt>
                <c:pt idx="197">
                  <c:v>0.214</c:v>
                </c:pt>
                <c:pt idx="198">
                  <c:v>0.21440500000000001</c:v>
                </c:pt>
                <c:pt idx="199">
                  <c:v>0.213591</c:v>
                </c:pt>
                <c:pt idx="200">
                  <c:v>0.21240899999999999</c:v>
                </c:pt>
                <c:pt idx="201">
                  <c:v>0.211868</c:v>
                </c:pt>
                <c:pt idx="202">
                  <c:v>0.21235000000000001</c:v>
                </c:pt>
                <c:pt idx="203">
                  <c:v>0.214064</c:v>
                </c:pt>
                <c:pt idx="204">
                  <c:v>0.21440000000000001</c:v>
                </c:pt>
                <c:pt idx="205">
                  <c:v>0.212727</c:v>
                </c:pt>
                <c:pt idx="206">
                  <c:v>0.21147099999999999</c:v>
                </c:pt>
                <c:pt idx="207">
                  <c:v>0.214229</c:v>
                </c:pt>
                <c:pt idx="208">
                  <c:v>0.215113</c:v>
                </c:pt>
                <c:pt idx="209">
                  <c:v>0.21473300000000001</c:v>
                </c:pt>
                <c:pt idx="210">
                  <c:v>0.215445</c:v>
                </c:pt>
                <c:pt idx="211">
                  <c:v>0.21624499999999999</c:v>
                </c:pt>
                <c:pt idx="212">
                  <c:v>0.214809</c:v>
                </c:pt>
                <c:pt idx="213">
                  <c:v>0.21621699999999999</c:v>
                </c:pt>
                <c:pt idx="214">
                  <c:v>0.217918</c:v>
                </c:pt>
                <c:pt idx="215">
                  <c:v>0.21689600000000001</c:v>
                </c:pt>
                <c:pt idx="216">
                  <c:v>0.21745900000000001</c:v>
                </c:pt>
                <c:pt idx="217">
                  <c:v>0.21615000000000001</c:v>
                </c:pt>
                <c:pt idx="218">
                  <c:v>0.218061</c:v>
                </c:pt>
                <c:pt idx="219">
                  <c:v>0.21734600000000001</c:v>
                </c:pt>
                <c:pt idx="220">
                  <c:v>0.219774</c:v>
                </c:pt>
                <c:pt idx="221">
                  <c:v>0.221804</c:v>
                </c:pt>
                <c:pt idx="222">
                  <c:v>0.22364999999999999</c:v>
                </c:pt>
                <c:pt idx="223">
                  <c:v>0.22406699999999999</c:v>
                </c:pt>
                <c:pt idx="224">
                  <c:v>0.22575799999999999</c:v>
                </c:pt>
                <c:pt idx="225">
                  <c:v>0.22819600000000001</c:v>
                </c:pt>
                <c:pt idx="226">
                  <c:v>0.230182</c:v>
                </c:pt>
                <c:pt idx="227">
                  <c:v>0.233904</c:v>
                </c:pt>
                <c:pt idx="228">
                  <c:v>0.22876199999999999</c:v>
                </c:pt>
                <c:pt idx="229">
                  <c:v>0.22816900000000001</c:v>
                </c:pt>
                <c:pt idx="230">
                  <c:v>0.21612100000000001</c:v>
                </c:pt>
                <c:pt idx="231">
                  <c:v>0.2261</c:v>
                </c:pt>
                <c:pt idx="232">
                  <c:v>0.22145000000000001</c:v>
                </c:pt>
                <c:pt idx="233">
                  <c:v>0.217112</c:v>
                </c:pt>
                <c:pt idx="234">
                  <c:v>0.21923500000000001</c:v>
                </c:pt>
                <c:pt idx="235">
                  <c:v>0.21016399999999999</c:v>
                </c:pt>
                <c:pt idx="236">
                  <c:v>0.215281</c:v>
                </c:pt>
                <c:pt idx="237">
                  <c:v>0.217137</c:v>
                </c:pt>
                <c:pt idx="238">
                  <c:v>0.214424</c:v>
                </c:pt>
                <c:pt idx="239">
                  <c:v>0.21466099999999999</c:v>
                </c:pt>
                <c:pt idx="240">
                  <c:v>0.21266699999999999</c:v>
                </c:pt>
                <c:pt idx="241">
                  <c:v>0.21707399999999999</c:v>
                </c:pt>
                <c:pt idx="242">
                  <c:v>0.21963199999999999</c:v>
                </c:pt>
                <c:pt idx="243">
                  <c:v>0.223692</c:v>
                </c:pt>
                <c:pt idx="244">
                  <c:v>0.22526199999999999</c:v>
                </c:pt>
                <c:pt idx="245">
                  <c:v>0.22670799999999999</c:v>
                </c:pt>
                <c:pt idx="246">
                  <c:v>0.22745399999999999</c:v>
                </c:pt>
                <c:pt idx="247">
                  <c:v>0.24027999999999999</c:v>
                </c:pt>
                <c:pt idx="248">
                  <c:v>0.236454</c:v>
                </c:pt>
                <c:pt idx="249">
                  <c:v>0.22938800000000001</c:v>
                </c:pt>
                <c:pt idx="250">
                  <c:v>0.23104</c:v>
                </c:pt>
                <c:pt idx="251">
                  <c:v>0.22992799999999999</c:v>
                </c:pt>
                <c:pt idx="252">
                  <c:v>0.233267</c:v>
                </c:pt>
                <c:pt idx="253">
                  <c:v>0.22919200000000001</c:v>
                </c:pt>
                <c:pt idx="254">
                  <c:v>0.23069600000000001</c:v>
                </c:pt>
                <c:pt idx="255">
                  <c:v>0.224636</c:v>
                </c:pt>
                <c:pt idx="256">
                  <c:v>0.226656</c:v>
                </c:pt>
                <c:pt idx="257">
                  <c:v>0.22769200000000001</c:v>
                </c:pt>
                <c:pt idx="258">
                  <c:v>0.22322</c:v>
                </c:pt>
                <c:pt idx="259">
                  <c:v>0.22984299999999999</c:v>
                </c:pt>
                <c:pt idx="260">
                  <c:v>0.232513</c:v>
                </c:pt>
                <c:pt idx="261">
                  <c:v>0.228188</c:v>
                </c:pt>
                <c:pt idx="262">
                  <c:v>0.22891300000000001</c:v>
                </c:pt>
                <c:pt idx="263">
                  <c:v>0.22878799999999999</c:v>
                </c:pt>
                <c:pt idx="264">
                  <c:v>0.22951299999999999</c:v>
                </c:pt>
                <c:pt idx="265">
                  <c:v>0.22381200000000001</c:v>
                </c:pt>
                <c:pt idx="266">
                  <c:v>0.227579</c:v>
                </c:pt>
                <c:pt idx="267">
                  <c:v>0.21926200000000001</c:v>
                </c:pt>
                <c:pt idx="268">
                  <c:v>0.22395599999999999</c:v>
                </c:pt>
                <c:pt idx="269">
                  <c:v>0.22064800000000001</c:v>
                </c:pt>
                <c:pt idx="270">
                  <c:v>0.20974200000000001</c:v>
                </c:pt>
                <c:pt idx="271">
                  <c:v>0.217441</c:v>
                </c:pt>
                <c:pt idx="272">
                  <c:v>0.216304</c:v>
                </c:pt>
                <c:pt idx="273">
                  <c:v>0.21573800000000001</c:v>
                </c:pt>
                <c:pt idx="274">
                  <c:v>0.218469</c:v>
                </c:pt>
                <c:pt idx="275">
                  <c:v>0.21786800000000001</c:v>
                </c:pt>
                <c:pt idx="276">
                  <c:v>0.22378600000000001</c:v>
                </c:pt>
                <c:pt idx="277">
                  <c:v>0.225607</c:v>
                </c:pt>
                <c:pt idx="278">
                  <c:v>0.22411400000000001</c:v>
                </c:pt>
                <c:pt idx="279">
                  <c:v>0.23105700000000001</c:v>
                </c:pt>
                <c:pt idx="280">
                  <c:v>0.220748</c:v>
                </c:pt>
                <c:pt idx="281">
                  <c:v>0.22284300000000001</c:v>
                </c:pt>
                <c:pt idx="282">
                  <c:v>0.218223</c:v>
                </c:pt>
                <c:pt idx="283">
                  <c:v>0.224552</c:v>
                </c:pt>
                <c:pt idx="284">
                  <c:v>0.223054</c:v>
                </c:pt>
                <c:pt idx="285">
                  <c:v>0.216448</c:v>
                </c:pt>
                <c:pt idx="286">
                  <c:v>0.219469</c:v>
                </c:pt>
                <c:pt idx="287">
                  <c:v>0.21839600000000001</c:v>
                </c:pt>
                <c:pt idx="288">
                  <c:v>0.217304</c:v>
                </c:pt>
                <c:pt idx="289">
                  <c:v>0.214811</c:v>
                </c:pt>
                <c:pt idx="290">
                  <c:v>0.21679999999999999</c:v>
                </c:pt>
                <c:pt idx="291">
                  <c:v>0.21986800000000001</c:v>
                </c:pt>
                <c:pt idx="292">
                  <c:v>0.217359</c:v>
                </c:pt>
                <c:pt idx="293">
                  <c:v>0.21632899999999999</c:v>
                </c:pt>
                <c:pt idx="294">
                  <c:v>0.21577199999999999</c:v>
                </c:pt>
                <c:pt idx="295">
                  <c:v>0.218468</c:v>
                </c:pt>
                <c:pt idx="296">
                  <c:v>0.219836</c:v>
                </c:pt>
                <c:pt idx="297">
                  <c:v>0.22053700000000001</c:v>
                </c:pt>
                <c:pt idx="298">
                  <c:v>0.22176100000000001</c:v>
                </c:pt>
                <c:pt idx="299">
                  <c:v>0.21102399999999999</c:v>
                </c:pt>
                <c:pt idx="300">
                  <c:v>0.222389</c:v>
                </c:pt>
                <c:pt idx="301">
                  <c:v>0.22339999999999999</c:v>
                </c:pt>
                <c:pt idx="302">
                  <c:v>0.223026</c:v>
                </c:pt>
                <c:pt idx="303">
                  <c:v>0.22158900000000001</c:v>
                </c:pt>
                <c:pt idx="304">
                  <c:v>0.221219</c:v>
                </c:pt>
                <c:pt idx="305">
                  <c:v>0.22539200000000001</c:v>
                </c:pt>
                <c:pt idx="306">
                  <c:v>0.223244</c:v>
                </c:pt>
                <c:pt idx="307">
                  <c:v>0.22168399999999999</c:v>
                </c:pt>
                <c:pt idx="308">
                  <c:v>0.2258</c:v>
                </c:pt>
                <c:pt idx="309">
                  <c:v>0.220719</c:v>
                </c:pt>
                <c:pt idx="310">
                  <c:v>0.224164</c:v>
                </c:pt>
                <c:pt idx="311">
                  <c:v>0.22204599999999999</c:v>
                </c:pt>
                <c:pt idx="312">
                  <c:v>0.22447</c:v>
                </c:pt>
                <c:pt idx="313">
                  <c:v>0.22128500000000001</c:v>
                </c:pt>
                <c:pt idx="314">
                  <c:v>0.220862</c:v>
                </c:pt>
                <c:pt idx="315">
                  <c:v>0.22459999999999999</c:v>
                </c:pt>
                <c:pt idx="316">
                  <c:v>0.22411900000000001</c:v>
                </c:pt>
                <c:pt idx="317">
                  <c:v>0.227271</c:v>
                </c:pt>
                <c:pt idx="318">
                  <c:v>0.226604</c:v>
                </c:pt>
                <c:pt idx="319">
                  <c:v>0.22202</c:v>
                </c:pt>
                <c:pt idx="320">
                  <c:v>0.22697600000000001</c:v>
                </c:pt>
                <c:pt idx="321">
                  <c:v>0.22585</c:v>
                </c:pt>
                <c:pt idx="322">
                  <c:v>0.223665</c:v>
                </c:pt>
                <c:pt idx="323">
                  <c:v>0.223825</c:v>
                </c:pt>
                <c:pt idx="324">
                  <c:v>0.220888</c:v>
                </c:pt>
                <c:pt idx="325">
                  <c:v>0.22168099999999999</c:v>
                </c:pt>
                <c:pt idx="326">
                  <c:v>0.22233800000000001</c:v>
                </c:pt>
                <c:pt idx="327">
                  <c:v>0.218419</c:v>
                </c:pt>
                <c:pt idx="328">
                  <c:v>0.22099199999999999</c:v>
                </c:pt>
                <c:pt idx="329">
                  <c:v>0.221112</c:v>
                </c:pt>
                <c:pt idx="330">
                  <c:v>0.219191</c:v>
                </c:pt>
                <c:pt idx="331">
                  <c:v>0.21993099999999999</c:v>
                </c:pt>
                <c:pt idx="332">
                  <c:v>0.21685599999999999</c:v>
                </c:pt>
                <c:pt idx="333">
                  <c:v>0.220776</c:v>
                </c:pt>
                <c:pt idx="334">
                  <c:v>0.218196</c:v>
                </c:pt>
                <c:pt idx="335">
                  <c:v>0.21524799999999999</c:v>
                </c:pt>
                <c:pt idx="336">
                  <c:v>0.21715999999999999</c:v>
                </c:pt>
                <c:pt idx="337">
                  <c:v>0.21702199999999999</c:v>
                </c:pt>
                <c:pt idx="338">
                  <c:v>0.21418400000000001</c:v>
                </c:pt>
                <c:pt idx="339">
                  <c:v>0.21226700000000001</c:v>
                </c:pt>
                <c:pt idx="340">
                  <c:v>0.207456</c:v>
                </c:pt>
                <c:pt idx="341">
                  <c:v>0.214008</c:v>
                </c:pt>
                <c:pt idx="342">
                  <c:v>0.20647599999999999</c:v>
                </c:pt>
                <c:pt idx="343">
                  <c:v>0.20846200000000001</c:v>
                </c:pt>
                <c:pt idx="344">
                  <c:v>0.206538</c:v>
                </c:pt>
                <c:pt idx="345">
                  <c:v>0.19545999999999999</c:v>
                </c:pt>
                <c:pt idx="346">
                  <c:v>0.21016799999999999</c:v>
                </c:pt>
                <c:pt idx="347">
                  <c:v>0.20660400000000001</c:v>
                </c:pt>
                <c:pt idx="348">
                  <c:v>0.210842</c:v>
                </c:pt>
                <c:pt idx="349">
                  <c:v>0.21120800000000001</c:v>
                </c:pt>
                <c:pt idx="350">
                  <c:v>0.20482600000000001</c:v>
                </c:pt>
                <c:pt idx="351">
                  <c:v>0.21149200000000001</c:v>
                </c:pt>
                <c:pt idx="352">
                  <c:v>0.20968800000000001</c:v>
                </c:pt>
                <c:pt idx="353">
                  <c:v>0.208231</c:v>
                </c:pt>
                <c:pt idx="354">
                  <c:v>0.205844</c:v>
                </c:pt>
                <c:pt idx="355">
                  <c:v>0.20469999999999999</c:v>
                </c:pt>
                <c:pt idx="356">
                  <c:v>0.20766200000000001</c:v>
                </c:pt>
                <c:pt idx="357">
                  <c:v>0.20774100000000001</c:v>
                </c:pt>
                <c:pt idx="358">
                  <c:v>0.19758500000000001</c:v>
                </c:pt>
                <c:pt idx="359">
                  <c:v>0.20065</c:v>
                </c:pt>
                <c:pt idx="360">
                  <c:v>0.19813600000000001</c:v>
                </c:pt>
                <c:pt idx="361">
                  <c:v>0.201462</c:v>
                </c:pt>
                <c:pt idx="362">
                  <c:v>0.20630699999999999</c:v>
                </c:pt>
                <c:pt idx="363">
                  <c:v>0.20271700000000001</c:v>
                </c:pt>
                <c:pt idx="364">
                  <c:v>0.20319300000000001</c:v>
                </c:pt>
                <c:pt idx="365">
                  <c:v>0.205955</c:v>
                </c:pt>
                <c:pt idx="366">
                  <c:v>0.20407400000000001</c:v>
                </c:pt>
                <c:pt idx="367">
                  <c:v>0.19800000000000001</c:v>
                </c:pt>
                <c:pt idx="368">
                  <c:v>0.20625399999999999</c:v>
                </c:pt>
                <c:pt idx="369">
                  <c:v>0.20566300000000001</c:v>
                </c:pt>
                <c:pt idx="370">
                  <c:v>0.20605399999999999</c:v>
                </c:pt>
                <c:pt idx="371">
                  <c:v>0.201957</c:v>
                </c:pt>
                <c:pt idx="372">
                  <c:v>0.20808499999999999</c:v>
                </c:pt>
                <c:pt idx="373">
                  <c:v>0.20202200000000001</c:v>
                </c:pt>
                <c:pt idx="374">
                  <c:v>0.207014</c:v>
                </c:pt>
                <c:pt idx="375">
                  <c:v>0.20415700000000001</c:v>
                </c:pt>
                <c:pt idx="376">
                  <c:v>0.20283200000000001</c:v>
                </c:pt>
                <c:pt idx="377">
                  <c:v>0.203927</c:v>
                </c:pt>
                <c:pt idx="378">
                  <c:v>0.20668800000000001</c:v>
                </c:pt>
                <c:pt idx="379">
                  <c:v>0.20561199999999999</c:v>
                </c:pt>
                <c:pt idx="380">
                  <c:v>0.206543</c:v>
                </c:pt>
                <c:pt idx="381">
                  <c:v>0.202318</c:v>
                </c:pt>
                <c:pt idx="382">
                  <c:v>0.20577400000000001</c:v>
                </c:pt>
                <c:pt idx="383">
                  <c:v>0.20660000000000001</c:v>
                </c:pt>
                <c:pt idx="384">
                  <c:v>0.20630000000000001</c:v>
                </c:pt>
                <c:pt idx="385">
                  <c:v>0.20687800000000001</c:v>
                </c:pt>
                <c:pt idx="386">
                  <c:v>0.20494599999999999</c:v>
                </c:pt>
                <c:pt idx="387">
                  <c:v>0.20779700000000001</c:v>
                </c:pt>
                <c:pt idx="388">
                  <c:v>0.20849300000000001</c:v>
                </c:pt>
                <c:pt idx="389">
                  <c:v>0.20730699999999999</c:v>
                </c:pt>
                <c:pt idx="390">
                  <c:v>0.20537</c:v>
                </c:pt>
                <c:pt idx="391">
                  <c:v>0.207677</c:v>
                </c:pt>
                <c:pt idx="392">
                  <c:v>0.210309</c:v>
                </c:pt>
                <c:pt idx="393">
                  <c:v>0.21116699999999999</c:v>
                </c:pt>
                <c:pt idx="394">
                  <c:v>0.208816</c:v>
                </c:pt>
                <c:pt idx="395">
                  <c:v>0.20546800000000001</c:v>
                </c:pt>
                <c:pt idx="396">
                  <c:v>0.206424</c:v>
                </c:pt>
                <c:pt idx="397">
                  <c:v>0.208175</c:v>
                </c:pt>
                <c:pt idx="398">
                  <c:v>0.207339</c:v>
                </c:pt>
                <c:pt idx="399">
                  <c:v>0.206148</c:v>
                </c:pt>
                <c:pt idx="400">
                  <c:v>0.208148</c:v>
                </c:pt>
                <c:pt idx="401">
                  <c:v>0.20605899999999999</c:v>
                </c:pt>
                <c:pt idx="402">
                  <c:v>0.20855599999999999</c:v>
                </c:pt>
                <c:pt idx="403">
                  <c:v>0.20638500000000001</c:v>
                </c:pt>
                <c:pt idx="404">
                  <c:v>0.20718800000000001</c:v>
                </c:pt>
                <c:pt idx="405">
                  <c:v>0.20951500000000001</c:v>
                </c:pt>
                <c:pt idx="406">
                  <c:v>0.201988</c:v>
                </c:pt>
                <c:pt idx="407">
                  <c:v>0.20893700000000001</c:v>
                </c:pt>
                <c:pt idx="408">
                  <c:v>0.20909700000000001</c:v>
                </c:pt>
                <c:pt idx="409">
                  <c:v>0.20514499999999999</c:v>
                </c:pt>
                <c:pt idx="410">
                  <c:v>0.20661299999999999</c:v>
                </c:pt>
                <c:pt idx="411">
                  <c:v>0.20114000000000001</c:v>
                </c:pt>
                <c:pt idx="412">
                  <c:v>0.20841899999999999</c:v>
                </c:pt>
                <c:pt idx="413">
                  <c:v>0.208732</c:v>
                </c:pt>
                <c:pt idx="414">
                  <c:v>0.20771000000000001</c:v>
                </c:pt>
                <c:pt idx="415">
                  <c:v>0.206126</c:v>
                </c:pt>
                <c:pt idx="416">
                  <c:v>0.20463300000000001</c:v>
                </c:pt>
                <c:pt idx="417">
                  <c:v>0.20555300000000001</c:v>
                </c:pt>
                <c:pt idx="418">
                  <c:v>0.20171600000000001</c:v>
                </c:pt>
                <c:pt idx="419">
                  <c:v>0.20302000000000001</c:v>
                </c:pt>
                <c:pt idx="420">
                  <c:v>0.20097100000000001</c:v>
                </c:pt>
                <c:pt idx="421">
                  <c:v>0.20386499999999999</c:v>
                </c:pt>
                <c:pt idx="422">
                  <c:v>0.202935</c:v>
                </c:pt>
                <c:pt idx="423">
                  <c:v>0.20350599999999999</c:v>
                </c:pt>
                <c:pt idx="424">
                  <c:v>0.20192299999999999</c:v>
                </c:pt>
                <c:pt idx="425">
                  <c:v>0.199573</c:v>
                </c:pt>
                <c:pt idx="426">
                  <c:v>0.19960700000000001</c:v>
                </c:pt>
                <c:pt idx="427">
                  <c:v>0.20017699999999999</c:v>
                </c:pt>
                <c:pt idx="428">
                  <c:v>0.19897400000000001</c:v>
                </c:pt>
                <c:pt idx="429">
                  <c:v>0.19690299999999999</c:v>
                </c:pt>
                <c:pt idx="430">
                  <c:v>0.19883899999999999</c:v>
                </c:pt>
                <c:pt idx="431">
                  <c:v>0.19778699999999999</c:v>
                </c:pt>
                <c:pt idx="432">
                  <c:v>0.197716</c:v>
                </c:pt>
                <c:pt idx="433">
                  <c:v>0.199047</c:v>
                </c:pt>
                <c:pt idx="434">
                  <c:v>0.19737499999999999</c:v>
                </c:pt>
                <c:pt idx="435">
                  <c:v>0.19839399999999999</c:v>
                </c:pt>
                <c:pt idx="436">
                  <c:v>0.197135</c:v>
                </c:pt>
                <c:pt idx="437">
                  <c:v>0.19885800000000001</c:v>
                </c:pt>
                <c:pt idx="438">
                  <c:v>0.197325</c:v>
                </c:pt>
                <c:pt idx="439">
                  <c:v>0.19964399999999999</c:v>
                </c:pt>
                <c:pt idx="440">
                  <c:v>0.19905500000000001</c:v>
                </c:pt>
                <c:pt idx="441">
                  <c:v>0.201409</c:v>
                </c:pt>
                <c:pt idx="442">
                  <c:v>0.20161599999999999</c:v>
                </c:pt>
                <c:pt idx="443">
                  <c:v>0.201709</c:v>
                </c:pt>
                <c:pt idx="444">
                  <c:v>0.20536299999999999</c:v>
                </c:pt>
                <c:pt idx="445">
                  <c:v>0.20640600000000001</c:v>
                </c:pt>
                <c:pt idx="446">
                  <c:v>0.20671600000000001</c:v>
                </c:pt>
                <c:pt idx="447">
                  <c:v>0.20710600000000001</c:v>
                </c:pt>
                <c:pt idx="448">
                  <c:v>0.20500299999999999</c:v>
                </c:pt>
                <c:pt idx="449">
                  <c:v>0.20579700000000001</c:v>
                </c:pt>
                <c:pt idx="450">
                  <c:v>0.20596800000000001</c:v>
                </c:pt>
                <c:pt idx="451">
                  <c:v>0.20514399999999999</c:v>
                </c:pt>
                <c:pt idx="452">
                  <c:v>0.205231</c:v>
                </c:pt>
                <c:pt idx="453">
                  <c:v>0.20313200000000001</c:v>
                </c:pt>
                <c:pt idx="454">
                  <c:v>0.206066</c:v>
                </c:pt>
                <c:pt idx="455">
                  <c:v>0.20626900000000001</c:v>
                </c:pt>
                <c:pt idx="456">
                  <c:v>0.20808099999999999</c:v>
                </c:pt>
                <c:pt idx="457">
                  <c:v>0.20763799999999999</c:v>
                </c:pt>
                <c:pt idx="458">
                  <c:v>0.20662800000000001</c:v>
                </c:pt>
                <c:pt idx="459">
                  <c:v>0.206812</c:v>
                </c:pt>
                <c:pt idx="460">
                  <c:v>0.20368800000000001</c:v>
                </c:pt>
                <c:pt idx="461">
                  <c:v>0.199653</c:v>
                </c:pt>
                <c:pt idx="462">
                  <c:v>0.195022</c:v>
                </c:pt>
                <c:pt idx="463">
                  <c:v>0.19709699999999999</c:v>
                </c:pt>
                <c:pt idx="464">
                  <c:v>0.19320000000000001</c:v>
                </c:pt>
                <c:pt idx="465">
                  <c:v>0.19420599999999999</c:v>
                </c:pt>
                <c:pt idx="466">
                  <c:v>0.18978100000000001</c:v>
                </c:pt>
                <c:pt idx="467">
                  <c:v>0.18273200000000001</c:v>
                </c:pt>
                <c:pt idx="468">
                  <c:v>0.184809</c:v>
                </c:pt>
                <c:pt idx="469">
                  <c:v>0.18353800000000001</c:v>
                </c:pt>
                <c:pt idx="470">
                  <c:v>0.18381900000000001</c:v>
                </c:pt>
                <c:pt idx="471">
                  <c:v>0.17769399999999999</c:v>
                </c:pt>
                <c:pt idx="472">
                  <c:v>0.17557500000000001</c:v>
                </c:pt>
                <c:pt idx="473">
                  <c:v>0.180122</c:v>
                </c:pt>
                <c:pt idx="474">
                  <c:v>0.194881</c:v>
                </c:pt>
                <c:pt idx="475">
                  <c:v>0.18892200000000001</c:v>
                </c:pt>
                <c:pt idx="476">
                  <c:v>0.19104699999999999</c:v>
                </c:pt>
                <c:pt idx="477">
                  <c:v>0.18897800000000001</c:v>
                </c:pt>
                <c:pt idx="478">
                  <c:v>0.184115</c:v>
                </c:pt>
                <c:pt idx="479">
                  <c:v>0.18226700000000001</c:v>
                </c:pt>
                <c:pt idx="480">
                  <c:v>0.181003</c:v>
                </c:pt>
                <c:pt idx="481">
                  <c:v>0.178064</c:v>
                </c:pt>
                <c:pt idx="482">
                  <c:v>0.16756099999999999</c:v>
                </c:pt>
                <c:pt idx="483">
                  <c:v>0.17110900000000001</c:v>
                </c:pt>
                <c:pt idx="484">
                  <c:v>0.17191799999999999</c:v>
                </c:pt>
                <c:pt idx="485">
                  <c:v>0.16872999999999999</c:v>
                </c:pt>
                <c:pt idx="486">
                  <c:v>0.16514799999999999</c:v>
                </c:pt>
                <c:pt idx="487">
                  <c:v>0.15298500000000001</c:v>
                </c:pt>
                <c:pt idx="488">
                  <c:v>0.156664</c:v>
                </c:pt>
                <c:pt idx="489">
                  <c:v>0.15818299999999999</c:v>
                </c:pt>
                <c:pt idx="490">
                  <c:v>0.159218</c:v>
                </c:pt>
                <c:pt idx="491">
                  <c:v>0.15611800000000001</c:v>
                </c:pt>
                <c:pt idx="492">
                  <c:v>0.15274099999999999</c:v>
                </c:pt>
                <c:pt idx="493">
                  <c:v>0.151921</c:v>
                </c:pt>
                <c:pt idx="494">
                  <c:v>0.14965600000000001</c:v>
                </c:pt>
                <c:pt idx="495">
                  <c:v>0.150703</c:v>
                </c:pt>
                <c:pt idx="496">
                  <c:v>0.149535</c:v>
                </c:pt>
                <c:pt idx="497">
                  <c:v>0.15021200000000001</c:v>
                </c:pt>
                <c:pt idx="498">
                  <c:v>0.151476</c:v>
                </c:pt>
                <c:pt idx="499">
                  <c:v>0.151035</c:v>
                </c:pt>
                <c:pt idx="500">
                  <c:v>0.151282</c:v>
                </c:pt>
                <c:pt idx="501">
                  <c:v>0.14958199999999999</c:v>
                </c:pt>
                <c:pt idx="502">
                  <c:v>0.15027399999999999</c:v>
                </c:pt>
                <c:pt idx="503">
                  <c:v>0.15296399999999999</c:v>
                </c:pt>
                <c:pt idx="504">
                  <c:v>0.151148</c:v>
                </c:pt>
                <c:pt idx="505">
                  <c:v>0.15173600000000001</c:v>
                </c:pt>
                <c:pt idx="506">
                  <c:v>0.15159400000000001</c:v>
                </c:pt>
                <c:pt idx="507">
                  <c:v>0.151145</c:v>
                </c:pt>
                <c:pt idx="508">
                  <c:v>0.14624200000000001</c:v>
                </c:pt>
                <c:pt idx="509">
                  <c:v>0.14995600000000001</c:v>
                </c:pt>
                <c:pt idx="510">
                  <c:v>0.148758</c:v>
                </c:pt>
                <c:pt idx="511">
                  <c:v>0.14974100000000001</c:v>
                </c:pt>
                <c:pt idx="512">
                  <c:v>0.146952</c:v>
                </c:pt>
                <c:pt idx="513">
                  <c:v>0.14443800000000001</c:v>
                </c:pt>
                <c:pt idx="514">
                  <c:v>0.14211199999999999</c:v>
                </c:pt>
                <c:pt idx="515">
                  <c:v>0.143374</c:v>
                </c:pt>
                <c:pt idx="516">
                  <c:v>0.140176</c:v>
                </c:pt>
                <c:pt idx="517">
                  <c:v>0.139126</c:v>
                </c:pt>
                <c:pt idx="518">
                  <c:v>0.14455000000000001</c:v>
                </c:pt>
                <c:pt idx="519">
                  <c:v>0.16032099999999999</c:v>
                </c:pt>
                <c:pt idx="520">
                  <c:v>0.15254699999999999</c:v>
                </c:pt>
                <c:pt idx="521">
                  <c:v>0.14904500000000001</c:v>
                </c:pt>
                <c:pt idx="522">
                  <c:v>0.1469</c:v>
                </c:pt>
                <c:pt idx="523">
                  <c:v>0.149615</c:v>
                </c:pt>
                <c:pt idx="524">
                  <c:v>0.15179100000000001</c:v>
                </c:pt>
                <c:pt idx="525">
                  <c:v>0.14935200000000001</c:v>
                </c:pt>
                <c:pt idx="526">
                  <c:v>0.14893799999999999</c:v>
                </c:pt>
                <c:pt idx="527">
                  <c:v>0.14669099999999999</c:v>
                </c:pt>
                <c:pt idx="528">
                  <c:v>0.158084</c:v>
                </c:pt>
                <c:pt idx="529">
                  <c:v>0.16031300000000001</c:v>
                </c:pt>
                <c:pt idx="530">
                  <c:v>0.16664999999999999</c:v>
                </c:pt>
                <c:pt idx="531">
                  <c:v>0.16808699999999999</c:v>
                </c:pt>
                <c:pt idx="532">
                  <c:v>0.16794200000000001</c:v>
                </c:pt>
                <c:pt idx="533">
                  <c:v>0.16755999999999999</c:v>
                </c:pt>
                <c:pt idx="534">
                  <c:v>0.174261</c:v>
                </c:pt>
                <c:pt idx="535">
                  <c:v>0.17588100000000001</c:v>
                </c:pt>
                <c:pt idx="536">
                  <c:v>0.175569</c:v>
                </c:pt>
                <c:pt idx="537">
                  <c:v>0.17449600000000001</c:v>
                </c:pt>
                <c:pt idx="538">
                  <c:v>0.17459</c:v>
                </c:pt>
                <c:pt idx="539">
                  <c:v>0.18317700000000001</c:v>
                </c:pt>
                <c:pt idx="540">
                  <c:v>0.18348999999999999</c:v>
                </c:pt>
                <c:pt idx="541">
                  <c:v>0.18429300000000001</c:v>
                </c:pt>
                <c:pt idx="542">
                  <c:v>0.184529</c:v>
                </c:pt>
                <c:pt idx="543">
                  <c:v>0.186497</c:v>
                </c:pt>
                <c:pt idx="544">
                  <c:v>0.18454599999999999</c:v>
                </c:pt>
                <c:pt idx="545">
                  <c:v>0.18365200000000001</c:v>
                </c:pt>
                <c:pt idx="546">
                  <c:v>0.18234500000000001</c:v>
                </c:pt>
                <c:pt idx="547">
                  <c:v>0.18593799999999999</c:v>
                </c:pt>
                <c:pt idx="548">
                  <c:v>0.18526899999999999</c:v>
                </c:pt>
                <c:pt idx="549">
                  <c:v>0.18607499999999999</c:v>
                </c:pt>
                <c:pt idx="550">
                  <c:v>0.18620400000000001</c:v>
                </c:pt>
                <c:pt idx="551">
                  <c:v>0.187393</c:v>
                </c:pt>
                <c:pt idx="552">
                  <c:v>0.185554</c:v>
                </c:pt>
                <c:pt idx="553">
                  <c:v>0.188141</c:v>
                </c:pt>
                <c:pt idx="554">
                  <c:v>0.187636</c:v>
                </c:pt>
                <c:pt idx="555">
                  <c:v>0.186644</c:v>
                </c:pt>
                <c:pt idx="556">
                  <c:v>0.189027</c:v>
                </c:pt>
                <c:pt idx="557">
                  <c:v>0.18419199999999999</c:v>
                </c:pt>
                <c:pt idx="558">
                  <c:v>0.18749299999999999</c:v>
                </c:pt>
                <c:pt idx="559">
                  <c:v>0.18734999999999999</c:v>
                </c:pt>
                <c:pt idx="560">
                  <c:v>0.189721</c:v>
                </c:pt>
                <c:pt idx="561">
                  <c:v>0.18390000000000001</c:v>
                </c:pt>
                <c:pt idx="562">
                  <c:v>0.18674099999999999</c:v>
                </c:pt>
                <c:pt idx="563">
                  <c:v>0.184257</c:v>
                </c:pt>
                <c:pt idx="564">
                  <c:v>0.187357</c:v>
                </c:pt>
                <c:pt idx="565">
                  <c:v>0.18648200000000001</c:v>
                </c:pt>
                <c:pt idx="566">
                  <c:v>0.18230399999999999</c:v>
                </c:pt>
                <c:pt idx="567">
                  <c:v>0.192187</c:v>
                </c:pt>
                <c:pt idx="568">
                  <c:v>0.185444</c:v>
                </c:pt>
                <c:pt idx="569">
                  <c:v>0.18540699999999999</c:v>
                </c:pt>
                <c:pt idx="570">
                  <c:v>0.19172900000000001</c:v>
                </c:pt>
                <c:pt idx="571">
                  <c:v>0.1852</c:v>
                </c:pt>
                <c:pt idx="572">
                  <c:v>0.183556</c:v>
                </c:pt>
                <c:pt idx="573">
                  <c:v>0.18595600000000001</c:v>
                </c:pt>
                <c:pt idx="574">
                  <c:v>0.18334300000000001</c:v>
                </c:pt>
                <c:pt idx="575">
                  <c:v>0.18424599999999999</c:v>
                </c:pt>
                <c:pt idx="576">
                  <c:v>0.18616099999999999</c:v>
                </c:pt>
                <c:pt idx="577">
                  <c:v>0.18029300000000001</c:v>
                </c:pt>
                <c:pt idx="578">
                  <c:v>0.184896</c:v>
                </c:pt>
                <c:pt idx="579">
                  <c:v>0.18529999999999999</c:v>
                </c:pt>
                <c:pt idx="580">
                  <c:v>0.187588</c:v>
                </c:pt>
                <c:pt idx="581">
                  <c:v>0.18636800000000001</c:v>
                </c:pt>
                <c:pt idx="582">
                  <c:v>0.18374499999999999</c:v>
                </c:pt>
                <c:pt idx="583">
                  <c:v>0.18604799999999999</c:v>
                </c:pt>
                <c:pt idx="584">
                  <c:v>0.18274099999999999</c:v>
                </c:pt>
                <c:pt idx="585">
                  <c:v>0.18590000000000001</c:v>
                </c:pt>
                <c:pt idx="586">
                  <c:v>0.185527</c:v>
                </c:pt>
                <c:pt idx="587">
                  <c:v>0.18462200000000001</c:v>
                </c:pt>
                <c:pt idx="588">
                  <c:v>0.18727099999999999</c:v>
                </c:pt>
                <c:pt idx="589">
                  <c:v>0.18474099999999999</c:v>
                </c:pt>
                <c:pt idx="590">
                  <c:v>0.184785</c:v>
                </c:pt>
                <c:pt idx="591">
                  <c:v>0.18723799999999999</c:v>
                </c:pt>
                <c:pt idx="592">
                  <c:v>0.18620700000000001</c:v>
                </c:pt>
                <c:pt idx="593">
                  <c:v>0.18620700000000001</c:v>
                </c:pt>
                <c:pt idx="594">
                  <c:v>0.18784100000000001</c:v>
                </c:pt>
                <c:pt idx="595">
                  <c:v>0.18609999999999999</c:v>
                </c:pt>
                <c:pt idx="596">
                  <c:v>0.187615</c:v>
                </c:pt>
                <c:pt idx="597">
                  <c:v>0.189641</c:v>
                </c:pt>
                <c:pt idx="598">
                  <c:v>0.18846299999999999</c:v>
                </c:pt>
                <c:pt idx="599">
                  <c:v>0.18729299999999999</c:v>
                </c:pt>
                <c:pt idx="600">
                  <c:v>0.1888</c:v>
                </c:pt>
                <c:pt idx="601">
                  <c:v>0.19040699999999999</c:v>
                </c:pt>
                <c:pt idx="602">
                  <c:v>0.19147900000000001</c:v>
                </c:pt>
                <c:pt idx="603">
                  <c:v>0.19198899999999999</c:v>
                </c:pt>
                <c:pt idx="604">
                  <c:v>0.19055</c:v>
                </c:pt>
                <c:pt idx="605">
                  <c:v>0.19290399999999999</c:v>
                </c:pt>
                <c:pt idx="606">
                  <c:v>0.19295599999999999</c:v>
                </c:pt>
                <c:pt idx="607">
                  <c:v>0.192859</c:v>
                </c:pt>
                <c:pt idx="608">
                  <c:v>0.19412299999999999</c:v>
                </c:pt>
                <c:pt idx="609">
                  <c:v>0.18976899999999999</c:v>
                </c:pt>
                <c:pt idx="610">
                  <c:v>0.19118099999999999</c:v>
                </c:pt>
                <c:pt idx="611">
                  <c:v>0.19442799999999999</c:v>
                </c:pt>
                <c:pt idx="612">
                  <c:v>0.19409599999999999</c:v>
                </c:pt>
                <c:pt idx="613">
                  <c:v>0.193104</c:v>
                </c:pt>
                <c:pt idx="614">
                  <c:v>0.191415</c:v>
                </c:pt>
                <c:pt idx="615">
                  <c:v>0.19542100000000001</c:v>
                </c:pt>
                <c:pt idx="616">
                  <c:v>0.19556799999999999</c:v>
                </c:pt>
                <c:pt idx="617">
                  <c:v>0.19788600000000001</c:v>
                </c:pt>
                <c:pt idx="618">
                  <c:v>0.19773299999999999</c:v>
                </c:pt>
                <c:pt idx="619">
                  <c:v>0.19350000000000001</c:v>
                </c:pt>
                <c:pt idx="620">
                  <c:v>0.19711000000000001</c:v>
                </c:pt>
                <c:pt idx="621">
                  <c:v>0.19817499999999999</c:v>
                </c:pt>
                <c:pt idx="622">
                  <c:v>0.20205799999999999</c:v>
                </c:pt>
                <c:pt idx="623">
                  <c:v>0.19656799999999999</c:v>
                </c:pt>
                <c:pt idx="624">
                  <c:v>0.197213</c:v>
                </c:pt>
                <c:pt idx="625">
                  <c:v>0.19536899999999999</c:v>
                </c:pt>
                <c:pt idx="626">
                  <c:v>0.19246099999999999</c:v>
                </c:pt>
                <c:pt idx="627">
                  <c:v>0.193634</c:v>
                </c:pt>
                <c:pt idx="628">
                  <c:v>0.19092899999999999</c:v>
                </c:pt>
                <c:pt idx="629">
                  <c:v>0.19007499999999999</c:v>
                </c:pt>
                <c:pt idx="630">
                  <c:v>0.189945</c:v>
                </c:pt>
                <c:pt idx="631">
                  <c:v>0.18148</c:v>
                </c:pt>
                <c:pt idx="632">
                  <c:v>0.186976</c:v>
                </c:pt>
                <c:pt idx="633">
                  <c:v>0.18874099999999999</c:v>
                </c:pt>
                <c:pt idx="634">
                  <c:v>0.18853</c:v>
                </c:pt>
                <c:pt idx="635">
                  <c:v>0.18942999999999999</c:v>
                </c:pt>
                <c:pt idx="636">
                  <c:v>0.187329</c:v>
                </c:pt>
                <c:pt idx="637">
                  <c:v>0.190134</c:v>
                </c:pt>
                <c:pt idx="638">
                  <c:v>0.19064500000000001</c:v>
                </c:pt>
                <c:pt idx="639">
                  <c:v>0.19056100000000001</c:v>
                </c:pt>
                <c:pt idx="640">
                  <c:v>0.191334</c:v>
                </c:pt>
                <c:pt idx="641">
                  <c:v>0.19605</c:v>
                </c:pt>
                <c:pt idx="642">
                  <c:v>0.19647899999999999</c:v>
                </c:pt>
                <c:pt idx="643">
                  <c:v>0.197828</c:v>
                </c:pt>
                <c:pt idx="644">
                  <c:v>0.19690299999999999</c:v>
                </c:pt>
                <c:pt idx="645">
                  <c:v>0.1988</c:v>
                </c:pt>
                <c:pt idx="646">
                  <c:v>0.19778299999999999</c:v>
                </c:pt>
                <c:pt idx="647">
                  <c:v>0.198383</c:v>
                </c:pt>
                <c:pt idx="648">
                  <c:v>0.19686899999999999</c:v>
                </c:pt>
                <c:pt idx="649">
                  <c:v>0.19880999999999999</c:v>
                </c:pt>
                <c:pt idx="650">
                  <c:v>0.196465</c:v>
                </c:pt>
                <c:pt idx="651">
                  <c:v>0.19661300000000001</c:v>
                </c:pt>
                <c:pt idx="652">
                  <c:v>0.19687199999999999</c:v>
                </c:pt>
                <c:pt idx="653">
                  <c:v>0.19506699999999999</c:v>
                </c:pt>
                <c:pt idx="654">
                  <c:v>0.19552</c:v>
                </c:pt>
                <c:pt idx="655">
                  <c:v>0.196071</c:v>
                </c:pt>
                <c:pt idx="656">
                  <c:v>0.19558700000000001</c:v>
                </c:pt>
                <c:pt idx="657">
                  <c:v>0.196765</c:v>
                </c:pt>
                <c:pt idx="658">
                  <c:v>0.19913</c:v>
                </c:pt>
                <c:pt idx="659">
                  <c:v>0.2</c:v>
                </c:pt>
                <c:pt idx="660">
                  <c:v>0.19692999999999999</c:v>
                </c:pt>
                <c:pt idx="661">
                  <c:v>0.19725999999999999</c:v>
                </c:pt>
                <c:pt idx="662">
                  <c:v>0.19789999999999999</c:v>
                </c:pt>
                <c:pt idx="663">
                  <c:v>0.198377</c:v>
                </c:pt>
                <c:pt idx="664">
                  <c:v>0.19922300000000001</c:v>
                </c:pt>
                <c:pt idx="665">
                  <c:v>0.19753799999999999</c:v>
                </c:pt>
                <c:pt idx="666">
                  <c:v>0.198352</c:v>
                </c:pt>
                <c:pt idx="667">
                  <c:v>0.198267</c:v>
                </c:pt>
                <c:pt idx="668">
                  <c:v>0.19520699999999999</c:v>
                </c:pt>
                <c:pt idx="669">
                  <c:v>0.19585</c:v>
                </c:pt>
                <c:pt idx="670">
                  <c:v>0.19594200000000001</c:v>
                </c:pt>
                <c:pt idx="671">
                  <c:v>0.198043</c:v>
                </c:pt>
                <c:pt idx="672">
                  <c:v>0.195159</c:v>
                </c:pt>
                <c:pt idx="673">
                  <c:v>0.192132</c:v>
                </c:pt>
                <c:pt idx="674">
                  <c:v>0.19147</c:v>
                </c:pt>
                <c:pt idx="675">
                  <c:v>0.191797</c:v>
                </c:pt>
                <c:pt idx="676">
                  <c:v>0.195026</c:v>
                </c:pt>
                <c:pt idx="677">
                  <c:v>0.197578</c:v>
                </c:pt>
                <c:pt idx="678">
                  <c:v>0.19762299999999999</c:v>
                </c:pt>
                <c:pt idx="679">
                  <c:v>0.19839300000000001</c:v>
                </c:pt>
                <c:pt idx="680">
                  <c:v>0.22047800000000001</c:v>
                </c:pt>
                <c:pt idx="681">
                  <c:v>0.21492900000000001</c:v>
                </c:pt>
                <c:pt idx="682">
                  <c:v>0.210731</c:v>
                </c:pt>
                <c:pt idx="683">
                  <c:v>0.21404400000000001</c:v>
                </c:pt>
                <c:pt idx="684">
                  <c:v>0.20935899999999999</c:v>
                </c:pt>
                <c:pt idx="685">
                  <c:v>0.21072299999999999</c:v>
                </c:pt>
                <c:pt idx="686">
                  <c:v>0.21079999999999999</c:v>
                </c:pt>
                <c:pt idx="687">
                  <c:v>0.21032100000000001</c:v>
                </c:pt>
                <c:pt idx="688">
                  <c:v>0.21141799999999999</c:v>
                </c:pt>
                <c:pt idx="689">
                  <c:v>0.21134800000000001</c:v>
                </c:pt>
                <c:pt idx="690">
                  <c:v>0.21129400000000001</c:v>
                </c:pt>
                <c:pt idx="691">
                  <c:v>0.211033</c:v>
                </c:pt>
                <c:pt idx="692">
                  <c:v>0.21441499999999999</c:v>
                </c:pt>
                <c:pt idx="693">
                  <c:v>0.21562100000000001</c:v>
                </c:pt>
                <c:pt idx="694">
                  <c:v>0.21312900000000001</c:v>
                </c:pt>
                <c:pt idx="695">
                  <c:v>0.216475</c:v>
                </c:pt>
                <c:pt idx="696">
                  <c:v>0.21656800000000001</c:v>
                </c:pt>
                <c:pt idx="697">
                  <c:v>0.21340000000000001</c:v>
                </c:pt>
                <c:pt idx="698">
                  <c:v>0.21338199999999999</c:v>
                </c:pt>
                <c:pt idx="699">
                  <c:v>0.21325</c:v>
                </c:pt>
                <c:pt idx="700">
                  <c:v>0.21679100000000001</c:v>
                </c:pt>
                <c:pt idx="701">
                  <c:v>0.21756700000000001</c:v>
                </c:pt>
                <c:pt idx="702">
                  <c:v>0.216859</c:v>
                </c:pt>
                <c:pt idx="703">
                  <c:v>0.21412100000000001</c:v>
                </c:pt>
                <c:pt idx="704">
                  <c:v>0.20793800000000001</c:v>
                </c:pt>
                <c:pt idx="705">
                  <c:v>0.21138499999999999</c:v>
                </c:pt>
                <c:pt idx="706">
                  <c:v>0.20798800000000001</c:v>
                </c:pt>
                <c:pt idx="707">
                  <c:v>0.210397</c:v>
                </c:pt>
                <c:pt idx="708">
                  <c:v>0.206867</c:v>
                </c:pt>
                <c:pt idx="709">
                  <c:v>0.20565</c:v>
                </c:pt>
                <c:pt idx="710">
                  <c:v>0.206397</c:v>
                </c:pt>
                <c:pt idx="711">
                  <c:v>0.20790800000000001</c:v>
                </c:pt>
                <c:pt idx="712">
                  <c:v>0.20671900000000001</c:v>
                </c:pt>
                <c:pt idx="713">
                  <c:v>0.20714099999999999</c:v>
                </c:pt>
                <c:pt idx="714">
                  <c:v>0.206514</c:v>
                </c:pt>
                <c:pt idx="715">
                  <c:v>0.206371</c:v>
                </c:pt>
                <c:pt idx="716">
                  <c:v>0.20882700000000001</c:v>
                </c:pt>
                <c:pt idx="717">
                  <c:v>0.21176900000000001</c:v>
                </c:pt>
                <c:pt idx="718">
                  <c:v>0.20776</c:v>
                </c:pt>
                <c:pt idx="719">
                  <c:v>0.21294099999999999</c:v>
                </c:pt>
                <c:pt idx="720">
                  <c:v>0.219418</c:v>
                </c:pt>
                <c:pt idx="721">
                  <c:v>0.21645</c:v>
                </c:pt>
                <c:pt idx="722">
                  <c:v>0.21698200000000001</c:v>
                </c:pt>
                <c:pt idx="723">
                  <c:v>0.215089</c:v>
                </c:pt>
                <c:pt idx="724">
                  <c:v>0.21604200000000001</c:v>
                </c:pt>
                <c:pt idx="725">
                  <c:v>0.21344199999999999</c:v>
                </c:pt>
                <c:pt idx="726">
                  <c:v>0.21749399999999999</c:v>
                </c:pt>
                <c:pt idx="727">
                  <c:v>0.213476</c:v>
                </c:pt>
                <c:pt idx="728">
                  <c:v>0.21452599999999999</c:v>
                </c:pt>
                <c:pt idx="729">
                  <c:v>0.21496399999999999</c:v>
                </c:pt>
                <c:pt idx="730">
                  <c:v>0.21394099999999999</c:v>
                </c:pt>
                <c:pt idx="731">
                  <c:v>0.21515000000000001</c:v>
                </c:pt>
                <c:pt idx="732">
                  <c:v>0.216312</c:v>
                </c:pt>
                <c:pt idx="733">
                  <c:v>0.21770800000000001</c:v>
                </c:pt>
                <c:pt idx="734">
                  <c:v>0.219637</c:v>
                </c:pt>
                <c:pt idx="735">
                  <c:v>0.21826999999999999</c:v>
                </c:pt>
                <c:pt idx="736">
                  <c:v>0.221606</c:v>
                </c:pt>
                <c:pt idx="737">
                  <c:v>0.221494</c:v>
                </c:pt>
                <c:pt idx="738">
                  <c:v>0.22415299999999999</c:v>
                </c:pt>
                <c:pt idx="739">
                  <c:v>0.22136400000000001</c:v>
                </c:pt>
                <c:pt idx="740">
                  <c:v>0.22437699999999999</c:v>
                </c:pt>
                <c:pt idx="741">
                  <c:v>0.222774</c:v>
                </c:pt>
                <c:pt idx="742">
                  <c:v>0.22042600000000001</c:v>
                </c:pt>
                <c:pt idx="743">
                  <c:v>0.21627099999999999</c:v>
                </c:pt>
                <c:pt idx="744">
                  <c:v>0.21929999999999999</c:v>
                </c:pt>
                <c:pt idx="745">
                  <c:v>0.21713199999999999</c:v>
                </c:pt>
                <c:pt idx="746">
                  <c:v>0.220388</c:v>
                </c:pt>
                <c:pt idx="747">
                  <c:v>0.22079699999999999</c:v>
                </c:pt>
                <c:pt idx="748">
                  <c:v>0.22306599999999999</c:v>
                </c:pt>
                <c:pt idx="749">
                  <c:v>0.21942900000000001</c:v>
                </c:pt>
                <c:pt idx="750">
                  <c:v>0.21989700000000001</c:v>
                </c:pt>
                <c:pt idx="751">
                  <c:v>0.21798600000000001</c:v>
                </c:pt>
                <c:pt idx="752">
                  <c:v>0.21176900000000001</c:v>
                </c:pt>
                <c:pt idx="753">
                  <c:v>0.22240299999999999</c:v>
                </c:pt>
                <c:pt idx="754">
                  <c:v>0.21985399999999999</c:v>
                </c:pt>
                <c:pt idx="755">
                  <c:v>0.21568799999999999</c:v>
                </c:pt>
                <c:pt idx="756">
                  <c:v>0.21835599999999999</c:v>
                </c:pt>
                <c:pt idx="757">
                  <c:v>0.220194</c:v>
                </c:pt>
                <c:pt idx="758">
                  <c:v>0.22193099999999999</c:v>
                </c:pt>
                <c:pt idx="759">
                  <c:v>0.221806</c:v>
                </c:pt>
                <c:pt idx="760">
                  <c:v>0.218415</c:v>
                </c:pt>
                <c:pt idx="761">
                  <c:v>0.21759100000000001</c:v>
                </c:pt>
                <c:pt idx="762">
                  <c:v>0.21787899999999999</c:v>
                </c:pt>
                <c:pt idx="763">
                  <c:v>0.21528800000000001</c:v>
                </c:pt>
                <c:pt idx="764">
                  <c:v>0.214116</c:v>
                </c:pt>
                <c:pt idx="765">
                  <c:v>0.21728700000000001</c:v>
                </c:pt>
                <c:pt idx="766">
                  <c:v>0.22197600000000001</c:v>
                </c:pt>
                <c:pt idx="767">
                  <c:v>0.218412</c:v>
                </c:pt>
                <c:pt idx="768">
                  <c:v>0.21746499999999999</c:v>
                </c:pt>
                <c:pt idx="769">
                  <c:v>0.21473200000000001</c:v>
                </c:pt>
                <c:pt idx="770">
                  <c:v>0.209921</c:v>
                </c:pt>
                <c:pt idx="771">
                  <c:v>0.21717400000000001</c:v>
                </c:pt>
                <c:pt idx="772">
                  <c:v>0.21756300000000001</c:v>
                </c:pt>
                <c:pt idx="773">
                  <c:v>0.21698999999999999</c:v>
                </c:pt>
                <c:pt idx="774">
                  <c:v>0.21385499999999999</c:v>
                </c:pt>
                <c:pt idx="775">
                  <c:v>0.21240300000000001</c:v>
                </c:pt>
                <c:pt idx="776">
                  <c:v>0.21717700000000001</c:v>
                </c:pt>
                <c:pt idx="777">
                  <c:v>0.214529</c:v>
                </c:pt>
                <c:pt idx="778">
                  <c:v>0.217803</c:v>
                </c:pt>
                <c:pt idx="779">
                  <c:v>0.21667400000000001</c:v>
                </c:pt>
                <c:pt idx="780">
                  <c:v>0.212755</c:v>
                </c:pt>
                <c:pt idx="781">
                  <c:v>0.21335499999999999</c:v>
                </c:pt>
                <c:pt idx="782">
                  <c:v>0.21745900000000001</c:v>
                </c:pt>
                <c:pt idx="783">
                  <c:v>0.213894</c:v>
                </c:pt>
                <c:pt idx="784">
                  <c:v>0.210484</c:v>
                </c:pt>
                <c:pt idx="785">
                  <c:v>0.210647</c:v>
                </c:pt>
                <c:pt idx="786">
                  <c:v>0.203984</c:v>
                </c:pt>
                <c:pt idx="787">
                  <c:v>0.209013</c:v>
                </c:pt>
                <c:pt idx="788">
                  <c:v>0.20952799999999999</c:v>
                </c:pt>
                <c:pt idx="789">
                  <c:v>0.207177</c:v>
                </c:pt>
                <c:pt idx="790">
                  <c:v>0.20930000000000001</c:v>
                </c:pt>
                <c:pt idx="791">
                  <c:v>0.20797099999999999</c:v>
                </c:pt>
                <c:pt idx="792">
                  <c:v>0.20711499999999999</c:v>
                </c:pt>
                <c:pt idx="793">
                  <c:v>0.206014</c:v>
                </c:pt>
                <c:pt idx="794">
                  <c:v>0.20736599999999999</c:v>
                </c:pt>
                <c:pt idx="795">
                  <c:v>0.20394000000000001</c:v>
                </c:pt>
                <c:pt idx="796">
                  <c:v>0.206428</c:v>
                </c:pt>
                <c:pt idx="797">
                  <c:v>0.207097</c:v>
                </c:pt>
                <c:pt idx="798">
                  <c:v>0.205207</c:v>
                </c:pt>
                <c:pt idx="799">
                  <c:v>0.207955</c:v>
                </c:pt>
                <c:pt idx="800">
                  <c:v>0.21117900000000001</c:v>
                </c:pt>
                <c:pt idx="801">
                  <c:v>0.21584999999999999</c:v>
                </c:pt>
                <c:pt idx="802">
                  <c:v>0.21737899999999999</c:v>
                </c:pt>
                <c:pt idx="803">
                  <c:v>0.21875700000000001</c:v>
                </c:pt>
                <c:pt idx="804">
                  <c:v>0.21840699999999999</c:v>
                </c:pt>
                <c:pt idx="805">
                  <c:v>0.21706300000000001</c:v>
                </c:pt>
                <c:pt idx="806">
                  <c:v>0.216778</c:v>
                </c:pt>
                <c:pt idx="807">
                  <c:v>0.21352699999999999</c:v>
                </c:pt>
                <c:pt idx="808">
                  <c:v>0.21180399999999999</c:v>
                </c:pt>
                <c:pt idx="809">
                  <c:v>0.212619</c:v>
                </c:pt>
                <c:pt idx="810">
                  <c:v>0.215277</c:v>
                </c:pt>
                <c:pt idx="811">
                  <c:v>0.21713399999999999</c:v>
                </c:pt>
                <c:pt idx="812">
                  <c:v>0.217753</c:v>
                </c:pt>
                <c:pt idx="813">
                  <c:v>0.219106</c:v>
                </c:pt>
                <c:pt idx="814">
                  <c:v>0.224685</c:v>
                </c:pt>
                <c:pt idx="815">
                  <c:v>0.21923000000000001</c:v>
                </c:pt>
                <c:pt idx="816">
                  <c:v>0.22358800000000001</c:v>
                </c:pt>
                <c:pt idx="817">
                  <c:v>0.22478799999999999</c:v>
                </c:pt>
                <c:pt idx="818">
                  <c:v>0.22911200000000001</c:v>
                </c:pt>
                <c:pt idx="819">
                  <c:v>0.226994</c:v>
                </c:pt>
                <c:pt idx="820">
                  <c:v>0.225772</c:v>
                </c:pt>
                <c:pt idx="821">
                  <c:v>0.233212</c:v>
                </c:pt>
                <c:pt idx="822">
                  <c:v>0.23219999999999999</c:v>
                </c:pt>
                <c:pt idx="823">
                  <c:v>0.229767</c:v>
                </c:pt>
                <c:pt idx="824">
                  <c:v>0.22639999999999999</c:v>
                </c:pt>
                <c:pt idx="825">
                  <c:v>0.22676399999999999</c:v>
                </c:pt>
                <c:pt idx="826">
                  <c:v>0.225577</c:v>
                </c:pt>
                <c:pt idx="827">
                  <c:v>0.22480600000000001</c:v>
                </c:pt>
                <c:pt idx="828">
                  <c:v>0.22478899999999999</c:v>
                </c:pt>
                <c:pt idx="829">
                  <c:v>0.22684000000000001</c:v>
                </c:pt>
                <c:pt idx="830">
                  <c:v>0.22412000000000001</c:v>
                </c:pt>
                <c:pt idx="831">
                  <c:v>0.227794</c:v>
                </c:pt>
                <c:pt idx="832">
                  <c:v>0.22494500000000001</c:v>
                </c:pt>
                <c:pt idx="833">
                  <c:v>0.22784099999999999</c:v>
                </c:pt>
                <c:pt idx="834">
                  <c:v>0.22717899999999999</c:v>
                </c:pt>
                <c:pt idx="835">
                  <c:v>0.227071</c:v>
                </c:pt>
                <c:pt idx="836">
                  <c:v>0.22936599999999999</c:v>
                </c:pt>
                <c:pt idx="837">
                  <c:v>0.23261100000000001</c:v>
                </c:pt>
                <c:pt idx="838">
                  <c:v>0.23488200000000001</c:v>
                </c:pt>
                <c:pt idx="839">
                  <c:v>0.236183</c:v>
                </c:pt>
                <c:pt idx="840">
                  <c:v>0.234267</c:v>
                </c:pt>
                <c:pt idx="841">
                  <c:v>0.23106499999999999</c:v>
                </c:pt>
                <c:pt idx="842">
                  <c:v>0.22716600000000001</c:v>
                </c:pt>
                <c:pt idx="843">
                  <c:v>0.23469999999999999</c:v>
                </c:pt>
                <c:pt idx="844">
                  <c:v>0.23106699999999999</c:v>
                </c:pt>
                <c:pt idx="845">
                  <c:v>0.23066900000000001</c:v>
                </c:pt>
                <c:pt idx="846">
                  <c:v>0.231629</c:v>
                </c:pt>
                <c:pt idx="847">
                  <c:v>0.22981399999999999</c:v>
                </c:pt>
                <c:pt idx="848">
                  <c:v>0.23787700000000001</c:v>
                </c:pt>
                <c:pt idx="849">
                  <c:v>0.23551800000000001</c:v>
                </c:pt>
                <c:pt idx="850">
                  <c:v>0.23460800000000001</c:v>
                </c:pt>
                <c:pt idx="851">
                  <c:v>0.239624</c:v>
                </c:pt>
                <c:pt idx="852">
                  <c:v>0.23874400000000001</c:v>
                </c:pt>
                <c:pt idx="853">
                  <c:v>0.23885600000000001</c:v>
                </c:pt>
                <c:pt idx="854">
                  <c:v>0.23810300000000001</c:v>
                </c:pt>
                <c:pt idx="855">
                  <c:v>0.24102599999999999</c:v>
                </c:pt>
                <c:pt idx="856">
                  <c:v>0.241338</c:v>
                </c:pt>
                <c:pt idx="857">
                  <c:v>0.24071799999999999</c:v>
                </c:pt>
                <c:pt idx="858">
                  <c:v>0.23863699999999999</c:v>
                </c:pt>
                <c:pt idx="859">
                  <c:v>0.24062600000000001</c:v>
                </c:pt>
                <c:pt idx="860">
                  <c:v>0.24244099999999999</c:v>
                </c:pt>
                <c:pt idx="861">
                  <c:v>0.24172399999999999</c:v>
                </c:pt>
                <c:pt idx="862">
                  <c:v>0.24379000000000001</c:v>
                </c:pt>
                <c:pt idx="863">
                  <c:v>0.24502699999999999</c:v>
                </c:pt>
                <c:pt idx="864">
                  <c:v>0.23965600000000001</c:v>
                </c:pt>
                <c:pt idx="865">
                  <c:v>0.241947</c:v>
                </c:pt>
                <c:pt idx="866">
                  <c:v>0.24152799999999999</c:v>
                </c:pt>
                <c:pt idx="867">
                  <c:v>0.241594</c:v>
                </c:pt>
                <c:pt idx="868">
                  <c:v>0.24070900000000001</c:v>
                </c:pt>
                <c:pt idx="869">
                  <c:v>0.24066699999999999</c:v>
                </c:pt>
                <c:pt idx="870">
                  <c:v>0.24440000000000001</c:v>
                </c:pt>
                <c:pt idx="871">
                  <c:v>0.24018500000000001</c:v>
                </c:pt>
                <c:pt idx="872">
                  <c:v>0.24227299999999999</c:v>
                </c:pt>
                <c:pt idx="873">
                  <c:v>0.24063899999999999</c:v>
                </c:pt>
                <c:pt idx="874">
                  <c:v>0.24292800000000001</c:v>
                </c:pt>
                <c:pt idx="875">
                  <c:v>0.24255299999999999</c:v>
                </c:pt>
                <c:pt idx="876">
                  <c:v>0.24682499999999999</c:v>
                </c:pt>
                <c:pt idx="877">
                  <c:v>0.24757000000000001</c:v>
                </c:pt>
                <c:pt idx="878">
                  <c:v>0.24726200000000001</c:v>
                </c:pt>
                <c:pt idx="879">
                  <c:v>0.247832</c:v>
                </c:pt>
                <c:pt idx="880">
                  <c:v>0.25271300000000002</c:v>
                </c:pt>
                <c:pt idx="881">
                  <c:v>0.25264999999999999</c:v>
                </c:pt>
                <c:pt idx="882">
                  <c:v>0.25291000000000002</c:v>
                </c:pt>
                <c:pt idx="883">
                  <c:v>0.249975</c:v>
                </c:pt>
                <c:pt idx="884">
                  <c:v>0.25090699999999999</c:v>
                </c:pt>
                <c:pt idx="885">
                  <c:v>0.24967400000000001</c:v>
                </c:pt>
                <c:pt idx="886">
                  <c:v>0.24959999999999999</c:v>
                </c:pt>
                <c:pt idx="887">
                  <c:v>0.249109</c:v>
                </c:pt>
                <c:pt idx="888">
                  <c:v>0.24585799999999999</c:v>
                </c:pt>
                <c:pt idx="889">
                  <c:v>0.24412200000000001</c:v>
                </c:pt>
                <c:pt idx="890">
                  <c:v>0.244806</c:v>
                </c:pt>
                <c:pt idx="891">
                  <c:v>0.24354300000000001</c:v>
                </c:pt>
                <c:pt idx="892">
                  <c:v>0.24030000000000001</c:v>
                </c:pt>
                <c:pt idx="893">
                  <c:v>0.23818400000000001</c:v>
                </c:pt>
                <c:pt idx="894">
                  <c:v>0.23353599999999999</c:v>
                </c:pt>
                <c:pt idx="895">
                  <c:v>0.235184</c:v>
                </c:pt>
                <c:pt idx="896">
                  <c:v>0.23369100000000001</c:v>
                </c:pt>
                <c:pt idx="897">
                  <c:v>0.23083999999999999</c:v>
                </c:pt>
                <c:pt idx="898">
                  <c:v>0.23128799999999999</c:v>
                </c:pt>
                <c:pt idx="899">
                  <c:v>0.23094999999999999</c:v>
                </c:pt>
                <c:pt idx="900">
                  <c:v>0.23216899999999999</c:v>
                </c:pt>
                <c:pt idx="901">
                  <c:v>0.232955</c:v>
                </c:pt>
                <c:pt idx="902">
                  <c:v>0.23366300000000001</c:v>
                </c:pt>
                <c:pt idx="903">
                  <c:v>0.23416899999999999</c:v>
                </c:pt>
                <c:pt idx="904">
                  <c:v>0.23390900000000001</c:v>
                </c:pt>
                <c:pt idx="905">
                  <c:v>0.23137199999999999</c:v>
                </c:pt>
                <c:pt idx="906">
                  <c:v>0.23233799999999999</c:v>
                </c:pt>
                <c:pt idx="907">
                  <c:v>0.23050300000000001</c:v>
                </c:pt>
                <c:pt idx="908">
                  <c:v>0.22852600000000001</c:v>
                </c:pt>
                <c:pt idx="909">
                  <c:v>0.22587499999999999</c:v>
                </c:pt>
                <c:pt idx="910">
                  <c:v>0.226412</c:v>
                </c:pt>
                <c:pt idx="911">
                  <c:v>0.22506100000000001</c:v>
                </c:pt>
                <c:pt idx="912">
                  <c:v>0.22591</c:v>
                </c:pt>
                <c:pt idx="913">
                  <c:v>0.22563</c:v>
                </c:pt>
                <c:pt idx="914">
                  <c:v>0.22561300000000001</c:v>
                </c:pt>
                <c:pt idx="915">
                  <c:v>0.226358</c:v>
                </c:pt>
                <c:pt idx="916">
                  <c:v>0.22525200000000001</c:v>
                </c:pt>
                <c:pt idx="917">
                  <c:v>0.22824800000000001</c:v>
                </c:pt>
                <c:pt idx="918">
                  <c:v>0.22876299999999999</c:v>
                </c:pt>
                <c:pt idx="919">
                  <c:v>0.230652</c:v>
                </c:pt>
                <c:pt idx="920">
                  <c:v>0.231097</c:v>
                </c:pt>
                <c:pt idx="921">
                  <c:v>0.230545</c:v>
                </c:pt>
                <c:pt idx="922">
                  <c:v>0.22667100000000001</c:v>
                </c:pt>
                <c:pt idx="923">
                  <c:v>0.22969000000000001</c:v>
                </c:pt>
                <c:pt idx="924">
                  <c:v>0.22867599999999999</c:v>
                </c:pt>
                <c:pt idx="925">
                  <c:v>0.22662599999999999</c:v>
                </c:pt>
                <c:pt idx="926">
                  <c:v>0.224971</c:v>
                </c:pt>
                <c:pt idx="927">
                  <c:v>0.22331300000000001</c:v>
                </c:pt>
                <c:pt idx="928">
                  <c:v>0.220912</c:v>
                </c:pt>
                <c:pt idx="929">
                  <c:v>0.22387199999999999</c:v>
                </c:pt>
                <c:pt idx="930">
                  <c:v>0.22711300000000001</c:v>
                </c:pt>
                <c:pt idx="931">
                  <c:v>0.227739</c:v>
                </c:pt>
                <c:pt idx="932">
                  <c:v>0.22938700000000001</c:v>
                </c:pt>
                <c:pt idx="933">
                  <c:v>0.23078099999999999</c:v>
                </c:pt>
                <c:pt idx="934">
                  <c:v>0.233067</c:v>
                </c:pt>
                <c:pt idx="935">
                  <c:v>0.23222799999999999</c:v>
                </c:pt>
                <c:pt idx="936">
                  <c:v>0.23369300000000001</c:v>
                </c:pt>
                <c:pt idx="937">
                  <c:v>0.233458</c:v>
                </c:pt>
                <c:pt idx="938">
                  <c:v>0.22397700000000001</c:v>
                </c:pt>
                <c:pt idx="939">
                  <c:v>0.22122800000000001</c:v>
                </c:pt>
                <c:pt idx="940">
                  <c:v>0.22973499999999999</c:v>
                </c:pt>
                <c:pt idx="941">
                  <c:v>0.22866400000000001</c:v>
                </c:pt>
                <c:pt idx="942">
                  <c:v>0.22405800000000001</c:v>
                </c:pt>
                <c:pt idx="943">
                  <c:v>0.221994</c:v>
                </c:pt>
                <c:pt idx="944">
                  <c:v>0.224055</c:v>
                </c:pt>
                <c:pt idx="945">
                  <c:v>0.22464000000000001</c:v>
                </c:pt>
                <c:pt idx="946">
                  <c:v>0.224547</c:v>
                </c:pt>
                <c:pt idx="947">
                  <c:v>0.218193</c:v>
                </c:pt>
                <c:pt idx="948">
                  <c:v>0.22527700000000001</c:v>
                </c:pt>
                <c:pt idx="949">
                  <c:v>0.221916</c:v>
                </c:pt>
                <c:pt idx="950">
                  <c:v>0.22104699999999999</c:v>
                </c:pt>
                <c:pt idx="951">
                  <c:v>0.222273</c:v>
                </c:pt>
                <c:pt idx="952">
                  <c:v>0.222222</c:v>
                </c:pt>
                <c:pt idx="953">
                  <c:v>0.22497</c:v>
                </c:pt>
                <c:pt idx="954">
                  <c:v>0.22342300000000001</c:v>
                </c:pt>
                <c:pt idx="955">
                  <c:v>0.22158</c:v>
                </c:pt>
                <c:pt idx="956">
                  <c:v>0.22192300000000001</c:v>
                </c:pt>
                <c:pt idx="957">
                  <c:v>0.218471</c:v>
                </c:pt>
                <c:pt idx="958">
                  <c:v>0.22526499999999999</c:v>
                </c:pt>
                <c:pt idx="959">
                  <c:v>0.220912</c:v>
                </c:pt>
                <c:pt idx="960">
                  <c:v>0.227993</c:v>
                </c:pt>
                <c:pt idx="961">
                  <c:v>0.224719</c:v>
                </c:pt>
                <c:pt idx="962">
                  <c:v>0.22475700000000001</c:v>
                </c:pt>
                <c:pt idx="963">
                  <c:v>0.220577</c:v>
                </c:pt>
                <c:pt idx="964">
                  <c:v>0.22523399999999999</c:v>
                </c:pt>
                <c:pt idx="965">
                  <c:v>0.22577</c:v>
                </c:pt>
                <c:pt idx="966">
                  <c:v>0.22711400000000001</c:v>
                </c:pt>
                <c:pt idx="967">
                  <c:v>0.22576299999999999</c:v>
                </c:pt>
                <c:pt idx="968">
                  <c:v>0.225969</c:v>
                </c:pt>
                <c:pt idx="969">
                  <c:v>0.22755</c:v>
                </c:pt>
                <c:pt idx="970">
                  <c:v>0.22764300000000001</c:v>
                </c:pt>
                <c:pt idx="971">
                  <c:v>0.22688</c:v>
                </c:pt>
                <c:pt idx="972">
                  <c:v>0.224804</c:v>
                </c:pt>
                <c:pt idx="973">
                  <c:v>0.22353100000000001</c:v>
                </c:pt>
                <c:pt idx="974">
                  <c:v>0.22220300000000001</c:v>
                </c:pt>
                <c:pt idx="975">
                  <c:v>0.225107</c:v>
                </c:pt>
                <c:pt idx="976">
                  <c:v>0.22431100000000001</c:v>
                </c:pt>
                <c:pt idx="977">
                  <c:v>0.22458700000000001</c:v>
                </c:pt>
                <c:pt idx="978">
                  <c:v>0.211843</c:v>
                </c:pt>
                <c:pt idx="979">
                  <c:v>0.22323899999999999</c:v>
                </c:pt>
                <c:pt idx="980">
                  <c:v>0.22283</c:v>
                </c:pt>
                <c:pt idx="981">
                  <c:v>0.22320400000000001</c:v>
                </c:pt>
                <c:pt idx="982">
                  <c:v>0.21836800000000001</c:v>
                </c:pt>
                <c:pt idx="983">
                  <c:v>0.222076</c:v>
                </c:pt>
                <c:pt idx="984">
                  <c:v>0.22388</c:v>
                </c:pt>
                <c:pt idx="985">
                  <c:v>0.22248100000000001</c:v>
                </c:pt>
                <c:pt idx="986">
                  <c:v>0.22178500000000001</c:v>
                </c:pt>
                <c:pt idx="987">
                  <c:v>0.22267500000000001</c:v>
                </c:pt>
                <c:pt idx="988">
                  <c:v>0.22204399999999999</c:v>
                </c:pt>
                <c:pt idx="989">
                  <c:v>0.22320400000000001</c:v>
                </c:pt>
                <c:pt idx="990">
                  <c:v>0.22201399999999999</c:v>
                </c:pt>
                <c:pt idx="991">
                  <c:v>0.22234400000000001</c:v>
                </c:pt>
                <c:pt idx="992">
                  <c:v>0.223971</c:v>
                </c:pt>
                <c:pt idx="993">
                  <c:v>0.22436900000000001</c:v>
                </c:pt>
                <c:pt idx="994">
                  <c:v>0.22422</c:v>
                </c:pt>
                <c:pt idx="995">
                  <c:v>0.226244</c:v>
                </c:pt>
                <c:pt idx="996">
                  <c:v>0.22406799999999999</c:v>
                </c:pt>
                <c:pt idx="997">
                  <c:v>0.22053800000000001</c:v>
                </c:pt>
                <c:pt idx="998">
                  <c:v>0.22417000000000001</c:v>
                </c:pt>
                <c:pt idx="999">
                  <c:v>0.223554</c:v>
                </c:pt>
                <c:pt idx="1000">
                  <c:v>0.22097</c:v>
                </c:pt>
                <c:pt idx="1001">
                  <c:v>0.22184799999999999</c:v>
                </c:pt>
                <c:pt idx="1002">
                  <c:v>0.22334000000000001</c:v>
                </c:pt>
                <c:pt idx="1003">
                  <c:v>0.222168</c:v>
                </c:pt>
                <c:pt idx="1004">
                  <c:v>0.22323499999999999</c:v>
                </c:pt>
                <c:pt idx="1005">
                  <c:v>0.21957699999999999</c:v>
                </c:pt>
                <c:pt idx="1006">
                  <c:v>0.22043599999999999</c:v>
                </c:pt>
                <c:pt idx="1007">
                  <c:v>0.22167300000000001</c:v>
                </c:pt>
                <c:pt idx="1008">
                  <c:v>0.22373699999999999</c:v>
                </c:pt>
                <c:pt idx="1009">
                  <c:v>0.223496</c:v>
                </c:pt>
                <c:pt idx="1010">
                  <c:v>0.221</c:v>
                </c:pt>
                <c:pt idx="1011">
                  <c:v>0.22354599999999999</c:v>
                </c:pt>
                <c:pt idx="1012">
                  <c:v>0.22592699999999999</c:v>
                </c:pt>
                <c:pt idx="1013">
                  <c:v>0.224463</c:v>
                </c:pt>
                <c:pt idx="1014">
                  <c:v>0.22522800000000001</c:v>
                </c:pt>
                <c:pt idx="1015">
                  <c:v>0.224604</c:v>
                </c:pt>
                <c:pt idx="1016">
                  <c:v>0.22756999999999999</c:v>
                </c:pt>
                <c:pt idx="1017">
                  <c:v>0.22698099999999999</c:v>
                </c:pt>
                <c:pt idx="1018">
                  <c:v>0.22659199999999999</c:v>
                </c:pt>
                <c:pt idx="1019">
                  <c:v>0.22520000000000001</c:v>
                </c:pt>
                <c:pt idx="1020">
                  <c:v>0.22584499999999999</c:v>
                </c:pt>
                <c:pt idx="1021">
                  <c:v>0.226461</c:v>
                </c:pt>
                <c:pt idx="1022">
                  <c:v>0.22567000000000001</c:v>
                </c:pt>
                <c:pt idx="1023">
                  <c:v>0.224632</c:v>
                </c:pt>
                <c:pt idx="1024">
                  <c:v>0.22467400000000001</c:v>
                </c:pt>
                <c:pt idx="1025">
                  <c:v>0.22417899999999999</c:v>
                </c:pt>
                <c:pt idx="1026">
                  <c:v>0.224248</c:v>
                </c:pt>
                <c:pt idx="1027">
                  <c:v>0.22326499999999999</c:v>
                </c:pt>
                <c:pt idx="1028">
                  <c:v>0.224052</c:v>
                </c:pt>
                <c:pt idx="1029">
                  <c:v>0.22233600000000001</c:v>
                </c:pt>
                <c:pt idx="1030">
                  <c:v>0.22317000000000001</c:v>
                </c:pt>
                <c:pt idx="1031">
                  <c:v>0.22393199999999999</c:v>
                </c:pt>
                <c:pt idx="1032">
                  <c:v>0.22320899999999999</c:v>
                </c:pt>
                <c:pt idx="1033">
                  <c:v>0.22334200000000001</c:v>
                </c:pt>
                <c:pt idx="1034">
                  <c:v>0.22264200000000001</c:v>
                </c:pt>
                <c:pt idx="1035">
                  <c:v>0.22065000000000001</c:v>
                </c:pt>
                <c:pt idx="1036">
                  <c:v>0.223276</c:v>
                </c:pt>
                <c:pt idx="1037">
                  <c:v>0.21810499999999999</c:v>
                </c:pt>
                <c:pt idx="1038">
                  <c:v>0.22350400000000001</c:v>
                </c:pt>
                <c:pt idx="1039">
                  <c:v>0.22251399999999999</c:v>
                </c:pt>
                <c:pt idx="1040">
                  <c:v>0.22245200000000001</c:v>
                </c:pt>
                <c:pt idx="1041">
                  <c:v>0.22248200000000001</c:v>
                </c:pt>
                <c:pt idx="1042">
                  <c:v>0.22006200000000001</c:v>
                </c:pt>
                <c:pt idx="1043">
                  <c:v>0.222055</c:v>
                </c:pt>
                <c:pt idx="1044">
                  <c:v>0.220605</c:v>
                </c:pt>
                <c:pt idx="1045">
                  <c:v>0.22068399999999999</c:v>
                </c:pt>
                <c:pt idx="1046">
                  <c:v>0.22011500000000001</c:v>
                </c:pt>
                <c:pt idx="1047">
                  <c:v>0.21981500000000001</c:v>
                </c:pt>
                <c:pt idx="1048">
                  <c:v>0.21837699999999999</c:v>
                </c:pt>
                <c:pt idx="1049">
                  <c:v>0.219306</c:v>
                </c:pt>
                <c:pt idx="1050">
                  <c:v>0.219557</c:v>
                </c:pt>
                <c:pt idx="1051">
                  <c:v>0.21720500000000001</c:v>
                </c:pt>
                <c:pt idx="1052">
                  <c:v>0.21908</c:v>
                </c:pt>
                <c:pt idx="1053">
                  <c:v>0.21829499999999999</c:v>
                </c:pt>
                <c:pt idx="1054">
                  <c:v>0.22062499999999999</c:v>
                </c:pt>
                <c:pt idx="1055">
                  <c:v>0.22209999999999999</c:v>
                </c:pt>
                <c:pt idx="1056">
                  <c:v>0.221271</c:v>
                </c:pt>
                <c:pt idx="1057">
                  <c:v>0.22305</c:v>
                </c:pt>
                <c:pt idx="1058">
                  <c:v>0.22590499999999999</c:v>
                </c:pt>
                <c:pt idx="1059">
                  <c:v>0.22735900000000001</c:v>
                </c:pt>
                <c:pt idx="1060">
                  <c:v>0.225352</c:v>
                </c:pt>
                <c:pt idx="1061">
                  <c:v>0.22789599999999999</c:v>
                </c:pt>
                <c:pt idx="1062">
                  <c:v>0.22619500000000001</c:v>
                </c:pt>
                <c:pt idx="1063">
                  <c:v>0.22606999999999999</c:v>
                </c:pt>
                <c:pt idx="1064">
                  <c:v>0.22662499999999999</c:v>
                </c:pt>
                <c:pt idx="1065">
                  <c:v>0.228183</c:v>
                </c:pt>
                <c:pt idx="1066">
                  <c:v>0.22842699999999999</c:v>
                </c:pt>
                <c:pt idx="1067">
                  <c:v>0.231183</c:v>
                </c:pt>
                <c:pt idx="1068">
                  <c:v>0.23177</c:v>
                </c:pt>
                <c:pt idx="1069">
                  <c:v>0.23128699999999999</c:v>
                </c:pt>
                <c:pt idx="1070">
                  <c:v>0.23211699999999999</c:v>
                </c:pt>
                <c:pt idx="1071">
                  <c:v>0.232238</c:v>
                </c:pt>
                <c:pt idx="1072">
                  <c:v>0.232958</c:v>
                </c:pt>
                <c:pt idx="1073">
                  <c:v>0.23543500000000001</c:v>
                </c:pt>
                <c:pt idx="1074">
                  <c:v>0.23484099999999999</c:v>
                </c:pt>
                <c:pt idx="1075">
                  <c:v>0.239311</c:v>
                </c:pt>
                <c:pt idx="1076">
                  <c:v>0.240729</c:v>
                </c:pt>
                <c:pt idx="1077">
                  <c:v>0.25111699999999998</c:v>
                </c:pt>
                <c:pt idx="1078">
                  <c:v>0.24548600000000001</c:v>
                </c:pt>
                <c:pt idx="1079">
                  <c:v>0.25150800000000001</c:v>
                </c:pt>
                <c:pt idx="1080">
                  <c:v>0.25167800000000001</c:v>
                </c:pt>
                <c:pt idx="1081">
                  <c:v>0.25123800000000002</c:v>
                </c:pt>
                <c:pt idx="1082">
                  <c:v>0.253077</c:v>
                </c:pt>
                <c:pt idx="1083">
                  <c:v>0.242365</c:v>
                </c:pt>
                <c:pt idx="1084">
                  <c:v>0.25015199999999999</c:v>
                </c:pt>
                <c:pt idx="1085">
                  <c:v>0.25127699999999997</c:v>
                </c:pt>
                <c:pt idx="1086">
                  <c:v>0.25386300000000001</c:v>
                </c:pt>
                <c:pt idx="1087">
                  <c:v>0.255326</c:v>
                </c:pt>
                <c:pt idx="1088">
                  <c:v>0.25491399999999997</c:v>
                </c:pt>
                <c:pt idx="1089">
                  <c:v>0.25295699999999999</c:v>
                </c:pt>
                <c:pt idx="1090">
                  <c:v>0.25105899999999998</c:v>
                </c:pt>
                <c:pt idx="1091">
                  <c:v>0.252946</c:v>
                </c:pt>
                <c:pt idx="1092">
                  <c:v>0.25111699999999998</c:v>
                </c:pt>
                <c:pt idx="1093">
                  <c:v>0.25039499999999998</c:v>
                </c:pt>
                <c:pt idx="1094">
                  <c:v>0.25107699999999999</c:v>
                </c:pt>
                <c:pt idx="1095">
                  <c:v>0.25359599999999999</c:v>
                </c:pt>
                <c:pt idx="1096">
                  <c:v>0.25445200000000001</c:v>
                </c:pt>
                <c:pt idx="1097">
                  <c:v>0.25703300000000001</c:v>
                </c:pt>
                <c:pt idx="1098">
                  <c:v>0.260326</c:v>
                </c:pt>
                <c:pt idx="1099">
                  <c:v>0.26842700000000003</c:v>
                </c:pt>
                <c:pt idx="1100">
                  <c:v>0.26665</c:v>
                </c:pt>
                <c:pt idx="1101">
                  <c:v>0.26756999999999997</c:v>
                </c:pt>
                <c:pt idx="1102">
                  <c:v>0.26579599999999998</c:v>
                </c:pt>
                <c:pt idx="1103">
                  <c:v>0.26729999999999998</c:v>
                </c:pt>
                <c:pt idx="1104">
                  <c:v>0.26196000000000003</c:v>
                </c:pt>
                <c:pt idx="1105">
                  <c:v>0.26193899999999998</c:v>
                </c:pt>
                <c:pt idx="1106">
                  <c:v>0.26179999999999998</c:v>
                </c:pt>
                <c:pt idx="1107">
                  <c:v>0.259357</c:v>
                </c:pt>
                <c:pt idx="1108">
                  <c:v>0.25948700000000002</c:v>
                </c:pt>
                <c:pt idx="1109">
                  <c:v>0.260488</c:v>
                </c:pt>
                <c:pt idx="1110">
                  <c:v>0.26394000000000001</c:v>
                </c:pt>
                <c:pt idx="1111">
                  <c:v>0.26536300000000002</c:v>
                </c:pt>
                <c:pt idx="1112">
                  <c:v>0.26816299999999998</c:v>
                </c:pt>
                <c:pt idx="1113">
                  <c:v>0.27291300000000002</c:v>
                </c:pt>
                <c:pt idx="1114">
                  <c:v>0.27622400000000003</c:v>
                </c:pt>
                <c:pt idx="1115">
                  <c:v>0.27834999999999999</c:v>
                </c:pt>
                <c:pt idx="1116">
                  <c:v>0.27871200000000002</c:v>
                </c:pt>
                <c:pt idx="1117">
                  <c:v>0.27589200000000003</c:v>
                </c:pt>
                <c:pt idx="1118">
                  <c:v>0.28002899999999997</c:v>
                </c:pt>
                <c:pt idx="1119">
                  <c:v>0.28070000000000001</c:v>
                </c:pt>
                <c:pt idx="1120">
                  <c:v>0.28122399999999997</c:v>
                </c:pt>
                <c:pt idx="1121">
                  <c:v>0.28168300000000002</c:v>
                </c:pt>
                <c:pt idx="1122">
                  <c:v>0.27745500000000001</c:v>
                </c:pt>
                <c:pt idx="1123">
                  <c:v>0.280445</c:v>
                </c:pt>
                <c:pt idx="1124">
                  <c:v>0.27824300000000002</c:v>
                </c:pt>
                <c:pt idx="1125">
                  <c:v>0.27877099999999999</c:v>
                </c:pt>
                <c:pt idx="1126">
                  <c:v>0.277229</c:v>
                </c:pt>
                <c:pt idx="1127">
                  <c:v>0.276642</c:v>
                </c:pt>
                <c:pt idx="1128">
                  <c:v>0.27235900000000002</c:v>
                </c:pt>
                <c:pt idx="1129">
                  <c:v>0.27575899999999998</c:v>
                </c:pt>
                <c:pt idx="1130">
                  <c:v>0.27307700000000001</c:v>
                </c:pt>
                <c:pt idx="1131">
                  <c:v>0.27384999999999998</c:v>
                </c:pt>
                <c:pt idx="1132">
                  <c:v>0.27582600000000002</c:v>
                </c:pt>
                <c:pt idx="1133">
                  <c:v>0.27599200000000002</c:v>
                </c:pt>
                <c:pt idx="1134">
                  <c:v>0.276895</c:v>
                </c:pt>
                <c:pt idx="1135">
                  <c:v>0.276563</c:v>
                </c:pt>
                <c:pt idx="1136">
                  <c:v>0.276314</c:v>
                </c:pt>
                <c:pt idx="1137">
                  <c:v>0.27609600000000001</c:v>
                </c:pt>
                <c:pt idx="1138">
                  <c:v>0.27152599999999999</c:v>
                </c:pt>
                <c:pt idx="1139">
                  <c:v>0.27379999999999999</c:v>
                </c:pt>
                <c:pt idx="1140">
                  <c:v>0.274474</c:v>
                </c:pt>
                <c:pt idx="1141">
                  <c:v>0.27076099999999997</c:v>
                </c:pt>
                <c:pt idx="1142">
                  <c:v>0.269677</c:v>
                </c:pt>
                <c:pt idx="1143">
                  <c:v>0.26937499999999998</c:v>
                </c:pt>
                <c:pt idx="1144">
                  <c:v>0.26872000000000001</c:v>
                </c:pt>
                <c:pt idx="1145">
                  <c:v>0.25892300000000001</c:v>
                </c:pt>
                <c:pt idx="1146">
                  <c:v>0.25978299999999999</c:v>
                </c:pt>
                <c:pt idx="1147">
                  <c:v>0.26205000000000001</c:v>
                </c:pt>
                <c:pt idx="1148">
                  <c:v>0.26867799999999997</c:v>
                </c:pt>
                <c:pt idx="1149">
                  <c:v>0.26789499999999999</c:v>
                </c:pt>
                <c:pt idx="1150">
                  <c:v>0.26972200000000002</c:v>
                </c:pt>
                <c:pt idx="1151">
                  <c:v>0.27081699999999997</c:v>
                </c:pt>
                <c:pt idx="1152">
                  <c:v>0.27148600000000001</c:v>
                </c:pt>
                <c:pt idx="1153">
                  <c:v>0.27472800000000003</c:v>
                </c:pt>
                <c:pt idx="1154">
                  <c:v>0.27427400000000002</c:v>
                </c:pt>
                <c:pt idx="1155">
                  <c:v>0.28265000000000001</c:v>
                </c:pt>
                <c:pt idx="1156">
                  <c:v>0.26884999999999998</c:v>
                </c:pt>
                <c:pt idx="1157">
                  <c:v>0.27361000000000002</c:v>
                </c:pt>
                <c:pt idx="1158">
                  <c:v>0.27647699999999997</c:v>
                </c:pt>
                <c:pt idx="1159">
                  <c:v>0.27971000000000001</c:v>
                </c:pt>
                <c:pt idx="1160">
                  <c:v>0.27836</c:v>
                </c:pt>
                <c:pt idx="1161">
                  <c:v>0.27759499999999998</c:v>
                </c:pt>
                <c:pt idx="1162">
                  <c:v>0.27669500000000002</c:v>
                </c:pt>
                <c:pt idx="1163">
                  <c:v>0.27427099999999999</c:v>
                </c:pt>
                <c:pt idx="1164">
                  <c:v>0.27058300000000002</c:v>
                </c:pt>
                <c:pt idx="1165">
                  <c:v>0.27515000000000001</c:v>
                </c:pt>
                <c:pt idx="1166">
                  <c:v>0.27035199999999998</c:v>
                </c:pt>
                <c:pt idx="1167">
                  <c:v>0.27518500000000001</c:v>
                </c:pt>
                <c:pt idx="1168">
                  <c:v>0.2742</c:v>
                </c:pt>
                <c:pt idx="1169">
                  <c:v>0.2737</c:v>
                </c:pt>
                <c:pt idx="1170">
                  <c:v>0.27344099999999999</c:v>
                </c:pt>
                <c:pt idx="1171">
                  <c:v>0.27398499999999998</c:v>
                </c:pt>
                <c:pt idx="1172">
                  <c:v>0.27339999999999998</c:v>
                </c:pt>
                <c:pt idx="1173">
                  <c:v>0.25678099999999998</c:v>
                </c:pt>
                <c:pt idx="1174">
                  <c:v>0.269847</c:v>
                </c:pt>
                <c:pt idx="1175">
                  <c:v>0.27150800000000003</c:v>
                </c:pt>
                <c:pt idx="1176">
                  <c:v>0.26774999999999999</c:v>
                </c:pt>
                <c:pt idx="1177">
                  <c:v>0.26724799999999999</c:v>
                </c:pt>
                <c:pt idx="1178">
                  <c:v>0.265544</c:v>
                </c:pt>
                <c:pt idx="1179">
                  <c:v>0.268152</c:v>
                </c:pt>
                <c:pt idx="1180">
                  <c:v>0.26746500000000001</c:v>
                </c:pt>
                <c:pt idx="1181">
                  <c:v>0.26461299999999999</c:v>
                </c:pt>
                <c:pt idx="1182">
                  <c:v>0.26409500000000002</c:v>
                </c:pt>
                <c:pt idx="1183">
                  <c:v>0.26605699999999999</c:v>
                </c:pt>
                <c:pt idx="1184">
                  <c:v>0.26391999999999999</c:v>
                </c:pt>
                <c:pt idx="1185">
                  <c:v>0.26031399999999999</c:v>
                </c:pt>
                <c:pt idx="1186">
                  <c:v>0.26649099999999998</c:v>
                </c:pt>
                <c:pt idx="1187">
                  <c:v>0.26372499999999999</c:v>
                </c:pt>
                <c:pt idx="1188">
                  <c:v>0.26068999999999998</c:v>
                </c:pt>
                <c:pt idx="1189">
                  <c:v>0.25978600000000002</c:v>
                </c:pt>
                <c:pt idx="1190">
                  <c:v>0.258853</c:v>
                </c:pt>
                <c:pt idx="1191">
                  <c:v>0.26625199999999999</c:v>
                </c:pt>
                <c:pt idx="1192">
                  <c:v>0.25836399999999998</c:v>
                </c:pt>
                <c:pt idx="1193">
                  <c:v>0.26520500000000002</c:v>
                </c:pt>
                <c:pt idx="1194">
                  <c:v>0.26413599999999998</c:v>
                </c:pt>
                <c:pt idx="1195">
                  <c:v>0.26329999999999998</c:v>
                </c:pt>
                <c:pt idx="1196">
                  <c:v>0.26378699999999999</c:v>
                </c:pt>
                <c:pt idx="1197">
                  <c:v>0.26244299999999998</c:v>
                </c:pt>
                <c:pt idx="1198">
                  <c:v>0.26284800000000003</c:v>
                </c:pt>
                <c:pt idx="1199">
                  <c:v>0.26043300000000003</c:v>
                </c:pt>
                <c:pt idx="1200">
                  <c:v>0.26266200000000001</c:v>
                </c:pt>
                <c:pt idx="1201">
                  <c:v>0.26343800000000001</c:v>
                </c:pt>
                <c:pt idx="1202">
                  <c:v>0.26460400000000001</c:v>
                </c:pt>
                <c:pt idx="1203">
                  <c:v>0.26306400000000002</c:v>
                </c:pt>
                <c:pt idx="1204">
                  <c:v>0.26455800000000002</c:v>
                </c:pt>
                <c:pt idx="1205">
                  <c:v>0.26314100000000001</c:v>
                </c:pt>
                <c:pt idx="1206">
                  <c:v>0.26272099999999998</c:v>
                </c:pt>
                <c:pt idx="1207">
                  <c:v>0.26219599999999998</c:v>
                </c:pt>
                <c:pt idx="1208">
                  <c:v>0.26116400000000001</c:v>
                </c:pt>
                <c:pt idx="1209">
                  <c:v>0.26121699999999998</c:v>
                </c:pt>
                <c:pt idx="1210">
                  <c:v>0.26458999999999999</c:v>
                </c:pt>
                <c:pt idx="1211">
                  <c:v>0.26411800000000002</c:v>
                </c:pt>
                <c:pt idx="1212">
                  <c:v>0.25746200000000002</c:v>
                </c:pt>
                <c:pt idx="1213">
                  <c:v>0.259635</c:v>
                </c:pt>
                <c:pt idx="1214">
                  <c:v>0.258878</c:v>
                </c:pt>
                <c:pt idx="1215">
                  <c:v>0.258077</c:v>
                </c:pt>
                <c:pt idx="1216">
                  <c:v>0.26001299999999999</c:v>
                </c:pt>
                <c:pt idx="1217">
                  <c:v>0.25565199999999999</c:v>
                </c:pt>
                <c:pt idx="1218">
                  <c:v>0.257905</c:v>
                </c:pt>
                <c:pt idx="1219">
                  <c:v>0.256691</c:v>
                </c:pt>
                <c:pt idx="1220">
                  <c:v>0.25537300000000002</c:v>
                </c:pt>
                <c:pt idx="1221">
                  <c:v>0.25782300000000002</c:v>
                </c:pt>
                <c:pt idx="1222">
                  <c:v>0.25530000000000003</c:v>
                </c:pt>
                <c:pt idx="1223">
                  <c:v>0.25371700000000003</c:v>
                </c:pt>
                <c:pt idx="1224">
                  <c:v>0.25467000000000001</c:v>
                </c:pt>
                <c:pt idx="1225">
                  <c:v>0.25351000000000001</c:v>
                </c:pt>
                <c:pt idx="1226">
                  <c:v>0.25152600000000003</c:v>
                </c:pt>
                <c:pt idx="1227">
                  <c:v>0.25361899999999998</c:v>
                </c:pt>
                <c:pt idx="1228">
                  <c:v>0.25305499999999997</c:v>
                </c:pt>
                <c:pt idx="1229">
                  <c:v>0.25161800000000001</c:v>
                </c:pt>
                <c:pt idx="1230">
                  <c:v>0.25101400000000001</c:v>
                </c:pt>
                <c:pt idx="1231">
                  <c:v>0.25196499999999999</c:v>
                </c:pt>
                <c:pt idx="1232">
                  <c:v>0.25037799999999999</c:v>
                </c:pt>
                <c:pt idx="1233">
                  <c:v>0.250614</c:v>
                </c:pt>
                <c:pt idx="1234">
                  <c:v>0.24998100000000001</c:v>
                </c:pt>
                <c:pt idx="1235">
                  <c:v>0.249361</c:v>
                </c:pt>
                <c:pt idx="1236">
                  <c:v>0.247309</c:v>
                </c:pt>
                <c:pt idx="1237">
                  <c:v>0.24620900000000001</c:v>
                </c:pt>
                <c:pt idx="1238">
                  <c:v>0.24778500000000001</c:v>
                </c:pt>
                <c:pt idx="1239">
                  <c:v>0.245786</c:v>
                </c:pt>
                <c:pt idx="1240">
                  <c:v>0.24491099999999999</c:v>
                </c:pt>
                <c:pt idx="1241">
                  <c:v>0.24449000000000001</c:v>
                </c:pt>
                <c:pt idx="1242">
                  <c:v>0.24574799999999999</c:v>
                </c:pt>
                <c:pt idx="1243">
                  <c:v>0.24563499999999999</c:v>
                </c:pt>
                <c:pt idx="1244">
                  <c:v>0.245667</c:v>
                </c:pt>
                <c:pt idx="1245">
                  <c:v>0.24296799999999999</c:v>
                </c:pt>
                <c:pt idx="1246">
                  <c:v>0.246283</c:v>
                </c:pt>
                <c:pt idx="1247">
                  <c:v>0.24490000000000001</c:v>
                </c:pt>
                <c:pt idx="1248">
                  <c:v>0.243648</c:v>
                </c:pt>
                <c:pt idx="1249">
                  <c:v>0.242728</c:v>
                </c:pt>
                <c:pt idx="1250">
                  <c:v>0.24241399999999999</c:v>
                </c:pt>
                <c:pt idx="1251">
                  <c:v>0.23722599999999999</c:v>
                </c:pt>
                <c:pt idx="1252">
                  <c:v>0.24230499999999999</c:v>
                </c:pt>
                <c:pt idx="1253">
                  <c:v>0.24162900000000001</c:v>
                </c:pt>
                <c:pt idx="1254">
                  <c:v>0.242255</c:v>
                </c:pt>
                <c:pt idx="1255">
                  <c:v>0.24073900000000001</c:v>
                </c:pt>
                <c:pt idx="1256">
                  <c:v>0.24066699999999999</c:v>
                </c:pt>
                <c:pt idx="1257">
                  <c:v>0.24133199999999999</c:v>
                </c:pt>
                <c:pt idx="1258">
                  <c:v>0.24037800000000001</c:v>
                </c:pt>
                <c:pt idx="1259">
                  <c:v>0.24389</c:v>
                </c:pt>
                <c:pt idx="1260">
                  <c:v>0.24193700000000001</c:v>
                </c:pt>
                <c:pt idx="1261">
                  <c:v>0.24291099999999999</c:v>
                </c:pt>
                <c:pt idx="1262">
                  <c:v>0.243368</c:v>
                </c:pt>
                <c:pt idx="1263">
                  <c:v>0.24443300000000001</c:v>
                </c:pt>
                <c:pt idx="1264">
                  <c:v>0.245167</c:v>
                </c:pt>
                <c:pt idx="1265">
                  <c:v>0.251967</c:v>
                </c:pt>
                <c:pt idx="1266">
                  <c:v>0.24915499999999999</c:v>
                </c:pt>
                <c:pt idx="1267">
                  <c:v>0.251305</c:v>
                </c:pt>
                <c:pt idx="1268">
                  <c:v>0.25540000000000002</c:v>
                </c:pt>
                <c:pt idx="1269">
                  <c:v>0.25641000000000003</c:v>
                </c:pt>
                <c:pt idx="1270">
                  <c:v>0.26006099999999999</c:v>
                </c:pt>
                <c:pt idx="1271">
                  <c:v>0.260932</c:v>
                </c:pt>
                <c:pt idx="1272">
                  <c:v>0.26099499999999998</c:v>
                </c:pt>
                <c:pt idx="1273">
                  <c:v>0.26194499999999998</c:v>
                </c:pt>
                <c:pt idx="1274">
                  <c:v>0.25968400000000003</c:v>
                </c:pt>
                <c:pt idx="1275">
                  <c:v>0.26222400000000001</c:v>
                </c:pt>
                <c:pt idx="1276">
                  <c:v>0.263353</c:v>
                </c:pt>
                <c:pt idx="1277">
                  <c:v>0.26199499999999998</c:v>
                </c:pt>
                <c:pt idx="1278">
                  <c:v>0.26158300000000001</c:v>
                </c:pt>
                <c:pt idx="1279">
                  <c:v>0.25941999999999998</c:v>
                </c:pt>
                <c:pt idx="1280">
                  <c:v>0.25834699999999999</c:v>
                </c:pt>
                <c:pt idx="1281">
                  <c:v>0.25927699999999998</c:v>
                </c:pt>
                <c:pt idx="1282">
                  <c:v>0.25979400000000002</c:v>
                </c:pt>
                <c:pt idx="1283">
                  <c:v>0.259185</c:v>
                </c:pt>
                <c:pt idx="1284">
                  <c:v>0.25855</c:v>
                </c:pt>
                <c:pt idx="1285">
                  <c:v>0.25859399999999999</c:v>
                </c:pt>
                <c:pt idx="1286">
                  <c:v>0.25980599999999998</c:v>
                </c:pt>
                <c:pt idx="1287">
                  <c:v>0.257268</c:v>
                </c:pt>
                <c:pt idx="1288">
                  <c:v>0.254967</c:v>
                </c:pt>
                <c:pt idx="1289">
                  <c:v>0.25737199999999999</c:v>
                </c:pt>
                <c:pt idx="1290">
                  <c:v>0.25962400000000002</c:v>
                </c:pt>
                <c:pt idx="1291">
                  <c:v>0.25929999999999997</c:v>
                </c:pt>
                <c:pt idx="1292">
                  <c:v>0.25686500000000001</c:v>
                </c:pt>
                <c:pt idx="1293">
                  <c:v>0.25614500000000001</c:v>
                </c:pt>
                <c:pt idx="1294">
                  <c:v>0.25553500000000001</c:v>
                </c:pt>
                <c:pt idx="1295">
                  <c:v>0.25609500000000002</c:v>
                </c:pt>
                <c:pt idx="1296">
                  <c:v>0.24862100000000001</c:v>
                </c:pt>
                <c:pt idx="1297">
                  <c:v>0.25319399999999997</c:v>
                </c:pt>
                <c:pt idx="1298">
                  <c:v>0.2555</c:v>
                </c:pt>
                <c:pt idx="1299">
                  <c:v>0.24648900000000001</c:v>
                </c:pt>
                <c:pt idx="1300">
                  <c:v>0.25534400000000002</c:v>
                </c:pt>
                <c:pt idx="1301">
                  <c:v>0.25673299999999999</c:v>
                </c:pt>
                <c:pt idx="1302">
                  <c:v>0.25672800000000001</c:v>
                </c:pt>
                <c:pt idx="1303">
                  <c:v>0.25709399999999999</c:v>
                </c:pt>
                <c:pt idx="1304">
                  <c:v>0.25732500000000003</c:v>
                </c:pt>
                <c:pt idx="1305">
                  <c:v>0.25776700000000002</c:v>
                </c:pt>
                <c:pt idx="1306">
                  <c:v>0.25719399999999998</c:v>
                </c:pt>
                <c:pt idx="1307">
                  <c:v>0.24915599999999999</c:v>
                </c:pt>
                <c:pt idx="1308">
                  <c:v>0.25677899999999998</c:v>
                </c:pt>
                <c:pt idx="1309">
                  <c:v>0.25626100000000002</c:v>
                </c:pt>
                <c:pt idx="1310">
                  <c:v>0.25746000000000002</c:v>
                </c:pt>
                <c:pt idx="1311">
                  <c:v>0.25702900000000001</c:v>
                </c:pt>
                <c:pt idx="1312">
                  <c:v>0.249222</c:v>
                </c:pt>
                <c:pt idx="1313">
                  <c:v>0.25633499999999998</c:v>
                </c:pt>
                <c:pt idx="1314">
                  <c:v>0.25667800000000002</c:v>
                </c:pt>
                <c:pt idx="1315">
                  <c:v>0.256689</c:v>
                </c:pt>
                <c:pt idx="1316">
                  <c:v>0.25686999999999999</c:v>
                </c:pt>
                <c:pt idx="1317">
                  <c:v>0.25579400000000002</c:v>
                </c:pt>
                <c:pt idx="1318">
                  <c:v>0.25619399999999998</c:v>
                </c:pt>
                <c:pt idx="1319">
                  <c:v>0.256388</c:v>
                </c:pt>
                <c:pt idx="1320">
                  <c:v>0.25571899999999997</c:v>
                </c:pt>
                <c:pt idx="1321">
                  <c:v>0.25626199999999999</c:v>
                </c:pt>
                <c:pt idx="1322">
                  <c:v>0.25668299999999999</c:v>
                </c:pt>
                <c:pt idx="1323">
                  <c:v>0.25483299999999998</c:v>
                </c:pt>
                <c:pt idx="1324">
                  <c:v>0.25746200000000002</c:v>
                </c:pt>
                <c:pt idx="1325">
                  <c:v>0.257689</c:v>
                </c:pt>
                <c:pt idx="1326">
                  <c:v>0.25803300000000001</c:v>
                </c:pt>
                <c:pt idx="1327">
                  <c:v>0.258247</c:v>
                </c:pt>
                <c:pt idx="1328">
                  <c:v>0.25779400000000002</c:v>
                </c:pt>
                <c:pt idx="1329">
                  <c:v>0.25794400000000001</c:v>
                </c:pt>
                <c:pt idx="1330">
                  <c:v>0.25741799999999998</c:v>
                </c:pt>
                <c:pt idx="1331">
                  <c:v>0.26643899999999998</c:v>
                </c:pt>
                <c:pt idx="1332">
                  <c:v>0.259629</c:v>
                </c:pt>
                <c:pt idx="1333">
                  <c:v>0.25952199999999997</c:v>
                </c:pt>
                <c:pt idx="1334">
                  <c:v>0.26090000000000002</c:v>
                </c:pt>
                <c:pt idx="1335">
                  <c:v>0.2611</c:v>
                </c:pt>
                <c:pt idx="1336">
                  <c:v>0.26114100000000001</c:v>
                </c:pt>
                <c:pt idx="1337">
                  <c:v>0.26031100000000001</c:v>
                </c:pt>
                <c:pt idx="1338">
                  <c:v>0.26051099999999999</c:v>
                </c:pt>
                <c:pt idx="1339">
                  <c:v>0.26029999999999998</c:v>
                </c:pt>
                <c:pt idx="1340">
                  <c:v>0.258633</c:v>
                </c:pt>
                <c:pt idx="1341">
                  <c:v>0.25926100000000002</c:v>
                </c:pt>
                <c:pt idx="1342">
                  <c:v>0.26159399999999999</c:v>
                </c:pt>
                <c:pt idx="1343">
                  <c:v>0.26153700000000002</c:v>
                </c:pt>
                <c:pt idx="1344">
                  <c:v>0.26101099999999999</c:v>
                </c:pt>
                <c:pt idx="1345">
                  <c:v>0.262542</c:v>
                </c:pt>
                <c:pt idx="1346">
                  <c:v>0.26377</c:v>
                </c:pt>
                <c:pt idx="1347">
                  <c:v>0.27640599999999999</c:v>
                </c:pt>
                <c:pt idx="1348">
                  <c:v>0.26758500000000002</c:v>
                </c:pt>
                <c:pt idx="1349">
                  <c:v>0.26558999999999999</c:v>
                </c:pt>
                <c:pt idx="1350">
                  <c:v>0.26641900000000002</c:v>
                </c:pt>
                <c:pt idx="1351">
                  <c:v>0.26662000000000002</c:v>
                </c:pt>
                <c:pt idx="1352">
                  <c:v>0.265874</c:v>
                </c:pt>
                <c:pt idx="1353">
                  <c:v>0.267179</c:v>
                </c:pt>
                <c:pt idx="1354">
                  <c:v>0.26763300000000001</c:v>
                </c:pt>
                <c:pt idx="1355">
                  <c:v>0.26728299999999999</c:v>
                </c:pt>
                <c:pt idx="1356">
                  <c:v>0.26796500000000001</c:v>
                </c:pt>
                <c:pt idx="1357">
                  <c:v>0.26768900000000001</c:v>
                </c:pt>
                <c:pt idx="1358">
                  <c:v>0.26916800000000002</c:v>
                </c:pt>
                <c:pt idx="1359">
                  <c:v>0.26789400000000002</c:v>
                </c:pt>
                <c:pt idx="1360">
                  <c:v>0.27065800000000001</c:v>
                </c:pt>
                <c:pt idx="1361">
                  <c:v>0.27073999999999998</c:v>
                </c:pt>
                <c:pt idx="1362">
                  <c:v>0.27212799999999998</c:v>
                </c:pt>
                <c:pt idx="1363">
                  <c:v>0.27317000000000002</c:v>
                </c:pt>
                <c:pt idx="1364">
                  <c:v>0.27620600000000001</c:v>
                </c:pt>
                <c:pt idx="1365">
                  <c:v>0.27836699999999998</c:v>
                </c:pt>
                <c:pt idx="1366">
                  <c:v>0.28063500000000002</c:v>
                </c:pt>
                <c:pt idx="1367">
                  <c:v>0.28270000000000001</c:v>
                </c:pt>
                <c:pt idx="1368">
                  <c:v>0.284632</c:v>
                </c:pt>
                <c:pt idx="1369">
                  <c:v>0.28394399999999997</c:v>
                </c:pt>
                <c:pt idx="1370">
                  <c:v>0.28700500000000001</c:v>
                </c:pt>
                <c:pt idx="1371">
                  <c:v>0.28833300000000001</c:v>
                </c:pt>
                <c:pt idx="1372">
                  <c:v>0.28904200000000002</c:v>
                </c:pt>
                <c:pt idx="1373">
                  <c:v>0.28726699999999999</c:v>
                </c:pt>
                <c:pt idx="1374">
                  <c:v>0.29031899999999999</c:v>
                </c:pt>
                <c:pt idx="1375">
                  <c:v>0.28732999999999997</c:v>
                </c:pt>
                <c:pt idx="1376">
                  <c:v>0.28992000000000001</c:v>
                </c:pt>
                <c:pt idx="1377">
                  <c:v>0.29335800000000001</c:v>
                </c:pt>
                <c:pt idx="1378">
                  <c:v>0.29164200000000001</c:v>
                </c:pt>
                <c:pt idx="1379">
                  <c:v>0.29192800000000002</c:v>
                </c:pt>
                <c:pt idx="1380">
                  <c:v>0.291153</c:v>
                </c:pt>
                <c:pt idx="1381">
                  <c:v>0.29103000000000001</c:v>
                </c:pt>
                <c:pt idx="1382">
                  <c:v>0.29117399999999999</c:v>
                </c:pt>
                <c:pt idx="1383">
                  <c:v>0.29394700000000001</c:v>
                </c:pt>
                <c:pt idx="1384">
                  <c:v>0.29088900000000001</c:v>
                </c:pt>
                <c:pt idx="1385">
                  <c:v>0.29502600000000001</c:v>
                </c:pt>
                <c:pt idx="1386">
                  <c:v>0.295788</c:v>
                </c:pt>
                <c:pt idx="1387">
                  <c:v>0.296263</c:v>
                </c:pt>
                <c:pt idx="1388">
                  <c:v>0.296817</c:v>
                </c:pt>
                <c:pt idx="1389">
                  <c:v>0.29735600000000001</c:v>
                </c:pt>
                <c:pt idx="1390">
                  <c:v>0.299535</c:v>
                </c:pt>
                <c:pt idx="1391">
                  <c:v>0.29816700000000002</c:v>
                </c:pt>
                <c:pt idx="1392">
                  <c:v>0.29936699999999999</c:v>
                </c:pt>
                <c:pt idx="1393">
                  <c:v>0.29829499999999998</c:v>
                </c:pt>
                <c:pt idx="1394">
                  <c:v>0.30120000000000002</c:v>
                </c:pt>
                <c:pt idx="1395">
                  <c:v>0.30075600000000002</c:v>
                </c:pt>
                <c:pt idx="1396">
                  <c:v>0.30126999999999998</c:v>
                </c:pt>
                <c:pt idx="1397">
                  <c:v>0.29934500000000003</c:v>
                </c:pt>
                <c:pt idx="1398">
                  <c:v>0.30726500000000001</c:v>
                </c:pt>
                <c:pt idx="1399">
                  <c:v>0.31019000000000002</c:v>
                </c:pt>
                <c:pt idx="1400">
                  <c:v>0.311332</c:v>
                </c:pt>
                <c:pt idx="1401">
                  <c:v>0.31397900000000001</c:v>
                </c:pt>
                <c:pt idx="1402">
                  <c:v>0.3135</c:v>
                </c:pt>
                <c:pt idx="1403">
                  <c:v>0.31493199999999999</c:v>
                </c:pt>
                <c:pt idx="1404">
                  <c:v>0.31597500000000001</c:v>
                </c:pt>
                <c:pt idx="1405">
                  <c:v>0.31535299999999999</c:v>
                </c:pt>
                <c:pt idx="1406">
                  <c:v>0.31825599999999998</c:v>
                </c:pt>
                <c:pt idx="1407">
                  <c:v>0.31798900000000002</c:v>
                </c:pt>
                <c:pt idx="1408">
                  <c:v>0.32740000000000002</c:v>
                </c:pt>
                <c:pt idx="1409">
                  <c:v>0.332872</c:v>
                </c:pt>
                <c:pt idx="1410">
                  <c:v>0.33266800000000002</c:v>
                </c:pt>
                <c:pt idx="1411">
                  <c:v>0.33291100000000001</c:v>
                </c:pt>
                <c:pt idx="1412">
                  <c:v>0.336455</c:v>
                </c:pt>
                <c:pt idx="1413">
                  <c:v>0.33501399999999998</c:v>
                </c:pt>
                <c:pt idx="1414">
                  <c:v>0.32851900000000001</c:v>
                </c:pt>
                <c:pt idx="1415">
                  <c:v>0.32493300000000003</c:v>
                </c:pt>
                <c:pt idx="1416">
                  <c:v>0.327594</c:v>
                </c:pt>
                <c:pt idx="1417">
                  <c:v>0.325656</c:v>
                </c:pt>
                <c:pt idx="1418">
                  <c:v>0.32830700000000002</c:v>
                </c:pt>
                <c:pt idx="1419">
                  <c:v>0.32699400000000001</c:v>
                </c:pt>
                <c:pt idx="1420">
                  <c:v>0.32523200000000002</c:v>
                </c:pt>
                <c:pt idx="1421">
                  <c:v>0.32950000000000002</c:v>
                </c:pt>
                <c:pt idx="1422">
                  <c:v>0.33090000000000003</c:v>
                </c:pt>
                <c:pt idx="1423">
                  <c:v>0.32500000000000001</c:v>
                </c:pt>
                <c:pt idx="1424">
                  <c:v>0.32</c:v>
                </c:pt>
                <c:pt idx="1425">
                  <c:v>0.33</c:v>
                </c:pt>
                <c:pt idx="1426">
                  <c:v>0.34100000000000003</c:v>
                </c:pt>
                <c:pt idx="1427">
                  <c:v>0.32230500000000001</c:v>
                </c:pt>
                <c:pt idx="1428">
                  <c:v>0.32201000000000002</c:v>
                </c:pt>
                <c:pt idx="1429">
                  <c:v>0.31978099999999998</c:v>
                </c:pt>
                <c:pt idx="1430">
                  <c:v>0.32106000000000001</c:v>
                </c:pt>
                <c:pt idx="1431">
                  <c:v>0.319637</c:v>
                </c:pt>
                <c:pt idx="1432">
                  <c:v>0.32063900000000001</c:v>
                </c:pt>
                <c:pt idx="1433">
                  <c:v>0.31883899999999998</c:v>
                </c:pt>
                <c:pt idx="1434">
                  <c:v>0.31990600000000002</c:v>
                </c:pt>
                <c:pt idx="1435">
                  <c:v>0.31914999999999999</c:v>
                </c:pt>
                <c:pt idx="1436">
                  <c:v>0.31893899999999997</c:v>
                </c:pt>
                <c:pt idx="1437">
                  <c:v>0.31720999999999999</c:v>
                </c:pt>
                <c:pt idx="1438">
                  <c:v>0.31945299999999999</c:v>
                </c:pt>
                <c:pt idx="1439">
                  <c:v>0.318</c:v>
                </c:pt>
                <c:pt idx="1440">
                  <c:v>0.319745</c:v>
                </c:pt>
                <c:pt idx="1441">
                  <c:v>0.31894499999999998</c:v>
                </c:pt>
                <c:pt idx="1442">
                  <c:v>0.31614999999999999</c:v>
                </c:pt>
                <c:pt idx="1443">
                  <c:v>0.31974000000000002</c:v>
                </c:pt>
                <c:pt idx="1444">
                  <c:v>0.31891900000000001</c:v>
                </c:pt>
                <c:pt idx="1445">
                  <c:v>0.32307999999999998</c:v>
                </c:pt>
                <c:pt idx="1446">
                  <c:v>0.32894499999999999</c:v>
                </c:pt>
                <c:pt idx="1447">
                  <c:v>0.332258</c:v>
                </c:pt>
                <c:pt idx="1448">
                  <c:v>0.339945</c:v>
                </c:pt>
                <c:pt idx="1449">
                  <c:v>0.35017100000000001</c:v>
                </c:pt>
                <c:pt idx="1450">
                  <c:v>0.35791200000000001</c:v>
                </c:pt>
                <c:pt idx="1451">
                  <c:v>0.35499999999999998</c:v>
                </c:pt>
                <c:pt idx="1452">
                  <c:v>0.35659999999999997</c:v>
                </c:pt>
                <c:pt idx="1453">
                  <c:v>0.35517799999999999</c:v>
                </c:pt>
                <c:pt idx="1454">
                  <c:v>0.35067300000000001</c:v>
                </c:pt>
                <c:pt idx="1455">
                  <c:v>0.33405400000000002</c:v>
                </c:pt>
                <c:pt idx="1456">
                  <c:v>0.33388499999999999</c:v>
                </c:pt>
                <c:pt idx="1457">
                  <c:v>0.34186699999999998</c:v>
                </c:pt>
                <c:pt idx="1458">
                  <c:v>0.34030700000000003</c:v>
                </c:pt>
                <c:pt idx="1459">
                  <c:v>0.34042899999999998</c:v>
                </c:pt>
                <c:pt idx="1460">
                  <c:v>0.33860400000000002</c:v>
                </c:pt>
                <c:pt idx="1461">
                  <c:v>0.33434999999999998</c:v>
                </c:pt>
                <c:pt idx="1462">
                  <c:v>0.33555600000000002</c:v>
                </c:pt>
                <c:pt idx="1463">
                  <c:v>0.332758</c:v>
                </c:pt>
                <c:pt idx="1464">
                  <c:v>0.33072299999999999</c:v>
                </c:pt>
                <c:pt idx="1465">
                  <c:v>0.32730799999999999</c:v>
                </c:pt>
                <c:pt idx="1466">
                  <c:v>0.32168799999999997</c:v>
                </c:pt>
                <c:pt idx="1467">
                  <c:v>0.31275599999999998</c:v>
                </c:pt>
                <c:pt idx="1468">
                  <c:v>0.298404</c:v>
                </c:pt>
                <c:pt idx="1469">
                  <c:v>0.29622900000000002</c:v>
                </c:pt>
                <c:pt idx="1470">
                  <c:v>0.29580400000000001</c:v>
                </c:pt>
                <c:pt idx="1471">
                  <c:v>0.29760399999999998</c:v>
                </c:pt>
                <c:pt idx="1472">
                  <c:v>0.29655399999999998</c:v>
                </c:pt>
                <c:pt idx="1473">
                  <c:v>0.29742099999999999</c:v>
                </c:pt>
                <c:pt idx="1474">
                  <c:v>0.29175000000000001</c:v>
                </c:pt>
                <c:pt idx="1475">
                  <c:v>0.29824200000000001</c:v>
                </c:pt>
                <c:pt idx="1476">
                  <c:v>0.30346200000000001</c:v>
                </c:pt>
                <c:pt idx="1477">
                  <c:v>0.30835800000000002</c:v>
                </c:pt>
                <c:pt idx="1478">
                  <c:v>0.31654399999999999</c:v>
                </c:pt>
                <c:pt idx="1479">
                  <c:v>0.31376799999999999</c:v>
                </c:pt>
                <c:pt idx="1480">
                  <c:v>0.31537399999999999</c:v>
                </c:pt>
                <c:pt idx="1481">
                  <c:v>0.310228</c:v>
                </c:pt>
                <c:pt idx="1482">
                  <c:v>0.3075</c:v>
                </c:pt>
                <c:pt idx="1483">
                  <c:v>0.30366799999999999</c:v>
                </c:pt>
                <c:pt idx="1484">
                  <c:v>0.30636799999999997</c:v>
                </c:pt>
                <c:pt idx="1485">
                  <c:v>0.30525000000000002</c:v>
                </c:pt>
                <c:pt idx="1486">
                  <c:v>0.31023499999999998</c:v>
                </c:pt>
                <c:pt idx="1487">
                  <c:v>0.30806800000000001</c:v>
                </c:pt>
                <c:pt idx="1488">
                  <c:v>0.30691400000000002</c:v>
                </c:pt>
                <c:pt idx="1489">
                  <c:v>0.30651699999999998</c:v>
                </c:pt>
                <c:pt idx="1490">
                  <c:v>0.30626700000000001</c:v>
                </c:pt>
                <c:pt idx="1491">
                  <c:v>0.30416799999999999</c:v>
                </c:pt>
                <c:pt idx="1492">
                  <c:v>0.301678</c:v>
                </c:pt>
                <c:pt idx="1493">
                  <c:v>0.30047299999999999</c:v>
                </c:pt>
                <c:pt idx="1494">
                  <c:v>0.29483900000000002</c:v>
                </c:pt>
                <c:pt idx="1495">
                  <c:v>0.29658299999999999</c:v>
                </c:pt>
                <c:pt idx="1496">
                  <c:v>0.29794599999999999</c:v>
                </c:pt>
                <c:pt idx="1497">
                  <c:v>0.29889100000000002</c:v>
                </c:pt>
                <c:pt idx="1498">
                  <c:v>0.29858800000000002</c:v>
                </c:pt>
                <c:pt idx="1499">
                  <c:v>0.29428399999999999</c:v>
                </c:pt>
                <c:pt idx="1500">
                  <c:v>0.29268300000000003</c:v>
                </c:pt>
                <c:pt idx="1501">
                  <c:v>0.29120499999999999</c:v>
                </c:pt>
                <c:pt idx="1502">
                  <c:v>0.29449500000000001</c:v>
                </c:pt>
                <c:pt idx="1503">
                  <c:v>0.29388300000000001</c:v>
                </c:pt>
                <c:pt idx="1504">
                  <c:v>0.29333599999999999</c:v>
                </c:pt>
                <c:pt idx="1505">
                  <c:v>0.29409999999999997</c:v>
                </c:pt>
                <c:pt idx="1506">
                  <c:v>0.294678</c:v>
                </c:pt>
                <c:pt idx="1507">
                  <c:v>0.29614600000000002</c:v>
                </c:pt>
                <c:pt idx="1508">
                  <c:v>0.29709600000000003</c:v>
                </c:pt>
                <c:pt idx="1509">
                  <c:v>0.291325</c:v>
                </c:pt>
                <c:pt idx="1510">
                  <c:v>0.29972599999999999</c:v>
                </c:pt>
                <c:pt idx="1511">
                  <c:v>0.30092999999999998</c:v>
                </c:pt>
                <c:pt idx="1512">
                  <c:v>0.30240400000000001</c:v>
                </c:pt>
                <c:pt idx="1513">
                  <c:v>0.30200399999999999</c:v>
                </c:pt>
                <c:pt idx="1514">
                  <c:v>0.29957299999999998</c:v>
                </c:pt>
                <c:pt idx="1515">
                  <c:v>0.30018499999999998</c:v>
                </c:pt>
                <c:pt idx="1516">
                  <c:v>0.300543</c:v>
                </c:pt>
                <c:pt idx="1517">
                  <c:v>0.30291699999999999</c:v>
                </c:pt>
                <c:pt idx="1518">
                  <c:v>0.30610999999999999</c:v>
                </c:pt>
                <c:pt idx="1519">
                  <c:v>0.30054700000000001</c:v>
                </c:pt>
                <c:pt idx="1520">
                  <c:v>0.302118</c:v>
                </c:pt>
                <c:pt idx="1521">
                  <c:v>0.30091800000000002</c:v>
                </c:pt>
                <c:pt idx="1522">
                  <c:v>0.30201800000000001</c:v>
                </c:pt>
                <c:pt idx="1523">
                  <c:v>0.30087000000000003</c:v>
                </c:pt>
                <c:pt idx="1524">
                  <c:v>0.30387599999999998</c:v>
                </c:pt>
                <c:pt idx="1525">
                  <c:v>0.30419099999999999</c:v>
                </c:pt>
                <c:pt idx="1526">
                  <c:v>0.29297299999999998</c:v>
                </c:pt>
                <c:pt idx="1527">
                  <c:v>0.30560500000000002</c:v>
                </c:pt>
                <c:pt idx="1528">
                  <c:v>0.31031700000000001</c:v>
                </c:pt>
                <c:pt idx="1529">
                  <c:v>0.314494</c:v>
                </c:pt>
                <c:pt idx="1530">
                  <c:v>0.314305</c:v>
                </c:pt>
                <c:pt idx="1531">
                  <c:v>0.31398999999999999</c:v>
                </c:pt>
                <c:pt idx="1532">
                  <c:v>0.30705500000000002</c:v>
                </c:pt>
                <c:pt idx="1533">
                  <c:v>0.30456499999999997</c:v>
                </c:pt>
                <c:pt idx="1534">
                  <c:v>0.31312099999999998</c:v>
                </c:pt>
                <c:pt idx="1535">
                  <c:v>0.31258999999999998</c:v>
                </c:pt>
                <c:pt idx="1536">
                  <c:v>0.31320500000000001</c:v>
                </c:pt>
                <c:pt idx="1537">
                  <c:v>0.31394300000000003</c:v>
                </c:pt>
                <c:pt idx="1538">
                  <c:v>0.31059999999999999</c:v>
                </c:pt>
                <c:pt idx="1539">
                  <c:v>0.31194499999999997</c:v>
                </c:pt>
                <c:pt idx="1540">
                  <c:v>0.30968400000000001</c:v>
                </c:pt>
                <c:pt idx="1541">
                  <c:v>0.31214500000000001</c:v>
                </c:pt>
                <c:pt idx="1542">
                  <c:v>0.319795</c:v>
                </c:pt>
                <c:pt idx="1543">
                  <c:v>0.30928299999999997</c:v>
                </c:pt>
                <c:pt idx="1544">
                  <c:v>0.30915199999999998</c:v>
                </c:pt>
                <c:pt idx="1545">
                  <c:v>0.30884299999999998</c:v>
                </c:pt>
                <c:pt idx="1546">
                  <c:v>0.32211099999999998</c:v>
                </c:pt>
                <c:pt idx="1547">
                  <c:v>0.32121</c:v>
                </c:pt>
                <c:pt idx="1548">
                  <c:v>0.323467</c:v>
                </c:pt>
                <c:pt idx="1549">
                  <c:v>0.323515</c:v>
                </c:pt>
                <c:pt idx="1550">
                  <c:v>0.32509100000000002</c:v>
                </c:pt>
                <c:pt idx="1551">
                  <c:v>0.32272899999999999</c:v>
                </c:pt>
                <c:pt idx="1552">
                  <c:v>0.32202399999999998</c:v>
                </c:pt>
                <c:pt idx="1553">
                  <c:v>0.31749500000000003</c:v>
                </c:pt>
                <c:pt idx="1554">
                  <c:v>0.31654100000000002</c:v>
                </c:pt>
                <c:pt idx="1555">
                  <c:v>0.32392900000000002</c:v>
                </c:pt>
                <c:pt idx="1556">
                  <c:v>0.31712299999999999</c:v>
                </c:pt>
                <c:pt idx="1557">
                  <c:v>0.31114199999999997</c:v>
                </c:pt>
                <c:pt idx="1558">
                  <c:v>0.31151600000000002</c:v>
                </c:pt>
                <c:pt idx="1559">
                  <c:v>0.31873800000000002</c:v>
                </c:pt>
                <c:pt idx="1560">
                  <c:v>0.31471700000000002</c:v>
                </c:pt>
                <c:pt idx="1561">
                  <c:v>0.316021</c:v>
                </c:pt>
                <c:pt idx="1562">
                  <c:v>0.31435800000000003</c:v>
                </c:pt>
                <c:pt idx="1563">
                  <c:v>0.31379000000000001</c:v>
                </c:pt>
                <c:pt idx="1564">
                  <c:v>0.31057200000000001</c:v>
                </c:pt>
                <c:pt idx="1565">
                  <c:v>0.29994500000000002</c:v>
                </c:pt>
                <c:pt idx="1566">
                  <c:v>0.29780499999999999</c:v>
                </c:pt>
                <c:pt idx="1567">
                  <c:v>0.29530000000000001</c:v>
                </c:pt>
                <c:pt idx="1568">
                  <c:v>0.29710500000000001</c:v>
                </c:pt>
                <c:pt idx="1569">
                  <c:v>0.29933999999999999</c:v>
                </c:pt>
                <c:pt idx="1570">
                  <c:v>0.29753000000000002</c:v>
                </c:pt>
                <c:pt idx="1571">
                  <c:v>0.29933500000000002</c:v>
                </c:pt>
                <c:pt idx="1572">
                  <c:v>0.30457400000000001</c:v>
                </c:pt>
                <c:pt idx="1573">
                  <c:v>0.30448999999999998</c:v>
                </c:pt>
                <c:pt idx="1574">
                  <c:v>0.30162600000000001</c:v>
                </c:pt>
                <c:pt idx="1575">
                  <c:v>0.30547099999999999</c:v>
                </c:pt>
                <c:pt idx="1576">
                  <c:v>0.297906</c:v>
                </c:pt>
                <c:pt idx="1577">
                  <c:v>0.30096800000000001</c:v>
                </c:pt>
                <c:pt idx="1578">
                  <c:v>0.29839500000000002</c:v>
                </c:pt>
                <c:pt idx="1579">
                  <c:v>0.29839500000000002</c:v>
                </c:pt>
                <c:pt idx="1580">
                  <c:v>0.30377900000000002</c:v>
                </c:pt>
                <c:pt idx="1581">
                  <c:v>0.30232399999999998</c:v>
                </c:pt>
                <c:pt idx="1582">
                  <c:v>0.30732100000000001</c:v>
                </c:pt>
                <c:pt idx="1583">
                  <c:v>0.30607099999999998</c:v>
                </c:pt>
                <c:pt idx="1584">
                  <c:v>0.29844199999999999</c:v>
                </c:pt>
                <c:pt idx="1585">
                  <c:v>0.305035</c:v>
                </c:pt>
                <c:pt idx="1586">
                  <c:v>0.30591099999999999</c:v>
                </c:pt>
                <c:pt idx="1587">
                  <c:v>0.30468400000000001</c:v>
                </c:pt>
                <c:pt idx="1588">
                  <c:v>0.29402800000000001</c:v>
                </c:pt>
                <c:pt idx="1589">
                  <c:v>0.30456499999999997</c:v>
                </c:pt>
                <c:pt idx="1590">
                  <c:v>0.30597099999999999</c:v>
                </c:pt>
                <c:pt idx="1591">
                  <c:v>0.30825000000000002</c:v>
                </c:pt>
                <c:pt idx="1592">
                  <c:v>0.30995299999999998</c:v>
                </c:pt>
                <c:pt idx="1593">
                  <c:v>0.31847900000000001</c:v>
                </c:pt>
                <c:pt idx="1594">
                  <c:v>0.31747599999999998</c:v>
                </c:pt>
                <c:pt idx="1595">
                  <c:v>0.31690699999999999</c:v>
                </c:pt>
                <c:pt idx="1596">
                  <c:v>0.31918200000000002</c:v>
                </c:pt>
                <c:pt idx="1597">
                  <c:v>0.319967</c:v>
                </c:pt>
                <c:pt idx="1598">
                  <c:v>0.31730000000000003</c:v>
                </c:pt>
                <c:pt idx="1599">
                  <c:v>0.32042199999999998</c:v>
                </c:pt>
                <c:pt idx="1600">
                  <c:v>0.32361899999999999</c:v>
                </c:pt>
                <c:pt idx="1601">
                  <c:v>0.323878</c:v>
                </c:pt>
                <c:pt idx="1602">
                  <c:v>0.32795299999999999</c:v>
                </c:pt>
                <c:pt idx="1603">
                  <c:v>0.330459</c:v>
                </c:pt>
                <c:pt idx="1604">
                  <c:v>0.33203500000000002</c:v>
                </c:pt>
                <c:pt idx="1605">
                  <c:v>0.33125300000000002</c:v>
                </c:pt>
                <c:pt idx="1606">
                  <c:v>0.33088200000000001</c:v>
                </c:pt>
                <c:pt idx="1607">
                  <c:v>0.32928800000000003</c:v>
                </c:pt>
                <c:pt idx="1608">
                  <c:v>0.33165299999999998</c:v>
                </c:pt>
                <c:pt idx="1609">
                  <c:v>0.33029999999999998</c:v>
                </c:pt>
                <c:pt idx="1610">
                  <c:v>0.33029999999999998</c:v>
                </c:pt>
                <c:pt idx="1611">
                  <c:v>0.33191900000000002</c:v>
                </c:pt>
                <c:pt idx="1612">
                  <c:v>0.33244099999999999</c:v>
                </c:pt>
                <c:pt idx="1613">
                  <c:v>0.33217099999999999</c:v>
                </c:pt>
                <c:pt idx="1614">
                  <c:v>0.33202399999999999</c:v>
                </c:pt>
                <c:pt idx="1615">
                  <c:v>0.329206</c:v>
                </c:pt>
                <c:pt idx="1616">
                  <c:v>0.33124399999999998</c:v>
                </c:pt>
                <c:pt idx="1617">
                  <c:v>0.330287</c:v>
                </c:pt>
                <c:pt idx="1618">
                  <c:v>0.33081199999999999</c:v>
                </c:pt>
                <c:pt idx="1619">
                  <c:v>0.33340599999999998</c:v>
                </c:pt>
                <c:pt idx="1620">
                  <c:v>0.33164399999999999</c:v>
                </c:pt>
                <c:pt idx="1621">
                  <c:v>0.33347300000000002</c:v>
                </c:pt>
                <c:pt idx="1622">
                  <c:v>0.32497500000000001</c:v>
                </c:pt>
                <c:pt idx="1623">
                  <c:v>0.32910600000000001</c:v>
                </c:pt>
                <c:pt idx="1624">
                  <c:v>0.32613999999999999</c:v>
                </c:pt>
                <c:pt idx="1625">
                  <c:v>0.33553699999999997</c:v>
                </c:pt>
                <c:pt idx="1626">
                  <c:v>0.33708199999999999</c:v>
                </c:pt>
                <c:pt idx="1627">
                  <c:v>0.33765000000000001</c:v>
                </c:pt>
                <c:pt idx="1628">
                  <c:v>0.33786699999999997</c:v>
                </c:pt>
                <c:pt idx="1629">
                  <c:v>0.33639999999999998</c:v>
                </c:pt>
                <c:pt idx="1630">
                  <c:v>0.338806</c:v>
                </c:pt>
                <c:pt idx="1631">
                  <c:v>0.33914</c:v>
                </c:pt>
                <c:pt idx="1632">
                  <c:v>0.34063300000000002</c:v>
                </c:pt>
                <c:pt idx="1633">
                  <c:v>0.33881299999999998</c:v>
                </c:pt>
                <c:pt idx="1634">
                  <c:v>0.34079300000000001</c:v>
                </c:pt>
                <c:pt idx="1635">
                  <c:v>0.341725</c:v>
                </c:pt>
                <c:pt idx="1636">
                  <c:v>0.34052700000000002</c:v>
                </c:pt>
                <c:pt idx="1637">
                  <c:v>0.34052700000000002</c:v>
                </c:pt>
                <c:pt idx="1638">
                  <c:v>0.34643800000000002</c:v>
                </c:pt>
                <c:pt idx="1639">
                  <c:v>0.35103099999999998</c:v>
                </c:pt>
                <c:pt idx="1640">
                  <c:v>0.34842099999999998</c:v>
                </c:pt>
                <c:pt idx="1641">
                  <c:v>0.34561799999999998</c:v>
                </c:pt>
                <c:pt idx="1642">
                  <c:v>0.34326699999999999</c:v>
                </c:pt>
                <c:pt idx="1643">
                  <c:v>0.35051199999999999</c:v>
                </c:pt>
                <c:pt idx="1644">
                  <c:v>0.348076</c:v>
                </c:pt>
                <c:pt idx="1645">
                  <c:v>0.34986899999999999</c:v>
                </c:pt>
                <c:pt idx="1646">
                  <c:v>0.35331400000000002</c:v>
                </c:pt>
                <c:pt idx="1647">
                  <c:v>0.3585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9C77-4A4E-99BB-DD4930C84B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09000175"/>
        <c:axId val="1709011407"/>
      </c:lineChart>
      <c:catAx>
        <c:axId val="1709000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709011407"/>
        <c:crosses val="autoZero"/>
        <c:auto val="1"/>
        <c:lblAlgn val="ctr"/>
        <c:lblOffset val="100"/>
        <c:noMultiLvlLbl val="0"/>
      </c:catAx>
      <c:valAx>
        <c:axId val="1709011407"/>
        <c:scaling>
          <c:orientation val="minMax"/>
          <c:min val="0.1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709000175"/>
        <c:crosses val="autoZero"/>
        <c:crossBetween val="between"/>
        <c:majorUnit val="2.5000000000000005E-2"/>
      </c:valAx>
    </c:plotArea>
    <c:plotVisOnly val="1"/>
    <c:dispBlanksAs val="gap"/>
    <c:showDLblsOverMax val="0"/>
    <c:extLst/>
  </c:chart>
  <c:txPr>
    <a:bodyPr/>
    <a:lstStyle/>
    <a:p>
      <a:pPr>
        <a:defRPr>
          <a:latin typeface="DanaFaNum" pitchFamily="2" charset="-78"/>
          <a:cs typeface="DanaFaNum" pitchFamily="2" charset="-78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هفته-دلار'!$B$1</c:f>
              <c:strCache>
                <c:ptCount val="1"/>
                <c:pt idx="0">
                  <c:v> گاز خوراک بر اساس فرمول </c:v>
                </c:pt>
              </c:strCache>
            </c:strRef>
          </c:tx>
          <c:spPr>
            <a:ln w="38100" cap="rnd">
              <a:solidFill>
                <a:schemeClr val="accent1">
                  <a:lumMod val="5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dLbls>
            <c:dLbl>
              <c:idx val="101"/>
              <c:tx>
                <c:rich>
                  <a:bodyPr/>
                  <a:lstStyle/>
                  <a:p>
                    <a:r>
                      <a:rPr lang="en-US"/>
                      <a:t>16.5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E42-433F-91A0-B3247F5DA1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70C0"/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هفته-دلار'!$A$2:$A$109</c:f>
              <c:strCache>
                <c:ptCount val="103"/>
                <c:pt idx="0">
                  <c:v>هفته منتهی به 1402/01/25</c:v>
                </c:pt>
                <c:pt idx="1">
                  <c:v>هفته منتهی به 1402/02/01</c:v>
                </c:pt>
                <c:pt idx="2">
                  <c:v>هفته منتهی به 1402/02/08</c:v>
                </c:pt>
                <c:pt idx="3">
                  <c:v>هفته منتهی به 1402/02/15</c:v>
                </c:pt>
                <c:pt idx="4">
                  <c:v>هفته منتهی به 1402/02/22</c:v>
                </c:pt>
                <c:pt idx="5">
                  <c:v>هفته منتهی به 1402/02/29</c:v>
                </c:pt>
                <c:pt idx="6">
                  <c:v>هفته منتهی به 1402/03/05</c:v>
                </c:pt>
                <c:pt idx="7">
                  <c:v>هفته منتهی به 1402/03/12</c:v>
                </c:pt>
                <c:pt idx="8">
                  <c:v>هفته منتهی به 1402/03/19</c:v>
                </c:pt>
                <c:pt idx="9">
                  <c:v>هفته منتهی به 1402/03/26</c:v>
                </c:pt>
                <c:pt idx="10">
                  <c:v>هفته منتهی به 1402/04/02</c:v>
                </c:pt>
                <c:pt idx="11">
                  <c:v>هفته منتهی به 1402/04/09</c:v>
                </c:pt>
                <c:pt idx="12">
                  <c:v>هفته منتهی به 1402/04/16</c:v>
                </c:pt>
                <c:pt idx="13">
                  <c:v>هفته منتهی به 1402/04/23</c:v>
                </c:pt>
                <c:pt idx="14">
                  <c:v>هفته منتهی به 1402/04/30</c:v>
                </c:pt>
                <c:pt idx="15">
                  <c:v>هفته منتهی به 1402/05/06</c:v>
                </c:pt>
                <c:pt idx="16">
                  <c:v>هفته منتهی به 1402/05/13</c:v>
                </c:pt>
                <c:pt idx="17">
                  <c:v>هفته منتهی به 1402/05/20</c:v>
                </c:pt>
                <c:pt idx="18">
                  <c:v>هفته منتهی به 1402/05/27</c:v>
                </c:pt>
                <c:pt idx="19">
                  <c:v>هفته منتهی به 1402/06/03</c:v>
                </c:pt>
                <c:pt idx="20">
                  <c:v>هفته منتهی به 1402/06/10</c:v>
                </c:pt>
                <c:pt idx="21">
                  <c:v>هفته منتهی به 1402/06/17</c:v>
                </c:pt>
                <c:pt idx="22">
                  <c:v>هفته منتهی به 1402/06/24</c:v>
                </c:pt>
                <c:pt idx="23">
                  <c:v>هفته منتهی به 1402/06/31</c:v>
                </c:pt>
                <c:pt idx="24">
                  <c:v>هفته منتهی به 1402/07/07</c:v>
                </c:pt>
                <c:pt idx="25">
                  <c:v>هفته منتهی به 1402/07/14</c:v>
                </c:pt>
                <c:pt idx="26">
                  <c:v>هفته منتهی به 1402/07/21</c:v>
                </c:pt>
                <c:pt idx="27">
                  <c:v>هفته منتهی به 1402/07/28</c:v>
                </c:pt>
                <c:pt idx="28">
                  <c:v>هفته منتهی به 1402/08/05</c:v>
                </c:pt>
                <c:pt idx="29">
                  <c:v>هفته منتهی به 1402/08/12</c:v>
                </c:pt>
                <c:pt idx="30">
                  <c:v>هفته منتهی به 1402/08/19</c:v>
                </c:pt>
                <c:pt idx="31">
                  <c:v>هفته منتهی به 1402/08/26</c:v>
                </c:pt>
                <c:pt idx="32">
                  <c:v>هفته منتهی به 1402/09/03</c:v>
                </c:pt>
                <c:pt idx="33">
                  <c:v>هفته منتهی به 1402/09/10</c:v>
                </c:pt>
                <c:pt idx="34">
                  <c:v>هفته منتهی به 1402/09/17</c:v>
                </c:pt>
                <c:pt idx="35">
                  <c:v>هفته منتهی به 1402/09/24</c:v>
                </c:pt>
                <c:pt idx="36">
                  <c:v>هفته منتهی به 1402/10/01</c:v>
                </c:pt>
                <c:pt idx="37">
                  <c:v>هفته منتهی به 1402/10/08</c:v>
                </c:pt>
                <c:pt idx="38">
                  <c:v>هفته منتهی به 1402/10/15</c:v>
                </c:pt>
                <c:pt idx="39">
                  <c:v>هفته منتهی به 1402/10/22</c:v>
                </c:pt>
                <c:pt idx="40">
                  <c:v>هفته منتهی به 1402/10/29</c:v>
                </c:pt>
                <c:pt idx="41">
                  <c:v>هفته منتهی به 1402/11/06</c:v>
                </c:pt>
                <c:pt idx="42">
                  <c:v>هفته منتهی به 1402/11/13</c:v>
                </c:pt>
                <c:pt idx="43">
                  <c:v>هفته منتهی به 1402/11/20</c:v>
                </c:pt>
                <c:pt idx="44">
                  <c:v>هفته منتهی به 1402/11/27</c:v>
                </c:pt>
                <c:pt idx="45">
                  <c:v>هفته منتهی به 1402/12/04</c:v>
                </c:pt>
                <c:pt idx="46">
                  <c:v>هفته منتهی به 1402/12/11</c:v>
                </c:pt>
                <c:pt idx="47">
                  <c:v>هفته منتهی به 1402/12/18</c:v>
                </c:pt>
                <c:pt idx="48">
                  <c:v>هفته منتهی به 1402/12/25</c:v>
                </c:pt>
                <c:pt idx="49">
                  <c:v>هفته منتهی به 1402/12/29</c:v>
                </c:pt>
                <c:pt idx="50">
                  <c:v>هفته منتهی به 1403/01/03</c:v>
                </c:pt>
                <c:pt idx="51">
                  <c:v>هفته منتهی به 1403/01/10</c:v>
                </c:pt>
                <c:pt idx="52">
                  <c:v>هفته منتهی به 1403/01/17</c:v>
                </c:pt>
                <c:pt idx="53">
                  <c:v>هفته منتهی به 1403/01/24</c:v>
                </c:pt>
                <c:pt idx="54">
                  <c:v>هفته منتهی به 1403/01/31</c:v>
                </c:pt>
                <c:pt idx="55">
                  <c:v>هفته منتهی به 1403/02/07</c:v>
                </c:pt>
                <c:pt idx="56">
                  <c:v>هفته منتهی به 1403/02/14</c:v>
                </c:pt>
                <c:pt idx="57">
                  <c:v>هفته منتهی به 1403/02/21</c:v>
                </c:pt>
                <c:pt idx="58">
                  <c:v>هفته منتهی به 1403/02/28</c:v>
                </c:pt>
                <c:pt idx="59">
                  <c:v>هفته منتهی به 1403/03/04</c:v>
                </c:pt>
                <c:pt idx="60">
                  <c:v>هفته منتهی به 1403/03/11</c:v>
                </c:pt>
                <c:pt idx="61">
                  <c:v>هفته منتهی به 1403/03/18</c:v>
                </c:pt>
                <c:pt idx="62">
                  <c:v>هفته منتهی به 1403/03/25</c:v>
                </c:pt>
                <c:pt idx="63">
                  <c:v>هفته منتهی به 1403/04/01</c:v>
                </c:pt>
                <c:pt idx="64">
                  <c:v>هفته منتهی به 1403/04/08</c:v>
                </c:pt>
                <c:pt idx="65">
                  <c:v>هفته منتهی به 1403/04/15</c:v>
                </c:pt>
                <c:pt idx="66">
                  <c:v>هفته منتهی به 1403/04/16</c:v>
                </c:pt>
                <c:pt idx="67">
                  <c:v>هفته منتهی به 1403/04/22</c:v>
                </c:pt>
                <c:pt idx="68">
                  <c:v>هفته منتهی به 1403/04/29</c:v>
                </c:pt>
                <c:pt idx="69">
                  <c:v>هفته منتهی به 1403/05/05</c:v>
                </c:pt>
                <c:pt idx="70">
                  <c:v>هفته منتهی به 1403/05/12</c:v>
                </c:pt>
                <c:pt idx="71">
                  <c:v>هفته منتهی به 1403/05/19</c:v>
                </c:pt>
                <c:pt idx="72">
                  <c:v>هفته منتهی به 1403/05/26</c:v>
                </c:pt>
                <c:pt idx="73">
                  <c:v>هفته منتهی به 1403/06/02</c:v>
                </c:pt>
                <c:pt idx="74">
                  <c:v>هفته منتهی به 1403/06/09</c:v>
                </c:pt>
                <c:pt idx="75">
                  <c:v>هفته منتهی به 1403/06/16</c:v>
                </c:pt>
                <c:pt idx="76">
                  <c:v>هفته منتهی به 1403/06/23</c:v>
                </c:pt>
                <c:pt idx="77">
                  <c:v>هفته منتهی به 1403/06/30</c:v>
                </c:pt>
                <c:pt idx="78">
                  <c:v>هفته منتهی به 1403/07/06</c:v>
                </c:pt>
                <c:pt idx="79">
                  <c:v>هفته منتهی به 1403/07/13</c:v>
                </c:pt>
                <c:pt idx="80">
                  <c:v>هفته منتهی به 1403/07/20</c:v>
                </c:pt>
                <c:pt idx="81">
                  <c:v>هفته منتهی به 1403/07/27</c:v>
                </c:pt>
                <c:pt idx="82">
                  <c:v>هفته منتهی به 1403/08/04</c:v>
                </c:pt>
                <c:pt idx="83">
                  <c:v>هفته منتهی به 1403/08/11</c:v>
                </c:pt>
                <c:pt idx="84">
                  <c:v>هفته منتهی به 1403/08/18</c:v>
                </c:pt>
                <c:pt idx="85">
                  <c:v>هفته منتهی به 1403/08/25</c:v>
                </c:pt>
                <c:pt idx="86">
                  <c:v>هفته منتهی به 1403/09/02</c:v>
                </c:pt>
                <c:pt idx="87">
                  <c:v>هفته منتهی به 1403/09/09</c:v>
                </c:pt>
                <c:pt idx="88">
                  <c:v>هفته منتهی به 1403/09/017</c:v>
                </c:pt>
                <c:pt idx="89">
                  <c:v>هفته منتهی به 1403/09/24</c:v>
                </c:pt>
                <c:pt idx="90">
                  <c:v>هفته منتهی به 1403/09/30</c:v>
                </c:pt>
                <c:pt idx="91">
                  <c:v>هفته منتهی به 1403/10/07</c:v>
                </c:pt>
                <c:pt idx="92">
                  <c:v>هفته منتهی به 1403/10/14</c:v>
                </c:pt>
                <c:pt idx="93">
                  <c:v>هفته منتهی به 1403/10/21</c:v>
                </c:pt>
                <c:pt idx="94">
                  <c:v>هفته منتهی به 1403/10/28</c:v>
                </c:pt>
                <c:pt idx="95">
                  <c:v>هفته منتهی به 1403/11/05</c:v>
                </c:pt>
                <c:pt idx="96">
                  <c:v>هفته منتهی به 1403/11/12</c:v>
                </c:pt>
                <c:pt idx="97">
                  <c:v>هفته منتهی به 1403/11/19</c:v>
                </c:pt>
                <c:pt idx="98">
                  <c:v>هفته منتهی به 1403/11/24</c:v>
                </c:pt>
                <c:pt idx="99">
                  <c:v>هفته منتهی به 1403/12/03</c:v>
                </c:pt>
                <c:pt idx="100">
                  <c:v>هفته منتهی به 1403/12/10</c:v>
                </c:pt>
                <c:pt idx="101">
                  <c:v>هفته منتهی به 1403/12/17</c:v>
                </c:pt>
                <c:pt idx="102">
                  <c:v>هفته منتهی به 1403/12/24</c:v>
                </c:pt>
              </c:strCache>
            </c:strRef>
          </c:cat>
          <c:val>
            <c:numRef>
              <c:f>'هفته-دلار'!$B$2:$B$104</c:f>
              <c:numCache>
                <c:formatCode>_(* #,##0.0_);_(* \(#,##0.0\);_(* "-"??_);_(@_)</c:formatCode>
                <c:ptCount val="103"/>
                <c:pt idx="0">
                  <c:v>16.375</c:v>
                </c:pt>
                <c:pt idx="1">
                  <c:v>16.287499999999998</c:v>
                </c:pt>
                <c:pt idx="2">
                  <c:v>15.487500000000001</c:v>
                </c:pt>
                <c:pt idx="3">
                  <c:v>14.512500000000001</c:v>
                </c:pt>
                <c:pt idx="4">
                  <c:v>13.7125</c:v>
                </c:pt>
                <c:pt idx="5">
                  <c:v>12.987499999999999</c:v>
                </c:pt>
                <c:pt idx="6">
                  <c:v>11.3</c:v>
                </c:pt>
                <c:pt idx="7">
                  <c:v>10.7875</c:v>
                </c:pt>
                <c:pt idx="8">
                  <c:v>13.637499999999999</c:v>
                </c:pt>
                <c:pt idx="9">
                  <c:v>14.399999999999999</c:v>
                </c:pt>
                <c:pt idx="10">
                  <c:v>14.149999999999999</c:v>
                </c:pt>
                <c:pt idx="11">
                  <c:v>15.55</c:v>
                </c:pt>
                <c:pt idx="12">
                  <c:v>14.2875</c:v>
                </c:pt>
                <c:pt idx="13">
                  <c:v>12.012499999999999</c:v>
                </c:pt>
                <c:pt idx="14">
                  <c:v>12.862499999999999</c:v>
                </c:pt>
                <c:pt idx="15">
                  <c:v>12.049999999999999</c:v>
                </c:pt>
                <c:pt idx="16">
                  <c:v>13.275</c:v>
                </c:pt>
                <c:pt idx="17">
                  <c:v>15.324999999999999</c:v>
                </c:pt>
                <c:pt idx="18">
                  <c:v>15.574999999999999</c:v>
                </c:pt>
                <c:pt idx="19">
                  <c:v>15.012500000000001</c:v>
                </c:pt>
                <c:pt idx="20">
                  <c:v>15.362500000000001</c:v>
                </c:pt>
                <c:pt idx="21">
                  <c:v>14.8375</c:v>
                </c:pt>
                <c:pt idx="22">
                  <c:v>15.65</c:v>
                </c:pt>
                <c:pt idx="23">
                  <c:v>16.8</c:v>
                </c:pt>
                <c:pt idx="24">
                  <c:v>17.349999999999998</c:v>
                </c:pt>
                <c:pt idx="25">
                  <c:v>16.162499999999998</c:v>
                </c:pt>
                <c:pt idx="26">
                  <c:v>21.1875</c:v>
                </c:pt>
                <c:pt idx="27">
                  <c:v>19.650000000000002</c:v>
                </c:pt>
                <c:pt idx="28">
                  <c:v>20.037500000000001</c:v>
                </c:pt>
                <c:pt idx="29">
                  <c:v>19.537499999999998</c:v>
                </c:pt>
                <c:pt idx="30">
                  <c:v>18.737500000000001</c:v>
                </c:pt>
                <c:pt idx="31">
                  <c:v>18.162500000000001</c:v>
                </c:pt>
                <c:pt idx="32">
                  <c:v>18.75</c:v>
                </c:pt>
                <c:pt idx="33">
                  <c:v>17.737500000000001</c:v>
                </c:pt>
                <c:pt idx="34">
                  <c:v>16.1875</c:v>
                </c:pt>
                <c:pt idx="35">
                  <c:v>14.424999999999999</c:v>
                </c:pt>
                <c:pt idx="36">
                  <c:v>14.774999999999999</c:v>
                </c:pt>
                <c:pt idx="37">
                  <c:v>14.124999999999998</c:v>
                </c:pt>
                <c:pt idx="38">
                  <c:v>14.787500000000001</c:v>
                </c:pt>
                <c:pt idx="39">
                  <c:v>18.837499999999999</c:v>
                </c:pt>
                <c:pt idx="40">
                  <c:v>13.387499999999999</c:v>
                </c:pt>
                <c:pt idx="41">
                  <c:v>13</c:v>
                </c:pt>
                <c:pt idx="42">
                  <c:v>12.837499999999999</c:v>
                </c:pt>
                <c:pt idx="43">
                  <c:v>12.008749999999999</c:v>
                </c:pt>
                <c:pt idx="44">
                  <c:v>11.25375</c:v>
                </c:pt>
                <c:pt idx="45">
                  <c:v>10.792499999999999</c:v>
                </c:pt>
                <c:pt idx="46">
                  <c:v>11.48625</c:v>
                </c:pt>
                <c:pt idx="47">
                  <c:v>11.76375</c:v>
                </c:pt>
                <c:pt idx="48">
                  <c:v>11.9175</c:v>
                </c:pt>
                <c:pt idx="49">
                  <c:v>12.615000000000002</c:v>
                </c:pt>
                <c:pt idx="50">
                  <c:v>12.166250000000002</c:v>
                </c:pt>
                <c:pt idx="51">
                  <c:v>11.99375</c:v>
                </c:pt>
                <c:pt idx="52">
                  <c:v>11.765000000000001</c:v>
                </c:pt>
                <c:pt idx="53">
                  <c:v>12.848750000000001</c:v>
                </c:pt>
                <c:pt idx="54">
                  <c:v>12.9275</c:v>
                </c:pt>
                <c:pt idx="55">
                  <c:v>12.401249999999999</c:v>
                </c:pt>
                <c:pt idx="56">
                  <c:v>12.687499999999998</c:v>
                </c:pt>
                <c:pt idx="57">
                  <c:v>12.786249999999999</c:v>
                </c:pt>
                <c:pt idx="58">
                  <c:v>13.116249999999999</c:v>
                </c:pt>
                <c:pt idx="59">
                  <c:v>14.313750000000001</c:v>
                </c:pt>
                <c:pt idx="60">
                  <c:v>14.071249999999999</c:v>
                </c:pt>
                <c:pt idx="61">
                  <c:v>13.544999999999998</c:v>
                </c:pt>
                <c:pt idx="62">
                  <c:v>14.203749999999999</c:v>
                </c:pt>
                <c:pt idx="63">
                  <c:v>13.565000000000001</c:v>
                </c:pt>
                <c:pt idx="64">
                  <c:v>13.87125</c:v>
                </c:pt>
                <c:pt idx="65">
                  <c:v>13.085000000000001</c:v>
                </c:pt>
                <c:pt idx="66">
                  <c:v>12.796249999999997</c:v>
                </c:pt>
                <c:pt idx="67">
                  <c:v>12.686757</c:v>
                </c:pt>
                <c:pt idx="68">
                  <c:v>12.773260000000001</c:v>
                </c:pt>
                <c:pt idx="69">
                  <c:v>12.955000000000002</c:v>
                </c:pt>
                <c:pt idx="70">
                  <c:v>13.971250000000001</c:v>
                </c:pt>
                <c:pt idx="71">
                  <c:v>14.892500000000002</c:v>
                </c:pt>
                <c:pt idx="72">
                  <c:v>15.375</c:v>
                </c:pt>
                <c:pt idx="73">
                  <c:v>14.622500000000002</c:v>
                </c:pt>
                <c:pt idx="74">
                  <c:v>14.81625</c:v>
                </c:pt>
                <c:pt idx="75">
                  <c:v>14.28875</c:v>
                </c:pt>
                <c:pt idx="76">
                  <c:v>14.047499999999999</c:v>
                </c:pt>
                <c:pt idx="77">
                  <c:v>13.827500000000001</c:v>
                </c:pt>
                <c:pt idx="78">
                  <c:v>15.056250000000002</c:v>
                </c:pt>
                <c:pt idx="79">
                  <c:v>15.6525</c:v>
                </c:pt>
                <c:pt idx="80">
                  <c:v>15.653749999999999</c:v>
                </c:pt>
                <c:pt idx="81">
                  <c:v>15.482500000000002</c:v>
                </c:pt>
                <c:pt idx="82">
                  <c:v>15.993749999999999</c:v>
                </c:pt>
                <c:pt idx="83">
                  <c:v>15.81625</c:v>
                </c:pt>
                <c:pt idx="84">
                  <c:v>15.855</c:v>
                </c:pt>
                <c:pt idx="85">
                  <c:v>17.133749999999999</c:v>
                </c:pt>
                <c:pt idx="86">
                  <c:v>17.895</c:v>
                </c:pt>
                <c:pt idx="87">
                  <c:v>18.574999999999999</c:v>
                </c:pt>
                <c:pt idx="88">
                  <c:v>18.2</c:v>
                </c:pt>
                <c:pt idx="89">
                  <c:v>16.824999999999999</c:v>
                </c:pt>
                <c:pt idx="90">
                  <c:v>17.824999999999999</c:v>
                </c:pt>
                <c:pt idx="91">
                  <c:v>18.168749999999999</c:v>
                </c:pt>
                <c:pt idx="92">
                  <c:v>19.351249999999997</c:v>
                </c:pt>
                <c:pt idx="93">
                  <c:v>18.6525</c:v>
                </c:pt>
                <c:pt idx="94">
                  <c:v>19.166250000000002</c:v>
                </c:pt>
                <c:pt idx="95">
                  <c:v>19.40625</c:v>
                </c:pt>
                <c:pt idx="96">
                  <c:v>19.79</c:v>
                </c:pt>
                <c:pt idx="97">
                  <c:v>18.827500000000001</c:v>
                </c:pt>
                <c:pt idx="98">
                  <c:v>19.127500000000001</c:v>
                </c:pt>
                <c:pt idx="99">
                  <c:v>17.099999999999998</c:v>
                </c:pt>
                <c:pt idx="100">
                  <c:v>16.545000000000002</c:v>
                </c:pt>
                <c:pt idx="101">
                  <c:v>16.04</c:v>
                </c:pt>
                <c:pt idx="102">
                  <c:v>16.4975000000000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E42-433F-91A0-B3247F5DA1D4}"/>
            </c:ext>
          </c:extLst>
        </c:ser>
        <c:ser>
          <c:idx val="1"/>
          <c:order val="1"/>
          <c:tx>
            <c:strRef>
              <c:f>'هفته-دلار'!$C$1</c:f>
              <c:strCache>
                <c:ptCount val="1"/>
                <c:pt idx="0">
                  <c:v>Henry Hub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هفته-دلار'!$A$2:$A$109</c:f>
              <c:strCache>
                <c:ptCount val="103"/>
                <c:pt idx="0">
                  <c:v>هفته منتهی به 1402/01/25</c:v>
                </c:pt>
                <c:pt idx="1">
                  <c:v>هفته منتهی به 1402/02/01</c:v>
                </c:pt>
                <c:pt idx="2">
                  <c:v>هفته منتهی به 1402/02/08</c:v>
                </c:pt>
                <c:pt idx="3">
                  <c:v>هفته منتهی به 1402/02/15</c:v>
                </c:pt>
                <c:pt idx="4">
                  <c:v>هفته منتهی به 1402/02/22</c:v>
                </c:pt>
                <c:pt idx="5">
                  <c:v>هفته منتهی به 1402/02/29</c:v>
                </c:pt>
                <c:pt idx="6">
                  <c:v>هفته منتهی به 1402/03/05</c:v>
                </c:pt>
                <c:pt idx="7">
                  <c:v>هفته منتهی به 1402/03/12</c:v>
                </c:pt>
                <c:pt idx="8">
                  <c:v>هفته منتهی به 1402/03/19</c:v>
                </c:pt>
                <c:pt idx="9">
                  <c:v>هفته منتهی به 1402/03/26</c:v>
                </c:pt>
                <c:pt idx="10">
                  <c:v>هفته منتهی به 1402/04/02</c:v>
                </c:pt>
                <c:pt idx="11">
                  <c:v>هفته منتهی به 1402/04/09</c:v>
                </c:pt>
                <c:pt idx="12">
                  <c:v>هفته منتهی به 1402/04/16</c:v>
                </c:pt>
                <c:pt idx="13">
                  <c:v>هفته منتهی به 1402/04/23</c:v>
                </c:pt>
                <c:pt idx="14">
                  <c:v>هفته منتهی به 1402/04/30</c:v>
                </c:pt>
                <c:pt idx="15">
                  <c:v>هفته منتهی به 1402/05/06</c:v>
                </c:pt>
                <c:pt idx="16">
                  <c:v>هفته منتهی به 1402/05/13</c:v>
                </c:pt>
                <c:pt idx="17">
                  <c:v>هفته منتهی به 1402/05/20</c:v>
                </c:pt>
                <c:pt idx="18">
                  <c:v>هفته منتهی به 1402/05/27</c:v>
                </c:pt>
                <c:pt idx="19">
                  <c:v>هفته منتهی به 1402/06/03</c:v>
                </c:pt>
                <c:pt idx="20">
                  <c:v>هفته منتهی به 1402/06/10</c:v>
                </c:pt>
                <c:pt idx="21">
                  <c:v>هفته منتهی به 1402/06/17</c:v>
                </c:pt>
                <c:pt idx="22">
                  <c:v>هفته منتهی به 1402/06/24</c:v>
                </c:pt>
                <c:pt idx="23">
                  <c:v>هفته منتهی به 1402/06/31</c:v>
                </c:pt>
                <c:pt idx="24">
                  <c:v>هفته منتهی به 1402/07/07</c:v>
                </c:pt>
                <c:pt idx="25">
                  <c:v>هفته منتهی به 1402/07/14</c:v>
                </c:pt>
                <c:pt idx="26">
                  <c:v>هفته منتهی به 1402/07/21</c:v>
                </c:pt>
                <c:pt idx="27">
                  <c:v>هفته منتهی به 1402/07/28</c:v>
                </c:pt>
                <c:pt idx="28">
                  <c:v>هفته منتهی به 1402/08/05</c:v>
                </c:pt>
                <c:pt idx="29">
                  <c:v>هفته منتهی به 1402/08/12</c:v>
                </c:pt>
                <c:pt idx="30">
                  <c:v>هفته منتهی به 1402/08/19</c:v>
                </c:pt>
                <c:pt idx="31">
                  <c:v>هفته منتهی به 1402/08/26</c:v>
                </c:pt>
                <c:pt idx="32">
                  <c:v>هفته منتهی به 1402/09/03</c:v>
                </c:pt>
                <c:pt idx="33">
                  <c:v>هفته منتهی به 1402/09/10</c:v>
                </c:pt>
                <c:pt idx="34">
                  <c:v>هفته منتهی به 1402/09/17</c:v>
                </c:pt>
                <c:pt idx="35">
                  <c:v>هفته منتهی به 1402/09/24</c:v>
                </c:pt>
                <c:pt idx="36">
                  <c:v>هفته منتهی به 1402/10/01</c:v>
                </c:pt>
                <c:pt idx="37">
                  <c:v>هفته منتهی به 1402/10/08</c:v>
                </c:pt>
                <c:pt idx="38">
                  <c:v>هفته منتهی به 1402/10/15</c:v>
                </c:pt>
                <c:pt idx="39">
                  <c:v>هفته منتهی به 1402/10/22</c:v>
                </c:pt>
                <c:pt idx="40">
                  <c:v>هفته منتهی به 1402/10/29</c:v>
                </c:pt>
                <c:pt idx="41">
                  <c:v>هفته منتهی به 1402/11/06</c:v>
                </c:pt>
                <c:pt idx="42">
                  <c:v>هفته منتهی به 1402/11/13</c:v>
                </c:pt>
                <c:pt idx="43">
                  <c:v>هفته منتهی به 1402/11/20</c:v>
                </c:pt>
                <c:pt idx="44">
                  <c:v>هفته منتهی به 1402/11/27</c:v>
                </c:pt>
                <c:pt idx="45">
                  <c:v>هفته منتهی به 1402/12/04</c:v>
                </c:pt>
                <c:pt idx="46">
                  <c:v>هفته منتهی به 1402/12/11</c:v>
                </c:pt>
                <c:pt idx="47">
                  <c:v>هفته منتهی به 1402/12/18</c:v>
                </c:pt>
                <c:pt idx="48">
                  <c:v>هفته منتهی به 1402/12/25</c:v>
                </c:pt>
                <c:pt idx="49">
                  <c:v>هفته منتهی به 1402/12/29</c:v>
                </c:pt>
                <c:pt idx="50">
                  <c:v>هفته منتهی به 1403/01/03</c:v>
                </c:pt>
                <c:pt idx="51">
                  <c:v>هفته منتهی به 1403/01/10</c:v>
                </c:pt>
                <c:pt idx="52">
                  <c:v>هفته منتهی به 1403/01/17</c:v>
                </c:pt>
                <c:pt idx="53">
                  <c:v>هفته منتهی به 1403/01/24</c:v>
                </c:pt>
                <c:pt idx="54">
                  <c:v>هفته منتهی به 1403/01/31</c:v>
                </c:pt>
                <c:pt idx="55">
                  <c:v>هفته منتهی به 1403/02/07</c:v>
                </c:pt>
                <c:pt idx="56">
                  <c:v>هفته منتهی به 1403/02/14</c:v>
                </c:pt>
                <c:pt idx="57">
                  <c:v>هفته منتهی به 1403/02/21</c:v>
                </c:pt>
                <c:pt idx="58">
                  <c:v>هفته منتهی به 1403/02/28</c:v>
                </c:pt>
                <c:pt idx="59">
                  <c:v>هفته منتهی به 1403/03/04</c:v>
                </c:pt>
                <c:pt idx="60">
                  <c:v>هفته منتهی به 1403/03/11</c:v>
                </c:pt>
                <c:pt idx="61">
                  <c:v>هفته منتهی به 1403/03/18</c:v>
                </c:pt>
                <c:pt idx="62">
                  <c:v>هفته منتهی به 1403/03/25</c:v>
                </c:pt>
                <c:pt idx="63">
                  <c:v>هفته منتهی به 1403/04/01</c:v>
                </c:pt>
                <c:pt idx="64">
                  <c:v>هفته منتهی به 1403/04/08</c:v>
                </c:pt>
                <c:pt idx="65">
                  <c:v>هفته منتهی به 1403/04/15</c:v>
                </c:pt>
                <c:pt idx="66">
                  <c:v>هفته منتهی به 1403/04/16</c:v>
                </c:pt>
                <c:pt idx="67">
                  <c:v>هفته منتهی به 1403/04/22</c:v>
                </c:pt>
                <c:pt idx="68">
                  <c:v>هفته منتهی به 1403/04/29</c:v>
                </c:pt>
                <c:pt idx="69">
                  <c:v>هفته منتهی به 1403/05/05</c:v>
                </c:pt>
                <c:pt idx="70">
                  <c:v>هفته منتهی به 1403/05/12</c:v>
                </c:pt>
                <c:pt idx="71">
                  <c:v>هفته منتهی به 1403/05/19</c:v>
                </c:pt>
                <c:pt idx="72">
                  <c:v>هفته منتهی به 1403/05/26</c:v>
                </c:pt>
                <c:pt idx="73">
                  <c:v>هفته منتهی به 1403/06/02</c:v>
                </c:pt>
                <c:pt idx="74">
                  <c:v>هفته منتهی به 1403/06/09</c:v>
                </c:pt>
                <c:pt idx="75">
                  <c:v>هفته منتهی به 1403/06/16</c:v>
                </c:pt>
                <c:pt idx="76">
                  <c:v>هفته منتهی به 1403/06/23</c:v>
                </c:pt>
                <c:pt idx="77">
                  <c:v>هفته منتهی به 1403/06/30</c:v>
                </c:pt>
                <c:pt idx="78">
                  <c:v>هفته منتهی به 1403/07/06</c:v>
                </c:pt>
                <c:pt idx="79">
                  <c:v>هفته منتهی به 1403/07/13</c:v>
                </c:pt>
                <c:pt idx="80">
                  <c:v>هفته منتهی به 1403/07/20</c:v>
                </c:pt>
                <c:pt idx="81">
                  <c:v>هفته منتهی به 1403/07/27</c:v>
                </c:pt>
                <c:pt idx="82">
                  <c:v>هفته منتهی به 1403/08/04</c:v>
                </c:pt>
                <c:pt idx="83">
                  <c:v>هفته منتهی به 1403/08/11</c:v>
                </c:pt>
                <c:pt idx="84">
                  <c:v>هفته منتهی به 1403/08/18</c:v>
                </c:pt>
                <c:pt idx="85">
                  <c:v>هفته منتهی به 1403/08/25</c:v>
                </c:pt>
                <c:pt idx="86">
                  <c:v>هفته منتهی به 1403/09/02</c:v>
                </c:pt>
                <c:pt idx="87">
                  <c:v>هفته منتهی به 1403/09/09</c:v>
                </c:pt>
                <c:pt idx="88">
                  <c:v>هفته منتهی به 1403/09/017</c:v>
                </c:pt>
                <c:pt idx="89">
                  <c:v>هفته منتهی به 1403/09/24</c:v>
                </c:pt>
                <c:pt idx="90">
                  <c:v>هفته منتهی به 1403/09/30</c:v>
                </c:pt>
                <c:pt idx="91">
                  <c:v>هفته منتهی به 1403/10/07</c:v>
                </c:pt>
                <c:pt idx="92">
                  <c:v>هفته منتهی به 1403/10/14</c:v>
                </c:pt>
                <c:pt idx="93">
                  <c:v>هفته منتهی به 1403/10/21</c:v>
                </c:pt>
                <c:pt idx="94">
                  <c:v>هفته منتهی به 1403/10/28</c:v>
                </c:pt>
                <c:pt idx="95">
                  <c:v>هفته منتهی به 1403/11/05</c:v>
                </c:pt>
                <c:pt idx="96">
                  <c:v>هفته منتهی به 1403/11/12</c:v>
                </c:pt>
                <c:pt idx="97">
                  <c:v>هفته منتهی به 1403/11/19</c:v>
                </c:pt>
                <c:pt idx="98">
                  <c:v>هفته منتهی به 1403/11/24</c:v>
                </c:pt>
                <c:pt idx="99">
                  <c:v>هفته منتهی به 1403/12/03</c:v>
                </c:pt>
                <c:pt idx="100">
                  <c:v>هفته منتهی به 1403/12/10</c:v>
                </c:pt>
                <c:pt idx="101">
                  <c:v>هفته منتهی به 1403/12/17</c:v>
                </c:pt>
                <c:pt idx="102">
                  <c:v>هفته منتهی به 1403/12/24</c:v>
                </c:pt>
              </c:strCache>
            </c:strRef>
          </c:cat>
          <c:val>
            <c:numRef>
              <c:f>'هفته-دلار'!$C$2:$C$109</c:f>
              <c:numCache>
                <c:formatCode>_(* #,##0.00_);_(* \(#,##0.00\);_(* "-"??_);_(@_)</c:formatCode>
                <c:ptCount val="108"/>
                <c:pt idx="0">
                  <c:v>6.6000000000000005</c:v>
                </c:pt>
                <c:pt idx="1">
                  <c:v>7.8</c:v>
                </c:pt>
                <c:pt idx="2">
                  <c:v>8</c:v>
                </c:pt>
                <c:pt idx="3">
                  <c:v>6.5</c:v>
                </c:pt>
                <c:pt idx="4">
                  <c:v>7.0000000000000009</c:v>
                </c:pt>
                <c:pt idx="5">
                  <c:v>8.4</c:v>
                </c:pt>
                <c:pt idx="6">
                  <c:v>6.6000000000000005</c:v>
                </c:pt>
                <c:pt idx="7">
                  <c:v>6.1</c:v>
                </c:pt>
                <c:pt idx="8">
                  <c:v>6.5</c:v>
                </c:pt>
                <c:pt idx="9">
                  <c:v>7.5</c:v>
                </c:pt>
                <c:pt idx="10">
                  <c:v>7.8</c:v>
                </c:pt>
                <c:pt idx="11">
                  <c:v>8.7999999999999989</c:v>
                </c:pt>
                <c:pt idx="12">
                  <c:v>8.7999999999999989</c:v>
                </c:pt>
                <c:pt idx="13">
                  <c:v>8.7999999999999989</c:v>
                </c:pt>
                <c:pt idx="14">
                  <c:v>9.1999999999999993</c:v>
                </c:pt>
                <c:pt idx="15">
                  <c:v>8.9</c:v>
                </c:pt>
                <c:pt idx="16">
                  <c:v>8.9</c:v>
                </c:pt>
                <c:pt idx="17">
                  <c:v>9.1999999999999993</c:v>
                </c:pt>
                <c:pt idx="18">
                  <c:v>8.6</c:v>
                </c:pt>
                <c:pt idx="19">
                  <c:v>8.6999999999999993</c:v>
                </c:pt>
                <c:pt idx="20">
                  <c:v>9.5</c:v>
                </c:pt>
                <c:pt idx="21">
                  <c:v>8.9</c:v>
                </c:pt>
                <c:pt idx="22">
                  <c:v>9.7000000000000011</c:v>
                </c:pt>
                <c:pt idx="23">
                  <c:v>9.3000000000000007</c:v>
                </c:pt>
                <c:pt idx="24">
                  <c:v>9.5</c:v>
                </c:pt>
                <c:pt idx="25">
                  <c:v>11.600000000000001</c:v>
                </c:pt>
                <c:pt idx="26">
                  <c:v>11</c:v>
                </c:pt>
                <c:pt idx="27">
                  <c:v>9.1999999999999993</c:v>
                </c:pt>
                <c:pt idx="28">
                  <c:v>11.4</c:v>
                </c:pt>
                <c:pt idx="29">
                  <c:v>11.799999999999999</c:v>
                </c:pt>
                <c:pt idx="30">
                  <c:v>9.6</c:v>
                </c:pt>
                <c:pt idx="31">
                  <c:v>9.1999999999999993</c:v>
                </c:pt>
                <c:pt idx="32">
                  <c:v>9.6</c:v>
                </c:pt>
                <c:pt idx="33">
                  <c:v>9.3000000000000007</c:v>
                </c:pt>
                <c:pt idx="34">
                  <c:v>9.1</c:v>
                </c:pt>
                <c:pt idx="35">
                  <c:v>8.6</c:v>
                </c:pt>
                <c:pt idx="36">
                  <c:v>9</c:v>
                </c:pt>
                <c:pt idx="37">
                  <c:v>9.1</c:v>
                </c:pt>
                <c:pt idx="38">
                  <c:v>9.7000000000000011</c:v>
                </c:pt>
                <c:pt idx="39">
                  <c:v>9.6999999999999993</c:v>
                </c:pt>
                <c:pt idx="40">
                  <c:v>9.5</c:v>
                </c:pt>
                <c:pt idx="41">
                  <c:v>8.3000000000000007</c:v>
                </c:pt>
                <c:pt idx="42">
                  <c:v>7.0900000000000007</c:v>
                </c:pt>
                <c:pt idx="43">
                  <c:v>6.1400000000000006</c:v>
                </c:pt>
                <c:pt idx="44">
                  <c:v>5.47</c:v>
                </c:pt>
                <c:pt idx="45">
                  <c:v>5.36</c:v>
                </c:pt>
                <c:pt idx="46">
                  <c:v>5.19</c:v>
                </c:pt>
                <c:pt idx="47">
                  <c:v>5.43</c:v>
                </c:pt>
                <c:pt idx="48">
                  <c:v>4.87</c:v>
                </c:pt>
                <c:pt idx="49">
                  <c:v>5.47</c:v>
                </c:pt>
                <c:pt idx="50">
                  <c:v>5.29</c:v>
                </c:pt>
                <c:pt idx="51">
                  <c:v>5.43</c:v>
                </c:pt>
                <c:pt idx="52">
                  <c:v>5.58</c:v>
                </c:pt>
                <c:pt idx="53">
                  <c:v>4.8</c:v>
                </c:pt>
                <c:pt idx="54">
                  <c:v>5.0500000000000007</c:v>
                </c:pt>
                <c:pt idx="55">
                  <c:v>4.9399999999999995</c:v>
                </c:pt>
                <c:pt idx="56">
                  <c:v>5.89</c:v>
                </c:pt>
                <c:pt idx="57">
                  <c:v>7.55</c:v>
                </c:pt>
                <c:pt idx="58">
                  <c:v>8.61</c:v>
                </c:pt>
                <c:pt idx="59">
                  <c:v>8.89</c:v>
                </c:pt>
                <c:pt idx="60">
                  <c:v>8.08</c:v>
                </c:pt>
                <c:pt idx="61">
                  <c:v>9.1</c:v>
                </c:pt>
                <c:pt idx="62">
                  <c:v>9.56</c:v>
                </c:pt>
                <c:pt idx="63">
                  <c:v>8.51</c:v>
                </c:pt>
                <c:pt idx="64">
                  <c:v>9.2100000000000009</c:v>
                </c:pt>
                <c:pt idx="65">
                  <c:v>7.26</c:v>
                </c:pt>
                <c:pt idx="66">
                  <c:v>8.5399999999999991</c:v>
                </c:pt>
                <c:pt idx="67">
                  <c:v>7.65</c:v>
                </c:pt>
                <c:pt idx="68">
                  <c:v>7.41</c:v>
                </c:pt>
                <c:pt idx="69">
                  <c:v>7.51</c:v>
                </c:pt>
                <c:pt idx="70">
                  <c:v>7.06</c:v>
                </c:pt>
                <c:pt idx="71">
                  <c:v>7.29</c:v>
                </c:pt>
                <c:pt idx="72">
                  <c:v>7.68</c:v>
                </c:pt>
                <c:pt idx="73">
                  <c:v>7.54</c:v>
                </c:pt>
                <c:pt idx="74">
                  <c:v>7.11</c:v>
                </c:pt>
                <c:pt idx="75">
                  <c:v>7.72</c:v>
                </c:pt>
                <c:pt idx="76">
                  <c:v>7.75</c:v>
                </c:pt>
                <c:pt idx="77">
                  <c:v>8.82</c:v>
                </c:pt>
                <c:pt idx="78">
                  <c:v>10.199999999999999</c:v>
                </c:pt>
                <c:pt idx="79">
                  <c:v>10.3</c:v>
                </c:pt>
                <c:pt idx="80">
                  <c:v>9.57</c:v>
                </c:pt>
                <c:pt idx="81">
                  <c:v>7.58</c:v>
                </c:pt>
                <c:pt idx="82">
                  <c:v>6.63</c:v>
                </c:pt>
                <c:pt idx="83">
                  <c:v>6.44</c:v>
                </c:pt>
                <c:pt idx="84">
                  <c:v>5.27</c:v>
                </c:pt>
                <c:pt idx="85" formatCode="_(* #,##0.0_);_(* \(#,##0.0\);_(* &quot;-&quot;??_);_(@_)">
                  <c:v>6.32</c:v>
                </c:pt>
                <c:pt idx="86" formatCode="_(* #,##0.0_);_(* \(#,##0.0\);_(* &quot;-&quot;??_);_(@_)">
                  <c:v>7.34</c:v>
                </c:pt>
                <c:pt idx="87" formatCode="_(* #,##0.0_);_(* \(#,##0.0\);_(* &quot;-&quot;??_);_(@_)">
                  <c:v>12</c:v>
                </c:pt>
                <c:pt idx="88" formatCode="_(* #,##0.0_);_(* \(#,##0.0\);_(* &quot;-&quot;??_);_(@_)">
                  <c:v>11</c:v>
                </c:pt>
                <c:pt idx="89" formatCode="_(* #,##0.0_);_(* \(#,##0.0\);_(* &quot;-&quot;??_);_(@_)">
                  <c:v>12</c:v>
                </c:pt>
                <c:pt idx="90" formatCode="_(* #,##0.0_);_(* \(#,##0.0\);_(* &quot;-&quot;??_);_(@_)">
                  <c:v>13</c:v>
                </c:pt>
                <c:pt idx="91" formatCode="_(* #,##0.0_);_(* \(#,##0.0\);_(* &quot;-&quot;??_);_(@_)">
                  <c:v>10.4</c:v>
                </c:pt>
                <c:pt idx="92" formatCode="_(* #,##0.0_);_(* \(#,##0.0\);_(* &quot;-&quot;??_);_(@_)">
                  <c:v>12.7</c:v>
                </c:pt>
                <c:pt idx="93" formatCode="_(* #,##0.0_);_(* \(#,##0.0\);_(* &quot;-&quot;??_);_(@_)">
                  <c:v>14.3</c:v>
                </c:pt>
                <c:pt idx="94" formatCode="_(* #,##0.0_);_(* \(#,##0.0\);_(* &quot;-&quot;??_);_(@_)">
                  <c:v>15.5</c:v>
                </c:pt>
                <c:pt idx="95" formatCode="_(* #,##0.0_);_(* \(#,##0.0\);_(* &quot;-&quot;??_);_(@_)">
                  <c:v>14.2</c:v>
                </c:pt>
                <c:pt idx="96" formatCode="_(* #,##0.0_);_(* \(#,##0.0\);_(* &quot;-&quot;??_);_(@_)">
                  <c:v>13.1</c:v>
                </c:pt>
                <c:pt idx="97" formatCode="_(* #,##0.0_);_(* \(#,##0.0\);_(* &quot;-&quot;??_);_(@_)">
                  <c:v>11.6</c:v>
                </c:pt>
                <c:pt idx="98" formatCode="_(* #,##0.0_);_(* \(#,##0.0\);_(* &quot;-&quot;??_);_(@_)">
                  <c:v>12.3</c:v>
                </c:pt>
                <c:pt idx="99" formatCode="_(* #,##0.0_);_(* \(#,##0.0\);_(* &quot;-&quot;??_);_(@_)">
                  <c:v>15</c:v>
                </c:pt>
                <c:pt idx="100" formatCode="_(* #,##0.0_);_(* \(#,##0.0\);_(* &quot;-&quot;??_);_(@_)">
                  <c:v>14.2</c:v>
                </c:pt>
                <c:pt idx="101" formatCode="_(* #,##0.0_);_(* \(#,##0.0\);_(* &quot;-&quot;??_);_(@_)">
                  <c:v>15</c:v>
                </c:pt>
                <c:pt idx="102">
                  <c:v>14.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BE42-433F-91A0-B3247F5DA1D4}"/>
            </c:ext>
          </c:extLst>
        </c:ser>
        <c:ser>
          <c:idx val="2"/>
          <c:order val="2"/>
          <c:tx>
            <c:strRef>
              <c:f>'هفته-دلار'!$D$1</c:f>
              <c:strCache>
                <c:ptCount val="1"/>
                <c:pt idx="0">
                  <c:v>TTF</c:v>
                </c:pt>
              </c:strCache>
            </c:strRef>
          </c:tx>
          <c:spPr>
            <a:ln w="190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'هفته-دلار'!$A$2:$A$109</c:f>
              <c:strCache>
                <c:ptCount val="103"/>
                <c:pt idx="0">
                  <c:v>هفته منتهی به 1402/01/25</c:v>
                </c:pt>
                <c:pt idx="1">
                  <c:v>هفته منتهی به 1402/02/01</c:v>
                </c:pt>
                <c:pt idx="2">
                  <c:v>هفته منتهی به 1402/02/08</c:v>
                </c:pt>
                <c:pt idx="3">
                  <c:v>هفته منتهی به 1402/02/15</c:v>
                </c:pt>
                <c:pt idx="4">
                  <c:v>هفته منتهی به 1402/02/22</c:v>
                </c:pt>
                <c:pt idx="5">
                  <c:v>هفته منتهی به 1402/02/29</c:v>
                </c:pt>
                <c:pt idx="6">
                  <c:v>هفته منتهی به 1402/03/05</c:v>
                </c:pt>
                <c:pt idx="7">
                  <c:v>هفته منتهی به 1402/03/12</c:v>
                </c:pt>
                <c:pt idx="8">
                  <c:v>هفته منتهی به 1402/03/19</c:v>
                </c:pt>
                <c:pt idx="9">
                  <c:v>هفته منتهی به 1402/03/26</c:v>
                </c:pt>
                <c:pt idx="10">
                  <c:v>هفته منتهی به 1402/04/02</c:v>
                </c:pt>
                <c:pt idx="11">
                  <c:v>هفته منتهی به 1402/04/09</c:v>
                </c:pt>
                <c:pt idx="12">
                  <c:v>هفته منتهی به 1402/04/16</c:v>
                </c:pt>
                <c:pt idx="13">
                  <c:v>هفته منتهی به 1402/04/23</c:v>
                </c:pt>
                <c:pt idx="14">
                  <c:v>هفته منتهی به 1402/04/30</c:v>
                </c:pt>
                <c:pt idx="15">
                  <c:v>هفته منتهی به 1402/05/06</c:v>
                </c:pt>
                <c:pt idx="16">
                  <c:v>هفته منتهی به 1402/05/13</c:v>
                </c:pt>
                <c:pt idx="17">
                  <c:v>هفته منتهی به 1402/05/20</c:v>
                </c:pt>
                <c:pt idx="18">
                  <c:v>هفته منتهی به 1402/05/27</c:v>
                </c:pt>
                <c:pt idx="19">
                  <c:v>هفته منتهی به 1402/06/03</c:v>
                </c:pt>
                <c:pt idx="20">
                  <c:v>هفته منتهی به 1402/06/10</c:v>
                </c:pt>
                <c:pt idx="21">
                  <c:v>هفته منتهی به 1402/06/17</c:v>
                </c:pt>
                <c:pt idx="22">
                  <c:v>هفته منتهی به 1402/06/24</c:v>
                </c:pt>
                <c:pt idx="23">
                  <c:v>هفته منتهی به 1402/06/31</c:v>
                </c:pt>
                <c:pt idx="24">
                  <c:v>هفته منتهی به 1402/07/07</c:v>
                </c:pt>
                <c:pt idx="25">
                  <c:v>هفته منتهی به 1402/07/14</c:v>
                </c:pt>
                <c:pt idx="26">
                  <c:v>هفته منتهی به 1402/07/21</c:v>
                </c:pt>
                <c:pt idx="27">
                  <c:v>هفته منتهی به 1402/07/28</c:v>
                </c:pt>
                <c:pt idx="28">
                  <c:v>هفته منتهی به 1402/08/05</c:v>
                </c:pt>
                <c:pt idx="29">
                  <c:v>هفته منتهی به 1402/08/12</c:v>
                </c:pt>
                <c:pt idx="30">
                  <c:v>هفته منتهی به 1402/08/19</c:v>
                </c:pt>
                <c:pt idx="31">
                  <c:v>هفته منتهی به 1402/08/26</c:v>
                </c:pt>
                <c:pt idx="32">
                  <c:v>هفته منتهی به 1402/09/03</c:v>
                </c:pt>
                <c:pt idx="33">
                  <c:v>هفته منتهی به 1402/09/10</c:v>
                </c:pt>
                <c:pt idx="34">
                  <c:v>هفته منتهی به 1402/09/17</c:v>
                </c:pt>
                <c:pt idx="35">
                  <c:v>هفته منتهی به 1402/09/24</c:v>
                </c:pt>
                <c:pt idx="36">
                  <c:v>هفته منتهی به 1402/10/01</c:v>
                </c:pt>
                <c:pt idx="37">
                  <c:v>هفته منتهی به 1402/10/08</c:v>
                </c:pt>
                <c:pt idx="38">
                  <c:v>هفته منتهی به 1402/10/15</c:v>
                </c:pt>
                <c:pt idx="39">
                  <c:v>هفته منتهی به 1402/10/22</c:v>
                </c:pt>
                <c:pt idx="40">
                  <c:v>هفته منتهی به 1402/10/29</c:v>
                </c:pt>
                <c:pt idx="41">
                  <c:v>هفته منتهی به 1402/11/06</c:v>
                </c:pt>
                <c:pt idx="42">
                  <c:v>هفته منتهی به 1402/11/13</c:v>
                </c:pt>
                <c:pt idx="43">
                  <c:v>هفته منتهی به 1402/11/20</c:v>
                </c:pt>
                <c:pt idx="44">
                  <c:v>هفته منتهی به 1402/11/27</c:v>
                </c:pt>
                <c:pt idx="45">
                  <c:v>هفته منتهی به 1402/12/04</c:v>
                </c:pt>
                <c:pt idx="46">
                  <c:v>هفته منتهی به 1402/12/11</c:v>
                </c:pt>
                <c:pt idx="47">
                  <c:v>هفته منتهی به 1402/12/18</c:v>
                </c:pt>
                <c:pt idx="48">
                  <c:v>هفته منتهی به 1402/12/25</c:v>
                </c:pt>
                <c:pt idx="49">
                  <c:v>هفته منتهی به 1402/12/29</c:v>
                </c:pt>
                <c:pt idx="50">
                  <c:v>هفته منتهی به 1403/01/03</c:v>
                </c:pt>
                <c:pt idx="51">
                  <c:v>هفته منتهی به 1403/01/10</c:v>
                </c:pt>
                <c:pt idx="52">
                  <c:v>هفته منتهی به 1403/01/17</c:v>
                </c:pt>
                <c:pt idx="53">
                  <c:v>هفته منتهی به 1403/01/24</c:v>
                </c:pt>
                <c:pt idx="54">
                  <c:v>هفته منتهی به 1403/01/31</c:v>
                </c:pt>
                <c:pt idx="55">
                  <c:v>هفته منتهی به 1403/02/07</c:v>
                </c:pt>
                <c:pt idx="56">
                  <c:v>هفته منتهی به 1403/02/14</c:v>
                </c:pt>
                <c:pt idx="57">
                  <c:v>هفته منتهی به 1403/02/21</c:v>
                </c:pt>
                <c:pt idx="58">
                  <c:v>هفته منتهی به 1403/02/28</c:v>
                </c:pt>
                <c:pt idx="59">
                  <c:v>هفته منتهی به 1403/03/04</c:v>
                </c:pt>
                <c:pt idx="60">
                  <c:v>هفته منتهی به 1403/03/11</c:v>
                </c:pt>
                <c:pt idx="61">
                  <c:v>هفته منتهی به 1403/03/18</c:v>
                </c:pt>
                <c:pt idx="62">
                  <c:v>هفته منتهی به 1403/03/25</c:v>
                </c:pt>
                <c:pt idx="63">
                  <c:v>هفته منتهی به 1403/04/01</c:v>
                </c:pt>
                <c:pt idx="64">
                  <c:v>هفته منتهی به 1403/04/08</c:v>
                </c:pt>
                <c:pt idx="65">
                  <c:v>هفته منتهی به 1403/04/15</c:v>
                </c:pt>
                <c:pt idx="66">
                  <c:v>هفته منتهی به 1403/04/16</c:v>
                </c:pt>
                <c:pt idx="67">
                  <c:v>هفته منتهی به 1403/04/22</c:v>
                </c:pt>
                <c:pt idx="68">
                  <c:v>هفته منتهی به 1403/04/29</c:v>
                </c:pt>
                <c:pt idx="69">
                  <c:v>هفته منتهی به 1403/05/05</c:v>
                </c:pt>
                <c:pt idx="70">
                  <c:v>هفته منتهی به 1403/05/12</c:v>
                </c:pt>
                <c:pt idx="71">
                  <c:v>هفته منتهی به 1403/05/19</c:v>
                </c:pt>
                <c:pt idx="72">
                  <c:v>هفته منتهی به 1403/05/26</c:v>
                </c:pt>
                <c:pt idx="73">
                  <c:v>هفته منتهی به 1403/06/02</c:v>
                </c:pt>
                <c:pt idx="74">
                  <c:v>هفته منتهی به 1403/06/09</c:v>
                </c:pt>
                <c:pt idx="75">
                  <c:v>هفته منتهی به 1403/06/16</c:v>
                </c:pt>
                <c:pt idx="76">
                  <c:v>هفته منتهی به 1403/06/23</c:v>
                </c:pt>
                <c:pt idx="77">
                  <c:v>هفته منتهی به 1403/06/30</c:v>
                </c:pt>
                <c:pt idx="78">
                  <c:v>هفته منتهی به 1403/07/06</c:v>
                </c:pt>
                <c:pt idx="79">
                  <c:v>هفته منتهی به 1403/07/13</c:v>
                </c:pt>
                <c:pt idx="80">
                  <c:v>هفته منتهی به 1403/07/20</c:v>
                </c:pt>
                <c:pt idx="81">
                  <c:v>هفته منتهی به 1403/07/27</c:v>
                </c:pt>
                <c:pt idx="82">
                  <c:v>هفته منتهی به 1403/08/04</c:v>
                </c:pt>
                <c:pt idx="83">
                  <c:v>هفته منتهی به 1403/08/11</c:v>
                </c:pt>
                <c:pt idx="84">
                  <c:v>هفته منتهی به 1403/08/18</c:v>
                </c:pt>
                <c:pt idx="85">
                  <c:v>هفته منتهی به 1403/08/25</c:v>
                </c:pt>
                <c:pt idx="86">
                  <c:v>هفته منتهی به 1403/09/02</c:v>
                </c:pt>
                <c:pt idx="87">
                  <c:v>هفته منتهی به 1403/09/09</c:v>
                </c:pt>
                <c:pt idx="88">
                  <c:v>هفته منتهی به 1403/09/017</c:v>
                </c:pt>
                <c:pt idx="89">
                  <c:v>هفته منتهی به 1403/09/24</c:v>
                </c:pt>
                <c:pt idx="90">
                  <c:v>هفته منتهی به 1403/09/30</c:v>
                </c:pt>
                <c:pt idx="91">
                  <c:v>هفته منتهی به 1403/10/07</c:v>
                </c:pt>
                <c:pt idx="92">
                  <c:v>هفته منتهی به 1403/10/14</c:v>
                </c:pt>
                <c:pt idx="93">
                  <c:v>هفته منتهی به 1403/10/21</c:v>
                </c:pt>
                <c:pt idx="94">
                  <c:v>هفته منتهی به 1403/10/28</c:v>
                </c:pt>
                <c:pt idx="95">
                  <c:v>هفته منتهی به 1403/11/05</c:v>
                </c:pt>
                <c:pt idx="96">
                  <c:v>هفته منتهی به 1403/11/12</c:v>
                </c:pt>
                <c:pt idx="97">
                  <c:v>هفته منتهی به 1403/11/19</c:v>
                </c:pt>
                <c:pt idx="98">
                  <c:v>هفته منتهی به 1403/11/24</c:v>
                </c:pt>
                <c:pt idx="99">
                  <c:v>هفته منتهی به 1403/12/03</c:v>
                </c:pt>
                <c:pt idx="100">
                  <c:v>هفته منتهی به 1403/12/10</c:v>
                </c:pt>
                <c:pt idx="101">
                  <c:v>هفته منتهی به 1403/12/17</c:v>
                </c:pt>
                <c:pt idx="102">
                  <c:v>هفته منتهی به 1403/12/24</c:v>
                </c:pt>
              </c:strCache>
            </c:strRef>
          </c:cat>
          <c:val>
            <c:numRef>
              <c:f>'هفته-دلار'!$D$2:$D$104</c:f>
              <c:numCache>
                <c:formatCode>_(* #,##0.00_);_(* \(#,##0.00\);_(* "-"??_);_(@_)</c:formatCode>
                <c:ptCount val="103"/>
                <c:pt idx="0">
                  <c:v>50.4</c:v>
                </c:pt>
                <c:pt idx="1">
                  <c:v>49.2</c:v>
                </c:pt>
                <c:pt idx="2">
                  <c:v>47.199999999999996</c:v>
                </c:pt>
                <c:pt idx="3">
                  <c:v>44.800000000000004</c:v>
                </c:pt>
                <c:pt idx="4">
                  <c:v>40.1</c:v>
                </c:pt>
                <c:pt idx="5">
                  <c:v>36.9</c:v>
                </c:pt>
                <c:pt idx="6">
                  <c:v>30</c:v>
                </c:pt>
                <c:pt idx="7">
                  <c:v>28.999999999999996</c:v>
                </c:pt>
                <c:pt idx="8">
                  <c:v>39.200000000000003</c:v>
                </c:pt>
                <c:pt idx="9">
                  <c:v>42.8</c:v>
                </c:pt>
                <c:pt idx="10">
                  <c:v>39.800000000000004</c:v>
                </c:pt>
                <c:pt idx="11">
                  <c:v>45.4</c:v>
                </c:pt>
                <c:pt idx="12">
                  <c:v>41</c:v>
                </c:pt>
                <c:pt idx="13">
                  <c:v>31.8</c:v>
                </c:pt>
                <c:pt idx="14">
                  <c:v>34.5</c:v>
                </c:pt>
                <c:pt idx="15">
                  <c:v>31.6</c:v>
                </c:pt>
                <c:pt idx="16">
                  <c:v>35.299999999999997</c:v>
                </c:pt>
                <c:pt idx="17">
                  <c:v>43.2</c:v>
                </c:pt>
                <c:pt idx="18">
                  <c:v>44.6</c:v>
                </c:pt>
                <c:pt idx="19">
                  <c:v>42.6</c:v>
                </c:pt>
                <c:pt idx="20">
                  <c:v>43.6</c:v>
                </c:pt>
                <c:pt idx="21">
                  <c:v>42.199999999999996</c:v>
                </c:pt>
                <c:pt idx="22">
                  <c:v>44.7</c:v>
                </c:pt>
                <c:pt idx="23">
                  <c:v>48.699999999999996</c:v>
                </c:pt>
                <c:pt idx="24">
                  <c:v>51.2</c:v>
                </c:pt>
                <c:pt idx="25">
                  <c:v>46.800000000000004</c:v>
                </c:pt>
                <c:pt idx="26">
                  <c:v>66.100000000000009</c:v>
                </c:pt>
                <c:pt idx="27">
                  <c:v>62.6</c:v>
                </c:pt>
                <c:pt idx="28">
                  <c:v>61.9</c:v>
                </c:pt>
                <c:pt idx="29">
                  <c:v>58.8</c:v>
                </c:pt>
                <c:pt idx="30">
                  <c:v>57.099999999999994</c:v>
                </c:pt>
                <c:pt idx="31">
                  <c:v>55.2</c:v>
                </c:pt>
                <c:pt idx="32">
                  <c:v>57.099999999999994</c:v>
                </c:pt>
                <c:pt idx="33">
                  <c:v>53.2</c:v>
                </c:pt>
                <c:pt idx="34">
                  <c:v>47.199999999999996</c:v>
                </c:pt>
                <c:pt idx="35">
                  <c:v>40.6</c:v>
                </c:pt>
                <c:pt idx="36">
                  <c:v>41.8</c:v>
                </c:pt>
                <c:pt idx="37">
                  <c:v>39.6</c:v>
                </c:pt>
                <c:pt idx="38">
                  <c:v>42.3</c:v>
                </c:pt>
                <c:pt idx="39">
                  <c:v>39.200000000000003</c:v>
                </c:pt>
                <c:pt idx="40">
                  <c:v>34.799999999999997</c:v>
                </c:pt>
                <c:pt idx="41">
                  <c:v>34.4</c:v>
                </c:pt>
                <c:pt idx="42">
                  <c:v>35.9</c:v>
                </c:pt>
                <c:pt idx="43">
                  <c:v>33.200000000000003</c:v>
                </c:pt>
                <c:pt idx="44">
                  <c:v>30.4</c:v>
                </c:pt>
                <c:pt idx="45">
                  <c:v>28.1</c:v>
                </c:pt>
                <c:pt idx="46">
                  <c:v>31.6</c:v>
                </c:pt>
                <c:pt idx="47">
                  <c:v>32.300000000000004</c:v>
                </c:pt>
                <c:pt idx="48">
                  <c:v>33.1</c:v>
                </c:pt>
                <c:pt idx="49">
                  <c:v>35.299999999999997</c:v>
                </c:pt>
                <c:pt idx="50">
                  <c:v>34</c:v>
                </c:pt>
                <c:pt idx="51">
                  <c:v>33.5</c:v>
                </c:pt>
                <c:pt idx="52">
                  <c:v>32.6</c:v>
                </c:pt>
                <c:pt idx="53">
                  <c:v>37.6</c:v>
                </c:pt>
                <c:pt idx="54">
                  <c:v>37.6</c:v>
                </c:pt>
                <c:pt idx="55">
                  <c:v>35.4</c:v>
                </c:pt>
                <c:pt idx="56">
                  <c:v>37.4</c:v>
                </c:pt>
                <c:pt idx="57">
                  <c:v>36.799999999999997</c:v>
                </c:pt>
                <c:pt idx="58">
                  <c:v>37.700000000000003</c:v>
                </c:pt>
                <c:pt idx="59">
                  <c:v>41.8</c:v>
                </c:pt>
                <c:pt idx="60">
                  <c:v>43.1</c:v>
                </c:pt>
                <c:pt idx="61">
                  <c:v>40.5</c:v>
                </c:pt>
                <c:pt idx="62">
                  <c:v>43.3</c:v>
                </c:pt>
                <c:pt idx="63">
                  <c:v>41.5</c:v>
                </c:pt>
                <c:pt idx="64">
                  <c:v>42.2</c:v>
                </c:pt>
                <c:pt idx="65">
                  <c:v>40.47</c:v>
                </c:pt>
                <c:pt idx="66">
                  <c:v>38.799999999999997</c:v>
                </c:pt>
                <c:pt idx="67">
                  <c:v>38.824055999999999</c:v>
                </c:pt>
                <c:pt idx="68">
                  <c:v>39.376080000000002</c:v>
                </c:pt>
                <c:pt idx="69">
                  <c:v>39.74</c:v>
                </c:pt>
                <c:pt idx="70">
                  <c:v>43.5</c:v>
                </c:pt>
                <c:pt idx="71">
                  <c:v>46.8</c:v>
                </c:pt>
                <c:pt idx="72">
                  <c:v>46.8</c:v>
                </c:pt>
                <c:pt idx="73">
                  <c:v>46.1</c:v>
                </c:pt>
                <c:pt idx="74">
                  <c:v>44.1</c:v>
                </c:pt>
                <c:pt idx="75">
                  <c:v>44.7</c:v>
                </c:pt>
                <c:pt idx="76">
                  <c:v>43.6</c:v>
                </c:pt>
                <c:pt idx="77">
                  <c:v>42.2</c:v>
                </c:pt>
                <c:pt idx="78">
                  <c:v>46.7</c:v>
                </c:pt>
                <c:pt idx="79">
                  <c:v>48.4</c:v>
                </c:pt>
                <c:pt idx="80">
                  <c:v>48.4</c:v>
                </c:pt>
                <c:pt idx="81">
                  <c:v>48.6</c:v>
                </c:pt>
                <c:pt idx="82">
                  <c:v>50.9</c:v>
                </c:pt>
                <c:pt idx="83">
                  <c:v>50.4</c:v>
                </c:pt>
                <c:pt idx="84" formatCode="General">
                  <c:v>50.2</c:v>
                </c:pt>
                <c:pt idx="85" formatCode="General">
                  <c:v>54.9</c:v>
                </c:pt>
                <c:pt idx="86" formatCode="General">
                  <c:v>57.5</c:v>
                </c:pt>
                <c:pt idx="87" formatCode="General">
                  <c:v>56</c:v>
                </c:pt>
                <c:pt idx="88" formatCode="General">
                  <c:v>55</c:v>
                </c:pt>
                <c:pt idx="89" formatCode="General">
                  <c:v>50</c:v>
                </c:pt>
                <c:pt idx="90" formatCode="General">
                  <c:v>54</c:v>
                </c:pt>
                <c:pt idx="91" formatCode="General">
                  <c:v>56.5</c:v>
                </c:pt>
                <c:pt idx="92" formatCode="General">
                  <c:v>60.1</c:v>
                </c:pt>
                <c:pt idx="93" formatCode="General">
                  <c:v>56.4</c:v>
                </c:pt>
                <c:pt idx="94" formatCode="General">
                  <c:v>57.6</c:v>
                </c:pt>
                <c:pt idx="95" formatCode="General">
                  <c:v>59.7</c:v>
                </c:pt>
                <c:pt idx="96" formatCode="General">
                  <c:v>61.7</c:v>
                </c:pt>
                <c:pt idx="97" formatCode="General">
                  <c:v>57.6</c:v>
                </c:pt>
                <c:pt idx="98" formatCode="General">
                  <c:v>58.7</c:v>
                </c:pt>
                <c:pt idx="99" formatCode="General">
                  <c:v>49.8</c:v>
                </c:pt>
                <c:pt idx="100" formatCode="General">
                  <c:v>47.9</c:v>
                </c:pt>
                <c:pt idx="101" formatCode="General">
                  <c:v>46</c:v>
                </c:pt>
                <c:pt idx="102" formatCode="General">
                  <c:v>47.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BE42-433F-91A0-B3247F5DA1D4}"/>
            </c:ext>
          </c:extLst>
        </c:ser>
        <c:ser>
          <c:idx val="3"/>
          <c:order val="3"/>
          <c:tx>
            <c:strRef>
              <c:f>'هفته-دلار'!$F$1</c:f>
              <c:strCache>
                <c:ptCount val="1"/>
                <c:pt idx="0">
                  <c:v>Alberta</c:v>
                </c:pt>
              </c:strCache>
            </c:strRef>
          </c:tx>
          <c:spPr>
            <a:ln w="190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10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E42-433F-91A0-B3247F5DA1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هفته-دلار'!$A$2:$A$109</c:f>
              <c:strCache>
                <c:ptCount val="103"/>
                <c:pt idx="0">
                  <c:v>هفته منتهی به 1402/01/25</c:v>
                </c:pt>
                <c:pt idx="1">
                  <c:v>هفته منتهی به 1402/02/01</c:v>
                </c:pt>
                <c:pt idx="2">
                  <c:v>هفته منتهی به 1402/02/08</c:v>
                </c:pt>
                <c:pt idx="3">
                  <c:v>هفته منتهی به 1402/02/15</c:v>
                </c:pt>
                <c:pt idx="4">
                  <c:v>هفته منتهی به 1402/02/22</c:v>
                </c:pt>
                <c:pt idx="5">
                  <c:v>هفته منتهی به 1402/02/29</c:v>
                </c:pt>
                <c:pt idx="6">
                  <c:v>هفته منتهی به 1402/03/05</c:v>
                </c:pt>
                <c:pt idx="7">
                  <c:v>هفته منتهی به 1402/03/12</c:v>
                </c:pt>
                <c:pt idx="8">
                  <c:v>هفته منتهی به 1402/03/19</c:v>
                </c:pt>
                <c:pt idx="9">
                  <c:v>هفته منتهی به 1402/03/26</c:v>
                </c:pt>
                <c:pt idx="10">
                  <c:v>هفته منتهی به 1402/04/02</c:v>
                </c:pt>
                <c:pt idx="11">
                  <c:v>هفته منتهی به 1402/04/09</c:v>
                </c:pt>
                <c:pt idx="12">
                  <c:v>هفته منتهی به 1402/04/16</c:v>
                </c:pt>
                <c:pt idx="13">
                  <c:v>هفته منتهی به 1402/04/23</c:v>
                </c:pt>
                <c:pt idx="14">
                  <c:v>هفته منتهی به 1402/04/30</c:v>
                </c:pt>
                <c:pt idx="15">
                  <c:v>هفته منتهی به 1402/05/06</c:v>
                </c:pt>
                <c:pt idx="16">
                  <c:v>هفته منتهی به 1402/05/13</c:v>
                </c:pt>
                <c:pt idx="17">
                  <c:v>هفته منتهی به 1402/05/20</c:v>
                </c:pt>
                <c:pt idx="18">
                  <c:v>هفته منتهی به 1402/05/27</c:v>
                </c:pt>
                <c:pt idx="19">
                  <c:v>هفته منتهی به 1402/06/03</c:v>
                </c:pt>
                <c:pt idx="20">
                  <c:v>هفته منتهی به 1402/06/10</c:v>
                </c:pt>
                <c:pt idx="21">
                  <c:v>هفته منتهی به 1402/06/17</c:v>
                </c:pt>
                <c:pt idx="22">
                  <c:v>هفته منتهی به 1402/06/24</c:v>
                </c:pt>
                <c:pt idx="23">
                  <c:v>هفته منتهی به 1402/06/31</c:v>
                </c:pt>
                <c:pt idx="24">
                  <c:v>هفته منتهی به 1402/07/07</c:v>
                </c:pt>
                <c:pt idx="25">
                  <c:v>هفته منتهی به 1402/07/14</c:v>
                </c:pt>
                <c:pt idx="26">
                  <c:v>هفته منتهی به 1402/07/21</c:v>
                </c:pt>
                <c:pt idx="27">
                  <c:v>هفته منتهی به 1402/07/28</c:v>
                </c:pt>
                <c:pt idx="28">
                  <c:v>هفته منتهی به 1402/08/05</c:v>
                </c:pt>
                <c:pt idx="29">
                  <c:v>هفته منتهی به 1402/08/12</c:v>
                </c:pt>
                <c:pt idx="30">
                  <c:v>هفته منتهی به 1402/08/19</c:v>
                </c:pt>
                <c:pt idx="31">
                  <c:v>هفته منتهی به 1402/08/26</c:v>
                </c:pt>
                <c:pt idx="32">
                  <c:v>هفته منتهی به 1402/09/03</c:v>
                </c:pt>
                <c:pt idx="33">
                  <c:v>هفته منتهی به 1402/09/10</c:v>
                </c:pt>
                <c:pt idx="34">
                  <c:v>هفته منتهی به 1402/09/17</c:v>
                </c:pt>
                <c:pt idx="35">
                  <c:v>هفته منتهی به 1402/09/24</c:v>
                </c:pt>
                <c:pt idx="36">
                  <c:v>هفته منتهی به 1402/10/01</c:v>
                </c:pt>
                <c:pt idx="37">
                  <c:v>هفته منتهی به 1402/10/08</c:v>
                </c:pt>
                <c:pt idx="38">
                  <c:v>هفته منتهی به 1402/10/15</c:v>
                </c:pt>
                <c:pt idx="39">
                  <c:v>هفته منتهی به 1402/10/22</c:v>
                </c:pt>
                <c:pt idx="40">
                  <c:v>هفته منتهی به 1402/10/29</c:v>
                </c:pt>
                <c:pt idx="41">
                  <c:v>هفته منتهی به 1402/11/06</c:v>
                </c:pt>
                <c:pt idx="42">
                  <c:v>هفته منتهی به 1402/11/13</c:v>
                </c:pt>
                <c:pt idx="43">
                  <c:v>هفته منتهی به 1402/11/20</c:v>
                </c:pt>
                <c:pt idx="44">
                  <c:v>هفته منتهی به 1402/11/27</c:v>
                </c:pt>
                <c:pt idx="45">
                  <c:v>هفته منتهی به 1402/12/04</c:v>
                </c:pt>
                <c:pt idx="46">
                  <c:v>هفته منتهی به 1402/12/11</c:v>
                </c:pt>
                <c:pt idx="47">
                  <c:v>هفته منتهی به 1402/12/18</c:v>
                </c:pt>
                <c:pt idx="48">
                  <c:v>هفته منتهی به 1402/12/25</c:v>
                </c:pt>
                <c:pt idx="49">
                  <c:v>هفته منتهی به 1402/12/29</c:v>
                </c:pt>
                <c:pt idx="50">
                  <c:v>هفته منتهی به 1403/01/03</c:v>
                </c:pt>
                <c:pt idx="51">
                  <c:v>هفته منتهی به 1403/01/10</c:v>
                </c:pt>
                <c:pt idx="52">
                  <c:v>هفته منتهی به 1403/01/17</c:v>
                </c:pt>
                <c:pt idx="53">
                  <c:v>هفته منتهی به 1403/01/24</c:v>
                </c:pt>
                <c:pt idx="54">
                  <c:v>هفته منتهی به 1403/01/31</c:v>
                </c:pt>
                <c:pt idx="55">
                  <c:v>هفته منتهی به 1403/02/07</c:v>
                </c:pt>
                <c:pt idx="56">
                  <c:v>هفته منتهی به 1403/02/14</c:v>
                </c:pt>
                <c:pt idx="57">
                  <c:v>هفته منتهی به 1403/02/21</c:v>
                </c:pt>
                <c:pt idx="58">
                  <c:v>هفته منتهی به 1403/02/28</c:v>
                </c:pt>
                <c:pt idx="59">
                  <c:v>هفته منتهی به 1403/03/04</c:v>
                </c:pt>
                <c:pt idx="60">
                  <c:v>هفته منتهی به 1403/03/11</c:v>
                </c:pt>
                <c:pt idx="61">
                  <c:v>هفته منتهی به 1403/03/18</c:v>
                </c:pt>
                <c:pt idx="62">
                  <c:v>هفته منتهی به 1403/03/25</c:v>
                </c:pt>
                <c:pt idx="63">
                  <c:v>هفته منتهی به 1403/04/01</c:v>
                </c:pt>
                <c:pt idx="64">
                  <c:v>هفته منتهی به 1403/04/08</c:v>
                </c:pt>
                <c:pt idx="65">
                  <c:v>هفته منتهی به 1403/04/15</c:v>
                </c:pt>
                <c:pt idx="66">
                  <c:v>هفته منتهی به 1403/04/16</c:v>
                </c:pt>
                <c:pt idx="67">
                  <c:v>هفته منتهی به 1403/04/22</c:v>
                </c:pt>
                <c:pt idx="68">
                  <c:v>هفته منتهی به 1403/04/29</c:v>
                </c:pt>
                <c:pt idx="69">
                  <c:v>هفته منتهی به 1403/05/05</c:v>
                </c:pt>
                <c:pt idx="70">
                  <c:v>هفته منتهی به 1403/05/12</c:v>
                </c:pt>
                <c:pt idx="71">
                  <c:v>هفته منتهی به 1403/05/19</c:v>
                </c:pt>
                <c:pt idx="72">
                  <c:v>هفته منتهی به 1403/05/26</c:v>
                </c:pt>
                <c:pt idx="73">
                  <c:v>هفته منتهی به 1403/06/02</c:v>
                </c:pt>
                <c:pt idx="74">
                  <c:v>هفته منتهی به 1403/06/09</c:v>
                </c:pt>
                <c:pt idx="75">
                  <c:v>هفته منتهی به 1403/06/16</c:v>
                </c:pt>
                <c:pt idx="76">
                  <c:v>هفته منتهی به 1403/06/23</c:v>
                </c:pt>
                <c:pt idx="77">
                  <c:v>هفته منتهی به 1403/06/30</c:v>
                </c:pt>
                <c:pt idx="78">
                  <c:v>هفته منتهی به 1403/07/06</c:v>
                </c:pt>
                <c:pt idx="79">
                  <c:v>هفته منتهی به 1403/07/13</c:v>
                </c:pt>
                <c:pt idx="80">
                  <c:v>هفته منتهی به 1403/07/20</c:v>
                </c:pt>
                <c:pt idx="81">
                  <c:v>هفته منتهی به 1403/07/27</c:v>
                </c:pt>
                <c:pt idx="82">
                  <c:v>هفته منتهی به 1403/08/04</c:v>
                </c:pt>
                <c:pt idx="83">
                  <c:v>هفته منتهی به 1403/08/11</c:v>
                </c:pt>
                <c:pt idx="84">
                  <c:v>هفته منتهی به 1403/08/18</c:v>
                </c:pt>
                <c:pt idx="85">
                  <c:v>هفته منتهی به 1403/08/25</c:v>
                </c:pt>
                <c:pt idx="86">
                  <c:v>هفته منتهی به 1403/09/02</c:v>
                </c:pt>
                <c:pt idx="87">
                  <c:v>هفته منتهی به 1403/09/09</c:v>
                </c:pt>
                <c:pt idx="88">
                  <c:v>هفته منتهی به 1403/09/017</c:v>
                </c:pt>
                <c:pt idx="89">
                  <c:v>هفته منتهی به 1403/09/24</c:v>
                </c:pt>
                <c:pt idx="90">
                  <c:v>هفته منتهی به 1403/09/30</c:v>
                </c:pt>
                <c:pt idx="91">
                  <c:v>هفته منتهی به 1403/10/07</c:v>
                </c:pt>
                <c:pt idx="92">
                  <c:v>هفته منتهی به 1403/10/14</c:v>
                </c:pt>
                <c:pt idx="93">
                  <c:v>هفته منتهی به 1403/10/21</c:v>
                </c:pt>
                <c:pt idx="94">
                  <c:v>هفته منتهی به 1403/10/28</c:v>
                </c:pt>
                <c:pt idx="95">
                  <c:v>هفته منتهی به 1403/11/05</c:v>
                </c:pt>
                <c:pt idx="96">
                  <c:v>هفته منتهی به 1403/11/12</c:v>
                </c:pt>
                <c:pt idx="97">
                  <c:v>هفته منتهی به 1403/11/19</c:v>
                </c:pt>
                <c:pt idx="98">
                  <c:v>هفته منتهی به 1403/11/24</c:v>
                </c:pt>
                <c:pt idx="99">
                  <c:v>هفته منتهی به 1403/12/03</c:v>
                </c:pt>
                <c:pt idx="100">
                  <c:v>هفته منتهی به 1403/12/10</c:v>
                </c:pt>
                <c:pt idx="101">
                  <c:v>هفته منتهی به 1403/12/17</c:v>
                </c:pt>
                <c:pt idx="102">
                  <c:v>هفته منتهی به 1403/12/24</c:v>
                </c:pt>
              </c:strCache>
            </c:strRef>
          </c:cat>
          <c:val>
            <c:numRef>
              <c:f>'هفته-دلار'!$F$2:$F$103</c:f>
              <c:numCache>
                <c:formatCode>General</c:formatCode>
                <c:ptCount val="102"/>
                <c:pt idx="0">
                  <c:v>7.6</c:v>
                </c:pt>
                <c:pt idx="1">
                  <c:v>7.6</c:v>
                </c:pt>
                <c:pt idx="2">
                  <c:v>6.6000000000000005</c:v>
                </c:pt>
                <c:pt idx="3">
                  <c:v>7.0000000000000009</c:v>
                </c:pt>
                <c:pt idx="4">
                  <c:v>7.0000000000000009</c:v>
                </c:pt>
                <c:pt idx="5">
                  <c:v>7.0000000000000009</c:v>
                </c:pt>
                <c:pt idx="6">
                  <c:v>6.2</c:v>
                </c:pt>
                <c:pt idx="7">
                  <c:v>6.4</c:v>
                </c:pt>
                <c:pt idx="8">
                  <c:v>6.5</c:v>
                </c:pt>
                <c:pt idx="9">
                  <c:v>6.6000000000000005</c:v>
                </c:pt>
                <c:pt idx="10">
                  <c:v>6.6000000000000005</c:v>
                </c:pt>
                <c:pt idx="11">
                  <c:v>6.7</c:v>
                </c:pt>
                <c:pt idx="12">
                  <c:v>6.7</c:v>
                </c:pt>
                <c:pt idx="13">
                  <c:v>6.6000000000000005</c:v>
                </c:pt>
                <c:pt idx="14">
                  <c:v>6.6000000000000005</c:v>
                </c:pt>
                <c:pt idx="15">
                  <c:v>7.3999999999999995</c:v>
                </c:pt>
                <c:pt idx="16">
                  <c:v>7.6</c:v>
                </c:pt>
                <c:pt idx="17">
                  <c:v>7.7</c:v>
                </c:pt>
                <c:pt idx="18">
                  <c:v>7.6</c:v>
                </c:pt>
                <c:pt idx="19">
                  <c:v>7.6</c:v>
                </c:pt>
                <c:pt idx="20">
                  <c:v>7.5</c:v>
                </c:pt>
                <c:pt idx="21">
                  <c:v>7.6</c:v>
                </c:pt>
                <c:pt idx="22">
                  <c:v>7.6</c:v>
                </c:pt>
                <c:pt idx="23">
                  <c:v>7.6</c:v>
                </c:pt>
                <c:pt idx="24">
                  <c:v>6.9</c:v>
                </c:pt>
                <c:pt idx="25">
                  <c:v>6.9</c:v>
                </c:pt>
                <c:pt idx="26">
                  <c:v>6.9</c:v>
                </c:pt>
                <c:pt idx="27">
                  <c:v>7.0000000000000009</c:v>
                </c:pt>
                <c:pt idx="28">
                  <c:v>8</c:v>
                </c:pt>
                <c:pt idx="29">
                  <c:v>7.8</c:v>
                </c:pt>
                <c:pt idx="30">
                  <c:v>7.8</c:v>
                </c:pt>
                <c:pt idx="31">
                  <c:v>7.8</c:v>
                </c:pt>
                <c:pt idx="32">
                  <c:v>7.6</c:v>
                </c:pt>
                <c:pt idx="33">
                  <c:v>7.3999999999999995</c:v>
                </c:pt>
                <c:pt idx="34">
                  <c:v>7.1999999999999993</c:v>
                </c:pt>
                <c:pt idx="35">
                  <c:v>7.1</c:v>
                </c:pt>
                <c:pt idx="36">
                  <c:v>7.0000000000000009</c:v>
                </c:pt>
                <c:pt idx="37">
                  <c:v>6.1</c:v>
                </c:pt>
                <c:pt idx="38">
                  <c:v>7.9</c:v>
                </c:pt>
                <c:pt idx="39">
                  <c:v>10.299999999999999</c:v>
                </c:pt>
                <c:pt idx="40">
                  <c:v>9.4</c:v>
                </c:pt>
                <c:pt idx="41">
                  <c:v>6.21</c:v>
                </c:pt>
                <c:pt idx="42">
                  <c:v>6.23</c:v>
                </c:pt>
                <c:pt idx="43">
                  <c:v>6.16</c:v>
                </c:pt>
                <c:pt idx="44">
                  <c:v>6.08</c:v>
                </c:pt>
                <c:pt idx="45">
                  <c:v>5.4</c:v>
                </c:pt>
                <c:pt idx="46">
                  <c:v>5.48</c:v>
                </c:pt>
                <c:pt idx="47">
                  <c:v>5.37</c:v>
                </c:pt>
                <c:pt idx="48">
                  <c:v>5.35</c:v>
                </c:pt>
                <c:pt idx="49">
                  <c:v>5.34</c:v>
                </c:pt>
                <c:pt idx="50">
                  <c:v>5.3199999999999994</c:v>
                </c:pt>
                <c:pt idx="51">
                  <c:v>5.04</c:v>
                </c:pt>
                <c:pt idx="52">
                  <c:v>4.8899999999999997</c:v>
                </c:pt>
                <c:pt idx="53">
                  <c:v>4.7699999999999996</c:v>
                </c:pt>
                <c:pt idx="54">
                  <c:v>4.67</c:v>
                </c:pt>
                <c:pt idx="55">
                  <c:v>4.01</c:v>
                </c:pt>
                <c:pt idx="56">
                  <c:v>4.04</c:v>
                </c:pt>
                <c:pt idx="57">
                  <c:v>3.92</c:v>
                </c:pt>
                <c:pt idx="58">
                  <c:v>3.92</c:v>
                </c:pt>
                <c:pt idx="59">
                  <c:v>3.91</c:v>
                </c:pt>
                <c:pt idx="60">
                  <c:v>3.89</c:v>
                </c:pt>
                <c:pt idx="61">
                  <c:v>3.46</c:v>
                </c:pt>
                <c:pt idx="62">
                  <c:v>3.27</c:v>
                </c:pt>
                <c:pt idx="63">
                  <c:v>3.21</c:v>
                </c:pt>
                <c:pt idx="64">
                  <c:v>3.18</c:v>
                </c:pt>
                <c:pt idx="65">
                  <c:v>2.4900000000000002</c:v>
                </c:pt>
                <c:pt idx="66">
                  <c:v>2.68</c:v>
                </c:pt>
                <c:pt idx="67">
                  <c:v>2.67</c:v>
                </c:pt>
                <c:pt idx="68">
                  <c:v>2.67</c:v>
                </c:pt>
                <c:pt idx="69">
                  <c:v>2.72</c:v>
                </c:pt>
                <c:pt idx="70">
                  <c:v>2.71</c:v>
                </c:pt>
                <c:pt idx="71">
                  <c:v>2.65</c:v>
                </c:pt>
                <c:pt idx="72">
                  <c:v>2.62</c:v>
                </c:pt>
                <c:pt idx="73">
                  <c:v>2.54</c:v>
                </c:pt>
                <c:pt idx="74">
                  <c:v>2.42</c:v>
                </c:pt>
                <c:pt idx="75">
                  <c:v>2.4900000000000002</c:v>
                </c:pt>
                <c:pt idx="76">
                  <c:v>2.4300000000000002</c:v>
                </c:pt>
                <c:pt idx="77">
                  <c:v>2.2999999999999998</c:v>
                </c:pt>
                <c:pt idx="78">
                  <c:v>2.15</c:v>
                </c:pt>
                <c:pt idx="79">
                  <c:v>2.02</c:v>
                </c:pt>
                <c:pt idx="80">
                  <c:v>2.46</c:v>
                </c:pt>
                <c:pt idx="81">
                  <c:v>2.88</c:v>
                </c:pt>
                <c:pt idx="82">
                  <c:v>2.82</c:v>
                </c:pt>
                <c:pt idx="83">
                  <c:v>2.99</c:v>
                </c:pt>
                <c:pt idx="84">
                  <c:v>4.17</c:v>
                </c:pt>
                <c:pt idx="85">
                  <c:v>4.25</c:v>
                </c:pt>
                <c:pt idx="86">
                  <c:v>4.42</c:v>
                </c:pt>
                <c:pt idx="87">
                  <c:v>5</c:v>
                </c:pt>
                <c:pt idx="88">
                  <c:v>6</c:v>
                </c:pt>
                <c:pt idx="89">
                  <c:v>6</c:v>
                </c:pt>
                <c:pt idx="90">
                  <c:v>6</c:v>
                </c:pt>
                <c:pt idx="91">
                  <c:v>5.75</c:v>
                </c:pt>
                <c:pt idx="92">
                  <c:v>5.91</c:v>
                </c:pt>
                <c:pt idx="93">
                  <c:v>5.92</c:v>
                </c:pt>
                <c:pt idx="94">
                  <c:v>5.93</c:v>
                </c:pt>
                <c:pt idx="95">
                  <c:v>5.85</c:v>
                </c:pt>
                <c:pt idx="96">
                  <c:v>5.82</c:v>
                </c:pt>
                <c:pt idx="97">
                  <c:v>5.92</c:v>
                </c:pt>
                <c:pt idx="98">
                  <c:v>5.82</c:v>
                </c:pt>
                <c:pt idx="99">
                  <c:v>4.8</c:v>
                </c:pt>
                <c:pt idx="100">
                  <c:v>5.46</c:v>
                </c:pt>
                <c:pt idx="101">
                  <c:v>4.8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BE42-433F-91A0-B3247F5DA1D4}"/>
            </c:ext>
          </c:extLst>
        </c:ser>
        <c:ser>
          <c:idx val="4"/>
          <c:order val="4"/>
          <c:tx>
            <c:strRef>
              <c:f>'هفته-دلار'!$E$1</c:f>
              <c:strCache>
                <c:ptCount val="1"/>
                <c:pt idx="0">
                  <c:v>NBP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10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E42-433F-91A0-B3247F5DA1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هفته-دلار'!$A$2:$A$109</c:f>
              <c:strCache>
                <c:ptCount val="103"/>
                <c:pt idx="0">
                  <c:v>هفته منتهی به 1402/01/25</c:v>
                </c:pt>
                <c:pt idx="1">
                  <c:v>هفته منتهی به 1402/02/01</c:v>
                </c:pt>
                <c:pt idx="2">
                  <c:v>هفته منتهی به 1402/02/08</c:v>
                </c:pt>
                <c:pt idx="3">
                  <c:v>هفته منتهی به 1402/02/15</c:v>
                </c:pt>
                <c:pt idx="4">
                  <c:v>هفته منتهی به 1402/02/22</c:v>
                </c:pt>
                <c:pt idx="5">
                  <c:v>هفته منتهی به 1402/02/29</c:v>
                </c:pt>
                <c:pt idx="6">
                  <c:v>هفته منتهی به 1402/03/05</c:v>
                </c:pt>
                <c:pt idx="7">
                  <c:v>هفته منتهی به 1402/03/12</c:v>
                </c:pt>
                <c:pt idx="8">
                  <c:v>هفته منتهی به 1402/03/19</c:v>
                </c:pt>
                <c:pt idx="9">
                  <c:v>هفته منتهی به 1402/03/26</c:v>
                </c:pt>
                <c:pt idx="10">
                  <c:v>هفته منتهی به 1402/04/02</c:v>
                </c:pt>
                <c:pt idx="11">
                  <c:v>هفته منتهی به 1402/04/09</c:v>
                </c:pt>
                <c:pt idx="12">
                  <c:v>هفته منتهی به 1402/04/16</c:v>
                </c:pt>
                <c:pt idx="13">
                  <c:v>هفته منتهی به 1402/04/23</c:v>
                </c:pt>
                <c:pt idx="14">
                  <c:v>هفته منتهی به 1402/04/30</c:v>
                </c:pt>
                <c:pt idx="15">
                  <c:v>هفته منتهی به 1402/05/06</c:v>
                </c:pt>
                <c:pt idx="16">
                  <c:v>هفته منتهی به 1402/05/13</c:v>
                </c:pt>
                <c:pt idx="17">
                  <c:v>هفته منتهی به 1402/05/20</c:v>
                </c:pt>
                <c:pt idx="18">
                  <c:v>هفته منتهی به 1402/05/27</c:v>
                </c:pt>
                <c:pt idx="19">
                  <c:v>هفته منتهی به 1402/06/03</c:v>
                </c:pt>
                <c:pt idx="20">
                  <c:v>هفته منتهی به 1402/06/10</c:v>
                </c:pt>
                <c:pt idx="21">
                  <c:v>هفته منتهی به 1402/06/17</c:v>
                </c:pt>
                <c:pt idx="22">
                  <c:v>هفته منتهی به 1402/06/24</c:v>
                </c:pt>
                <c:pt idx="23">
                  <c:v>هفته منتهی به 1402/06/31</c:v>
                </c:pt>
                <c:pt idx="24">
                  <c:v>هفته منتهی به 1402/07/07</c:v>
                </c:pt>
                <c:pt idx="25">
                  <c:v>هفته منتهی به 1402/07/14</c:v>
                </c:pt>
                <c:pt idx="26">
                  <c:v>هفته منتهی به 1402/07/21</c:v>
                </c:pt>
                <c:pt idx="27">
                  <c:v>هفته منتهی به 1402/07/28</c:v>
                </c:pt>
                <c:pt idx="28">
                  <c:v>هفته منتهی به 1402/08/05</c:v>
                </c:pt>
                <c:pt idx="29">
                  <c:v>هفته منتهی به 1402/08/12</c:v>
                </c:pt>
                <c:pt idx="30">
                  <c:v>هفته منتهی به 1402/08/19</c:v>
                </c:pt>
                <c:pt idx="31">
                  <c:v>هفته منتهی به 1402/08/26</c:v>
                </c:pt>
                <c:pt idx="32">
                  <c:v>هفته منتهی به 1402/09/03</c:v>
                </c:pt>
                <c:pt idx="33">
                  <c:v>هفته منتهی به 1402/09/10</c:v>
                </c:pt>
                <c:pt idx="34">
                  <c:v>هفته منتهی به 1402/09/17</c:v>
                </c:pt>
                <c:pt idx="35">
                  <c:v>هفته منتهی به 1402/09/24</c:v>
                </c:pt>
                <c:pt idx="36">
                  <c:v>هفته منتهی به 1402/10/01</c:v>
                </c:pt>
                <c:pt idx="37">
                  <c:v>هفته منتهی به 1402/10/08</c:v>
                </c:pt>
                <c:pt idx="38">
                  <c:v>هفته منتهی به 1402/10/15</c:v>
                </c:pt>
                <c:pt idx="39">
                  <c:v>هفته منتهی به 1402/10/22</c:v>
                </c:pt>
                <c:pt idx="40">
                  <c:v>هفته منتهی به 1402/10/29</c:v>
                </c:pt>
                <c:pt idx="41">
                  <c:v>هفته منتهی به 1402/11/06</c:v>
                </c:pt>
                <c:pt idx="42">
                  <c:v>هفته منتهی به 1402/11/13</c:v>
                </c:pt>
                <c:pt idx="43">
                  <c:v>هفته منتهی به 1402/11/20</c:v>
                </c:pt>
                <c:pt idx="44">
                  <c:v>هفته منتهی به 1402/11/27</c:v>
                </c:pt>
                <c:pt idx="45">
                  <c:v>هفته منتهی به 1402/12/04</c:v>
                </c:pt>
                <c:pt idx="46">
                  <c:v>هفته منتهی به 1402/12/11</c:v>
                </c:pt>
                <c:pt idx="47">
                  <c:v>هفته منتهی به 1402/12/18</c:v>
                </c:pt>
                <c:pt idx="48">
                  <c:v>هفته منتهی به 1402/12/25</c:v>
                </c:pt>
                <c:pt idx="49">
                  <c:v>هفته منتهی به 1402/12/29</c:v>
                </c:pt>
                <c:pt idx="50">
                  <c:v>هفته منتهی به 1403/01/03</c:v>
                </c:pt>
                <c:pt idx="51">
                  <c:v>هفته منتهی به 1403/01/10</c:v>
                </c:pt>
                <c:pt idx="52">
                  <c:v>هفته منتهی به 1403/01/17</c:v>
                </c:pt>
                <c:pt idx="53">
                  <c:v>هفته منتهی به 1403/01/24</c:v>
                </c:pt>
                <c:pt idx="54">
                  <c:v>هفته منتهی به 1403/01/31</c:v>
                </c:pt>
                <c:pt idx="55">
                  <c:v>هفته منتهی به 1403/02/07</c:v>
                </c:pt>
                <c:pt idx="56">
                  <c:v>هفته منتهی به 1403/02/14</c:v>
                </c:pt>
                <c:pt idx="57">
                  <c:v>هفته منتهی به 1403/02/21</c:v>
                </c:pt>
                <c:pt idx="58">
                  <c:v>هفته منتهی به 1403/02/28</c:v>
                </c:pt>
                <c:pt idx="59">
                  <c:v>هفته منتهی به 1403/03/04</c:v>
                </c:pt>
                <c:pt idx="60">
                  <c:v>هفته منتهی به 1403/03/11</c:v>
                </c:pt>
                <c:pt idx="61">
                  <c:v>هفته منتهی به 1403/03/18</c:v>
                </c:pt>
                <c:pt idx="62">
                  <c:v>هفته منتهی به 1403/03/25</c:v>
                </c:pt>
                <c:pt idx="63">
                  <c:v>هفته منتهی به 1403/04/01</c:v>
                </c:pt>
                <c:pt idx="64">
                  <c:v>هفته منتهی به 1403/04/08</c:v>
                </c:pt>
                <c:pt idx="65">
                  <c:v>هفته منتهی به 1403/04/15</c:v>
                </c:pt>
                <c:pt idx="66">
                  <c:v>هفته منتهی به 1403/04/16</c:v>
                </c:pt>
                <c:pt idx="67">
                  <c:v>هفته منتهی به 1403/04/22</c:v>
                </c:pt>
                <c:pt idx="68">
                  <c:v>هفته منتهی به 1403/04/29</c:v>
                </c:pt>
                <c:pt idx="69">
                  <c:v>هفته منتهی به 1403/05/05</c:v>
                </c:pt>
                <c:pt idx="70">
                  <c:v>هفته منتهی به 1403/05/12</c:v>
                </c:pt>
                <c:pt idx="71">
                  <c:v>هفته منتهی به 1403/05/19</c:v>
                </c:pt>
                <c:pt idx="72">
                  <c:v>هفته منتهی به 1403/05/26</c:v>
                </c:pt>
                <c:pt idx="73">
                  <c:v>هفته منتهی به 1403/06/02</c:v>
                </c:pt>
                <c:pt idx="74">
                  <c:v>هفته منتهی به 1403/06/09</c:v>
                </c:pt>
                <c:pt idx="75">
                  <c:v>هفته منتهی به 1403/06/16</c:v>
                </c:pt>
                <c:pt idx="76">
                  <c:v>هفته منتهی به 1403/06/23</c:v>
                </c:pt>
                <c:pt idx="77">
                  <c:v>هفته منتهی به 1403/06/30</c:v>
                </c:pt>
                <c:pt idx="78">
                  <c:v>هفته منتهی به 1403/07/06</c:v>
                </c:pt>
                <c:pt idx="79">
                  <c:v>هفته منتهی به 1403/07/13</c:v>
                </c:pt>
                <c:pt idx="80">
                  <c:v>هفته منتهی به 1403/07/20</c:v>
                </c:pt>
                <c:pt idx="81">
                  <c:v>هفته منتهی به 1403/07/27</c:v>
                </c:pt>
                <c:pt idx="82">
                  <c:v>هفته منتهی به 1403/08/04</c:v>
                </c:pt>
                <c:pt idx="83">
                  <c:v>هفته منتهی به 1403/08/11</c:v>
                </c:pt>
                <c:pt idx="84">
                  <c:v>هفته منتهی به 1403/08/18</c:v>
                </c:pt>
                <c:pt idx="85">
                  <c:v>هفته منتهی به 1403/08/25</c:v>
                </c:pt>
                <c:pt idx="86">
                  <c:v>هفته منتهی به 1403/09/02</c:v>
                </c:pt>
                <c:pt idx="87">
                  <c:v>هفته منتهی به 1403/09/09</c:v>
                </c:pt>
                <c:pt idx="88">
                  <c:v>هفته منتهی به 1403/09/017</c:v>
                </c:pt>
                <c:pt idx="89">
                  <c:v>هفته منتهی به 1403/09/24</c:v>
                </c:pt>
                <c:pt idx="90">
                  <c:v>هفته منتهی به 1403/09/30</c:v>
                </c:pt>
                <c:pt idx="91">
                  <c:v>هفته منتهی به 1403/10/07</c:v>
                </c:pt>
                <c:pt idx="92">
                  <c:v>هفته منتهی به 1403/10/14</c:v>
                </c:pt>
                <c:pt idx="93">
                  <c:v>هفته منتهی به 1403/10/21</c:v>
                </c:pt>
                <c:pt idx="94">
                  <c:v>هفته منتهی به 1403/10/28</c:v>
                </c:pt>
                <c:pt idx="95">
                  <c:v>هفته منتهی به 1403/11/05</c:v>
                </c:pt>
                <c:pt idx="96">
                  <c:v>هفته منتهی به 1403/11/12</c:v>
                </c:pt>
                <c:pt idx="97">
                  <c:v>هفته منتهی به 1403/11/19</c:v>
                </c:pt>
                <c:pt idx="98">
                  <c:v>هفته منتهی به 1403/11/24</c:v>
                </c:pt>
                <c:pt idx="99">
                  <c:v>هفته منتهی به 1403/12/03</c:v>
                </c:pt>
                <c:pt idx="100">
                  <c:v>هفته منتهی به 1403/12/10</c:v>
                </c:pt>
                <c:pt idx="101">
                  <c:v>هفته منتهی به 1403/12/17</c:v>
                </c:pt>
                <c:pt idx="102">
                  <c:v>هفته منتهی به 1403/12/24</c:v>
                </c:pt>
              </c:strCache>
            </c:strRef>
          </c:cat>
          <c:val>
            <c:numRef>
              <c:f>'هفته-دلار'!$E$2:$E$109</c:f>
              <c:numCache>
                <c:formatCode>General</c:formatCode>
                <c:ptCount val="108"/>
                <c:pt idx="0">
                  <c:v>47.099999999999994</c:v>
                </c:pt>
                <c:pt idx="1">
                  <c:v>46.5</c:v>
                </c:pt>
                <c:pt idx="2">
                  <c:v>41.9</c:v>
                </c:pt>
                <c:pt idx="3">
                  <c:v>39</c:v>
                </c:pt>
                <c:pt idx="4">
                  <c:v>36.4</c:v>
                </c:pt>
                <c:pt idx="5">
                  <c:v>32.4</c:v>
                </c:pt>
                <c:pt idx="6">
                  <c:v>27.6</c:v>
                </c:pt>
                <c:pt idx="7">
                  <c:v>25.8</c:v>
                </c:pt>
                <c:pt idx="8">
                  <c:v>37.799999999999997</c:v>
                </c:pt>
                <c:pt idx="9">
                  <c:v>39.200000000000003</c:v>
                </c:pt>
                <c:pt idx="10">
                  <c:v>39.800000000000004</c:v>
                </c:pt>
                <c:pt idx="11">
                  <c:v>44.4</c:v>
                </c:pt>
                <c:pt idx="12">
                  <c:v>38.6</c:v>
                </c:pt>
                <c:pt idx="13">
                  <c:v>29.599999999999998</c:v>
                </c:pt>
                <c:pt idx="14">
                  <c:v>33.4</c:v>
                </c:pt>
                <c:pt idx="15">
                  <c:v>30.099999999999998</c:v>
                </c:pt>
                <c:pt idx="16">
                  <c:v>35.4</c:v>
                </c:pt>
                <c:pt idx="17">
                  <c:v>43.4</c:v>
                </c:pt>
                <c:pt idx="18">
                  <c:v>44.5</c:v>
                </c:pt>
                <c:pt idx="19">
                  <c:v>42</c:v>
                </c:pt>
                <c:pt idx="20">
                  <c:v>43</c:v>
                </c:pt>
                <c:pt idx="21">
                  <c:v>40.9</c:v>
                </c:pt>
                <c:pt idx="22">
                  <c:v>44</c:v>
                </c:pt>
                <c:pt idx="23">
                  <c:v>49.6</c:v>
                </c:pt>
                <c:pt idx="24">
                  <c:v>51.300000000000004</c:v>
                </c:pt>
                <c:pt idx="25">
                  <c:v>44.800000000000004</c:v>
                </c:pt>
                <c:pt idx="26">
                  <c:v>66.3</c:v>
                </c:pt>
                <c:pt idx="27">
                  <c:v>59.3</c:v>
                </c:pt>
                <c:pt idx="28">
                  <c:v>60.8</c:v>
                </c:pt>
                <c:pt idx="29">
                  <c:v>58.5</c:v>
                </c:pt>
                <c:pt idx="30">
                  <c:v>56.2</c:v>
                </c:pt>
                <c:pt idx="31">
                  <c:v>53.900000000000006</c:v>
                </c:pt>
                <c:pt idx="32">
                  <c:v>56.3</c:v>
                </c:pt>
                <c:pt idx="33">
                  <c:v>52.6</c:v>
                </c:pt>
                <c:pt idx="34">
                  <c:v>46.6</c:v>
                </c:pt>
                <c:pt idx="35">
                  <c:v>39.800000000000004</c:v>
                </c:pt>
                <c:pt idx="36">
                  <c:v>41.099999999999994</c:v>
                </c:pt>
                <c:pt idx="37">
                  <c:v>38.1</c:v>
                </c:pt>
                <c:pt idx="38">
                  <c:v>41</c:v>
                </c:pt>
                <c:pt idx="39">
                  <c:v>37.799999999999997</c:v>
                </c:pt>
                <c:pt idx="40">
                  <c:v>33.300000000000004</c:v>
                </c:pt>
                <c:pt idx="41">
                  <c:v>32.700000000000003</c:v>
                </c:pt>
                <c:pt idx="42">
                  <c:v>34.300000000000004</c:v>
                </c:pt>
                <c:pt idx="43">
                  <c:v>31.3</c:v>
                </c:pt>
                <c:pt idx="44">
                  <c:v>28.799999999999997</c:v>
                </c:pt>
                <c:pt idx="45">
                  <c:v>27.6</c:v>
                </c:pt>
                <c:pt idx="46">
                  <c:v>30.5</c:v>
                </c:pt>
                <c:pt idx="47">
                  <c:v>31.7</c:v>
                </c:pt>
                <c:pt idx="48">
                  <c:v>32.800000000000004</c:v>
                </c:pt>
                <c:pt idx="49">
                  <c:v>35.6</c:v>
                </c:pt>
                <c:pt idx="50">
                  <c:v>33.5</c:v>
                </c:pt>
                <c:pt idx="51">
                  <c:v>32.5</c:v>
                </c:pt>
                <c:pt idx="52">
                  <c:v>31.7</c:v>
                </c:pt>
                <c:pt idx="53">
                  <c:v>36.299999999999997</c:v>
                </c:pt>
                <c:pt idx="54">
                  <c:v>36.799999999999997</c:v>
                </c:pt>
                <c:pt idx="55">
                  <c:v>35</c:v>
                </c:pt>
                <c:pt idx="56">
                  <c:v>35</c:v>
                </c:pt>
                <c:pt idx="57">
                  <c:v>34.699999999999996</c:v>
                </c:pt>
                <c:pt idx="58">
                  <c:v>35.5</c:v>
                </c:pt>
                <c:pt idx="59">
                  <c:v>40.699999999999996</c:v>
                </c:pt>
                <c:pt idx="60">
                  <c:v>39.9</c:v>
                </c:pt>
                <c:pt idx="61">
                  <c:v>37.700000000000003</c:v>
                </c:pt>
                <c:pt idx="62">
                  <c:v>39.9</c:v>
                </c:pt>
                <c:pt idx="63">
                  <c:v>37.700000000000003</c:v>
                </c:pt>
                <c:pt idx="64">
                  <c:v>38.78</c:v>
                </c:pt>
                <c:pt idx="65">
                  <c:v>36.86</c:v>
                </c:pt>
                <c:pt idx="66">
                  <c:v>34.75</c:v>
                </c:pt>
                <c:pt idx="67">
                  <c:v>34.75</c:v>
                </c:pt>
                <c:pt idx="68">
                  <c:v>35.130000000000003</c:v>
                </c:pt>
                <c:pt idx="69">
                  <c:v>36.07</c:v>
                </c:pt>
                <c:pt idx="70">
                  <c:v>40.9</c:v>
                </c:pt>
                <c:pt idx="71">
                  <c:v>44.8</c:v>
                </c:pt>
                <c:pt idx="72">
                  <c:v>48.3</c:v>
                </c:pt>
                <c:pt idx="73">
                  <c:v>43.2</c:v>
                </c:pt>
                <c:pt idx="74">
                  <c:v>47.3</c:v>
                </c:pt>
                <c:pt idx="75">
                  <c:v>41.8</c:v>
                </c:pt>
                <c:pt idx="76">
                  <c:v>41</c:v>
                </c:pt>
                <c:pt idx="77">
                  <c:v>39.700000000000003</c:v>
                </c:pt>
                <c:pt idx="78">
                  <c:v>43.8</c:v>
                </c:pt>
                <c:pt idx="79">
                  <c:v>46.9</c:v>
                </c:pt>
                <c:pt idx="80">
                  <c:v>47.2</c:v>
                </c:pt>
                <c:pt idx="81">
                  <c:v>47.2</c:v>
                </c:pt>
                <c:pt idx="82">
                  <c:v>50</c:v>
                </c:pt>
                <c:pt idx="83">
                  <c:v>49.1</c:v>
                </c:pt>
                <c:pt idx="84">
                  <c:v>49.6</c:v>
                </c:pt>
                <c:pt idx="85">
                  <c:v>54</c:v>
                </c:pt>
                <c:pt idx="86">
                  <c:v>56.3</c:v>
                </c:pt>
                <c:pt idx="87">
                  <c:v>58</c:v>
                </c:pt>
                <c:pt idx="88">
                  <c:v>56</c:v>
                </c:pt>
                <c:pt idx="89">
                  <c:v>49</c:v>
                </c:pt>
                <c:pt idx="90">
                  <c:v>52</c:v>
                </c:pt>
                <c:pt idx="91">
                  <c:v>55.1</c:v>
                </c:pt>
                <c:pt idx="92">
                  <c:v>58.5</c:v>
                </c:pt>
                <c:pt idx="93">
                  <c:v>55</c:v>
                </c:pt>
                <c:pt idx="94">
                  <c:v>56.7</c:v>
                </c:pt>
                <c:pt idx="95">
                  <c:v>57.9</c:v>
                </c:pt>
                <c:pt idx="96">
                  <c:v>60.1</c:v>
                </c:pt>
                <c:pt idx="97">
                  <c:v>57.9</c:v>
                </c:pt>
                <c:pt idx="98">
                  <c:v>58.6</c:v>
                </c:pt>
                <c:pt idx="99">
                  <c:v>49.6</c:v>
                </c:pt>
                <c:pt idx="100">
                  <c:v>47.2</c:v>
                </c:pt>
                <c:pt idx="101">
                  <c:v>44.9</c:v>
                </c:pt>
                <c:pt idx="102">
                  <c:v>47.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BE42-433F-91A0-B3247F5DA1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60102992"/>
        <c:axId val="1660100912"/>
      </c:lineChart>
      <c:catAx>
        <c:axId val="166010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660100912"/>
        <c:crossesAt val="0"/>
        <c:auto val="1"/>
        <c:lblAlgn val="ctr"/>
        <c:lblOffset val="100"/>
        <c:noMultiLvlLbl val="0"/>
      </c:catAx>
      <c:valAx>
        <c:axId val="1660100912"/>
        <c:scaling>
          <c:orientation val="minMax"/>
        </c:scaling>
        <c:delete val="0"/>
        <c:axPos val="l"/>
        <c:numFmt formatCode="_(* #,##0.0_);_(* \(#,##0.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660102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377434785825902E-2"/>
          <c:y val="4.6868173736347475E-2"/>
          <c:w val="0.9035356898795609"/>
          <c:h val="0.768902506138345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نرخ معامله - آخرین قیمت'!$D$1</c:f>
              <c:strCache>
                <c:ptCount val="1"/>
                <c:pt idx="0">
                  <c:v>موجودی کاتد مسی(تن)  - بورس لندن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  <a:effectLst/>
          </c:spPr>
          <c:invertIfNegative val="0"/>
          <c:dLbls>
            <c:dLbl>
              <c:idx val="196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9B4-4BE4-AFF1-FFCA96E6D6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نرخ معامله - آخرین قیمت'!$A$3:$A$203</c:f>
              <c:strCache>
                <c:ptCount val="197"/>
                <c:pt idx="0">
                  <c:v>1400/04/04</c:v>
                </c:pt>
                <c:pt idx="1">
                  <c:v>1400/04/11</c:v>
                </c:pt>
                <c:pt idx="2">
                  <c:v>1400/04/18</c:v>
                </c:pt>
                <c:pt idx="3">
                  <c:v>1400/04/25</c:v>
                </c:pt>
                <c:pt idx="4">
                  <c:v>1400/05/01</c:v>
                </c:pt>
                <c:pt idx="5">
                  <c:v>1400/05/08</c:v>
                </c:pt>
                <c:pt idx="6">
                  <c:v>1400/05/15</c:v>
                </c:pt>
                <c:pt idx="7">
                  <c:v>1400/05/22</c:v>
                </c:pt>
                <c:pt idx="8">
                  <c:v>1400/05/29</c:v>
                </c:pt>
                <c:pt idx="9">
                  <c:v>1400/06/05</c:v>
                </c:pt>
                <c:pt idx="10">
                  <c:v>1400/06/12</c:v>
                </c:pt>
                <c:pt idx="11">
                  <c:v>1400/06/19</c:v>
                </c:pt>
                <c:pt idx="12">
                  <c:v>1400/06/26</c:v>
                </c:pt>
                <c:pt idx="13">
                  <c:v>1400/07/02</c:v>
                </c:pt>
                <c:pt idx="14">
                  <c:v>1400/07/09</c:v>
                </c:pt>
                <c:pt idx="15">
                  <c:v>1400/07/16</c:v>
                </c:pt>
                <c:pt idx="16">
                  <c:v>1400/07/23</c:v>
                </c:pt>
                <c:pt idx="17">
                  <c:v>1400/07/30</c:v>
                </c:pt>
                <c:pt idx="18">
                  <c:v>1400/08/07</c:v>
                </c:pt>
                <c:pt idx="19">
                  <c:v>1400/08/14</c:v>
                </c:pt>
                <c:pt idx="20">
                  <c:v>1400/08/21</c:v>
                </c:pt>
                <c:pt idx="21">
                  <c:v>1400/08/28</c:v>
                </c:pt>
                <c:pt idx="22">
                  <c:v>1400/09/05</c:v>
                </c:pt>
                <c:pt idx="23">
                  <c:v>1400/09/12</c:v>
                </c:pt>
                <c:pt idx="24">
                  <c:v>1400/09/19</c:v>
                </c:pt>
                <c:pt idx="25">
                  <c:v>1400/09/26</c:v>
                </c:pt>
                <c:pt idx="26">
                  <c:v>1400/10/03</c:v>
                </c:pt>
                <c:pt idx="27">
                  <c:v>1400/10/10</c:v>
                </c:pt>
                <c:pt idx="28">
                  <c:v>1400/10/17</c:v>
                </c:pt>
                <c:pt idx="29">
                  <c:v>1400/10/24</c:v>
                </c:pt>
                <c:pt idx="30">
                  <c:v>1400/11/01</c:v>
                </c:pt>
                <c:pt idx="31">
                  <c:v>1400/11/08</c:v>
                </c:pt>
                <c:pt idx="32">
                  <c:v>1400/11/15</c:v>
                </c:pt>
                <c:pt idx="33">
                  <c:v>1400/11/22</c:v>
                </c:pt>
                <c:pt idx="34">
                  <c:v>1400/11/29</c:v>
                </c:pt>
                <c:pt idx="35">
                  <c:v>1400/12/06</c:v>
                </c:pt>
                <c:pt idx="36">
                  <c:v>1400/12/13</c:v>
                </c:pt>
                <c:pt idx="37">
                  <c:v>1400/12/20</c:v>
                </c:pt>
                <c:pt idx="38">
                  <c:v>1400/12/27</c:v>
                </c:pt>
                <c:pt idx="39">
                  <c:v>1401/01/05</c:v>
                </c:pt>
                <c:pt idx="40">
                  <c:v>1401/01/12</c:v>
                </c:pt>
                <c:pt idx="41">
                  <c:v>1401/01/19</c:v>
                </c:pt>
                <c:pt idx="42">
                  <c:v>1401/01/26</c:v>
                </c:pt>
                <c:pt idx="43">
                  <c:v>1401/02/02</c:v>
                </c:pt>
                <c:pt idx="44">
                  <c:v>1401/02/09</c:v>
                </c:pt>
                <c:pt idx="45">
                  <c:v>1401/02/16</c:v>
                </c:pt>
                <c:pt idx="46">
                  <c:v>1401/02/23</c:v>
                </c:pt>
                <c:pt idx="47">
                  <c:v>1401/02/30</c:v>
                </c:pt>
                <c:pt idx="48">
                  <c:v>1401/03/06</c:v>
                </c:pt>
                <c:pt idx="49">
                  <c:v>1401/03/13</c:v>
                </c:pt>
                <c:pt idx="50">
                  <c:v>1401/03/20</c:v>
                </c:pt>
                <c:pt idx="51">
                  <c:v>1401/03/27</c:v>
                </c:pt>
                <c:pt idx="52">
                  <c:v>1401/04/03</c:v>
                </c:pt>
                <c:pt idx="53">
                  <c:v>1401/04/10</c:v>
                </c:pt>
                <c:pt idx="54">
                  <c:v>1401/04/17</c:v>
                </c:pt>
                <c:pt idx="55">
                  <c:v>1401/04/24</c:v>
                </c:pt>
                <c:pt idx="56">
                  <c:v>1401/04/31</c:v>
                </c:pt>
                <c:pt idx="57">
                  <c:v>1401/05/07</c:v>
                </c:pt>
                <c:pt idx="58">
                  <c:v>1401/05/14</c:v>
                </c:pt>
                <c:pt idx="59">
                  <c:v>1401/05/21</c:v>
                </c:pt>
                <c:pt idx="60">
                  <c:v>1401/05/28</c:v>
                </c:pt>
                <c:pt idx="61">
                  <c:v>1401/06/04</c:v>
                </c:pt>
                <c:pt idx="62">
                  <c:v>1401/06/11</c:v>
                </c:pt>
                <c:pt idx="63">
                  <c:v>1401/06/18</c:v>
                </c:pt>
                <c:pt idx="64">
                  <c:v>1401/06/25</c:v>
                </c:pt>
                <c:pt idx="65">
                  <c:v>1401/07/01</c:v>
                </c:pt>
                <c:pt idx="66">
                  <c:v>1401/07/08</c:v>
                </c:pt>
                <c:pt idx="67">
                  <c:v>1401/07/15</c:v>
                </c:pt>
                <c:pt idx="68">
                  <c:v>1401/07/22</c:v>
                </c:pt>
                <c:pt idx="69">
                  <c:v>1401/07/29</c:v>
                </c:pt>
                <c:pt idx="70">
                  <c:v>1401/08/06</c:v>
                </c:pt>
                <c:pt idx="71">
                  <c:v>1401/08/13</c:v>
                </c:pt>
                <c:pt idx="72">
                  <c:v>1401/08/20</c:v>
                </c:pt>
                <c:pt idx="73">
                  <c:v>1401/08/27</c:v>
                </c:pt>
                <c:pt idx="74">
                  <c:v>1401/09/04</c:v>
                </c:pt>
                <c:pt idx="75">
                  <c:v>1401/09/11</c:v>
                </c:pt>
                <c:pt idx="76">
                  <c:v>1401/09/18</c:v>
                </c:pt>
                <c:pt idx="77">
                  <c:v>1401/09/25</c:v>
                </c:pt>
                <c:pt idx="78">
                  <c:v>1401/10/02</c:v>
                </c:pt>
                <c:pt idx="79">
                  <c:v>1401/10/09</c:v>
                </c:pt>
                <c:pt idx="80">
                  <c:v>1401/10/16</c:v>
                </c:pt>
                <c:pt idx="81">
                  <c:v>1401/10/23</c:v>
                </c:pt>
                <c:pt idx="82">
                  <c:v>1401/10/30</c:v>
                </c:pt>
                <c:pt idx="83">
                  <c:v>1401/11/07</c:v>
                </c:pt>
                <c:pt idx="84">
                  <c:v>1401/11/14</c:v>
                </c:pt>
                <c:pt idx="85">
                  <c:v>1401/11/21</c:v>
                </c:pt>
                <c:pt idx="86">
                  <c:v>1401/11/28</c:v>
                </c:pt>
                <c:pt idx="87">
                  <c:v>1401/12/05</c:v>
                </c:pt>
                <c:pt idx="88">
                  <c:v>1401/12/12</c:v>
                </c:pt>
                <c:pt idx="89">
                  <c:v>1401/12/19</c:v>
                </c:pt>
                <c:pt idx="90">
                  <c:v>1401/12/26</c:v>
                </c:pt>
                <c:pt idx="91">
                  <c:v>1401/12/29</c:v>
                </c:pt>
                <c:pt idx="92">
                  <c:v>1402/01/04</c:v>
                </c:pt>
                <c:pt idx="93">
                  <c:v>1402/01/11</c:v>
                </c:pt>
                <c:pt idx="94">
                  <c:v>1402/01/18</c:v>
                </c:pt>
                <c:pt idx="95">
                  <c:v>1402/01/25</c:v>
                </c:pt>
                <c:pt idx="96">
                  <c:v>1402/02/01</c:v>
                </c:pt>
                <c:pt idx="97">
                  <c:v>1402/02/08</c:v>
                </c:pt>
                <c:pt idx="98">
                  <c:v>1402/02/15</c:v>
                </c:pt>
                <c:pt idx="99">
                  <c:v>1402/02/22</c:v>
                </c:pt>
                <c:pt idx="100">
                  <c:v>1402/02/29</c:v>
                </c:pt>
                <c:pt idx="101">
                  <c:v>1402/03/05</c:v>
                </c:pt>
                <c:pt idx="102">
                  <c:v>1402/03/12</c:v>
                </c:pt>
                <c:pt idx="103">
                  <c:v>1402/03/19</c:v>
                </c:pt>
                <c:pt idx="104">
                  <c:v>1402/03/26</c:v>
                </c:pt>
                <c:pt idx="105">
                  <c:v>1402/04/02</c:v>
                </c:pt>
                <c:pt idx="106">
                  <c:v>1402/04/09</c:v>
                </c:pt>
                <c:pt idx="107">
                  <c:v>1402/04/16</c:v>
                </c:pt>
                <c:pt idx="108">
                  <c:v>1402/04/23</c:v>
                </c:pt>
                <c:pt idx="109">
                  <c:v>1402/04/30</c:v>
                </c:pt>
                <c:pt idx="110">
                  <c:v>1402/05/06</c:v>
                </c:pt>
                <c:pt idx="111">
                  <c:v>1402/05/13</c:v>
                </c:pt>
                <c:pt idx="112">
                  <c:v>1402/05/20</c:v>
                </c:pt>
                <c:pt idx="113">
                  <c:v>1402/05/27</c:v>
                </c:pt>
                <c:pt idx="114">
                  <c:v>1402/06/03</c:v>
                </c:pt>
                <c:pt idx="115">
                  <c:v>1402/06/10</c:v>
                </c:pt>
                <c:pt idx="116">
                  <c:v>1402/06/17</c:v>
                </c:pt>
                <c:pt idx="117">
                  <c:v>1402/06/24</c:v>
                </c:pt>
                <c:pt idx="118">
                  <c:v>1402/06/31</c:v>
                </c:pt>
                <c:pt idx="119">
                  <c:v>1402/07/07</c:v>
                </c:pt>
                <c:pt idx="120">
                  <c:v>1402/07/14</c:v>
                </c:pt>
                <c:pt idx="121">
                  <c:v>1402/07/21</c:v>
                </c:pt>
                <c:pt idx="122">
                  <c:v>1402/07/28</c:v>
                </c:pt>
                <c:pt idx="123">
                  <c:v>1402/08/05</c:v>
                </c:pt>
                <c:pt idx="124">
                  <c:v>1402/08/12</c:v>
                </c:pt>
                <c:pt idx="125">
                  <c:v>1402/08/19</c:v>
                </c:pt>
                <c:pt idx="126">
                  <c:v>1402/08/26</c:v>
                </c:pt>
                <c:pt idx="127">
                  <c:v>1402/09/03</c:v>
                </c:pt>
                <c:pt idx="128">
                  <c:v>1402/09/10</c:v>
                </c:pt>
                <c:pt idx="129">
                  <c:v>1402/09/17</c:v>
                </c:pt>
                <c:pt idx="130">
                  <c:v>1402/09/24</c:v>
                </c:pt>
                <c:pt idx="131">
                  <c:v>1402/10/01</c:v>
                </c:pt>
                <c:pt idx="132">
                  <c:v>1402/10/08</c:v>
                </c:pt>
                <c:pt idx="133">
                  <c:v>1402/10/15</c:v>
                </c:pt>
                <c:pt idx="134">
                  <c:v>1402/10/22</c:v>
                </c:pt>
                <c:pt idx="135">
                  <c:v>1402/10/29</c:v>
                </c:pt>
                <c:pt idx="136">
                  <c:v>1402/11/06</c:v>
                </c:pt>
                <c:pt idx="137">
                  <c:v>1402/11/13</c:v>
                </c:pt>
                <c:pt idx="138">
                  <c:v>1402/11/20</c:v>
                </c:pt>
                <c:pt idx="139">
                  <c:v>1402/11/27</c:v>
                </c:pt>
                <c:pt idx="140">
                  <c:v>1402/12/04</c:v>
                </c:pt>
                <c:pt idx="141">
                  <c:v>1402/12/11</c:v>
                </c:pt>
                <c:pt idx="142">
                  <c:v>1402/12/18</c:v>
                </c:pt>
                <c:pt idx="143">
                  <c:v>1402/12/25</c:v>
                </c:pt>
                <c:pt idx="144">
                  <c:v>1402/12/29</c:v>
                </c:pt>
                <c:pt idx="145">
                  <c:v>1403/01/03</c:v>
                </c:pt>
                <c:pt idx="146">
                  <c:v>1403/01/10</c:v>
                </c:pt>
                <c:pt idx="147">
                  <c:v>1403/01/17</c:v>
                </c:pt>
                <c:pt idx="148">
                  <c:v>1403/01/24</c:v>
                </c:pt>
                <c:pt idx="149">
                  <c:v>1403/01/31</c:v>
                </c:pt>
                <c:pt idx="150">
                  <c:v>1403/02/07</c:v>
                </c:pt>
                <c:pt idx="151">
                  <c:v>1403/02/14</c:v>
                </c:pt>
                <c:pt idx="152">
                  <c:v>1403/02/21</c:v>
                </c:pt>
                <c:pt idx="153">
                  <c:v>1403/02/28</c:v>
                </c:pt>
                <c:pt idx="154">
                  <c:v>1403/03/04</c:v>
                </c:pt>
                <c:pt idx="155">
                  <c:v>1403/03/11</c:v>
                </c:pt>
                <c:pt idx="156">
                  <c:v>1403/03/18</c:v>
                </c:pt>
                <c:pt idx="157">
                  <c:v>1403/03/25</c:v>
                </c:pt>
                <c:pt idx="158">
                  <c:v>1403/04/01</c:v>
                </c:pt>
                <c:pt idx="159">
                  <c:v>1403/04/08</c:v>
                </c:pt>
                <c:pt idx="160">
                  <c:v>1403/04/15</c:v>
                </c:pt>
                <c:pt idx="161">
                  <c:v>1403/04/22</c:v>
                </c:pt>
                <c:pt idx="162">
                  <c:v> 1403/04/29</c:v>
                </c:pt>
                <c:pt idx="163">
                  <c:v>1403/05/05</c:v>
                </c:pt>
                <c:pt idx="164">
                  <c:v>1403/05/12</c:v>
                </c:pt>
                <c:pt idx="165">
                  <c:v>1403/05/19</c:v>
                </c:pt>
                <c:pt idx="166">
                  <c:v>1403/05/26</c:v>
                </c:pt>
                <c:pt idx="167">
                  <c:v>1403/06/02</c:v>
                </c:pt>
                <c:pt idx="168">
                  <c:v>1403/06/09</c:v>
                </c:pt>
                <c:pt idx="169">
                  <c:v>1403/06/16</c:v>
                </c:pt>
                <c:pt idx="170">
                  <c:v>1403/06/23</c:v>
                </c:pt>
                <c:pt idx="171">
                  <c:v>1403/06/30</c:v>
                </c:pt>
                <c:pt idx="172">
                  <c:v>1403/07/06</c:v>
                </c:pt>
                <c:pt idx="173">
                  <c:v>1403/07/13</c:v>
                </c:pt>
                <c:pt idx="174">
                  <c:v>1403/07/20</c:v>
                </c:pt>
                <c:pt idx="175">
                  <c:v>1403/07/27</c:v>
                </c:pt>
                <c:pt idx="176">
                  <c:v>1403/08/04</c:v>
                </c:pt>
                <c:pt idx="177">
                  <c:v> 1403/08/11</c:v>
                </c:pt>
                <c:pt idx="178">
                  <c:v> 1403/08/18</c:v>
                </c:pt>
                <c:pt idx="179">
                  <c:v> 1403/08/25</c:v>
                </c:pt>
                <c:pt idx="180">
                  <c:v> 1403/09/02</c:v>
                </c:pt>
                <c:pt idx="181">
                  <c:v> 1403/09/09</c:v>
                </c:pt>
                <c:pt idx="182">
                  <c:v> 1403/09/16</c:v>
                </c:pt>
                <c:pt idx="183">
                  <c:v> 1403/09/23</c:v>
                </c:pt>
                <c:pt idx="184">
                  <c:v> 1403/09/30</c:v>
                </c:pt>
                <c:pt idx="185">
                  <c:v>1403/10/07</c:v>
                </c:pt>
                <c:pt idx="186">
                  <c:v>1403/10/14</c:v>
                </c:pt>
                <c:pt idx="187">
                  <c:v>1403/10/21</c:v>
                </c:pt>
                <c:pt idx="188">
                  <c:v>1403/10/28</c:v>
                </c:pt>
                <c:pt idx="189">
                  <c:v>1403/11/05</c:v>
                </c:pt>
                <c:pt idx="190">
                  <c:v>1403/11/12</c:v>
                </c:pt>
                <c:pt idx="191">
                  <c:v>1403/11/19</c:v>
                </c:pt>
                <c:pt idx="192">
                  <c:v>1403/11/24</c:v>
                </c:pt>
                <c:pt idx="193">
                  <c:v>1403/12/03</c:v>
                </c:pt>
                <c:pt idx="194">
                  <c:v>1403/12/10</c:v>
                </c:pt>
                <c:pt idx="195">
                  <c:v>1403/12/17</c:v>
                </c:pt>
                <c:pt idx="196">
                  <c:v>1403/12/24</c:v>
                </c:pt>
              </c:strCache>
            </c:strRef>
          </c:cat>
          <c:val>
            <c:numRef>
              <c:f>'نرخ معامله - آخرین قیمت'!$D$3:$D$203</c:f>
              <c:numCache>
                <c:formatCode>_(* #,##0_);_(* \(#,##0\);_(* "-"??_);_(@_)</c:formatCode>
                <c:ptCount val="201"/>
                <c:pt idx="0">
                  <c:v>210975</c:v>
                </c:pt>
                <c:pt idx="1">
                  <c:v>211950</c:v>
                </c:pt>
                <c:pt idx="2">
                  <c:v>216800</c:v>
                </c:pt>
                <c:pt idx="3">
                  <c:v>224175</c:v>
                </c:pt>
                <c:pt idx="4">
                  <c:v>224750</c:v>
                </c:pt>
                <c:pt idx="5">
                  <c:v>239650</c:v>
                </c:pt>
                <c:pt idx="6">
                  <c:v>235250</c:v>
                </c:pt>
                <c:pt idx="7">
                  <c:v>235650</c:v>
                </c:pt>
                <c:pt idx="8">
                  <c:v>251450</c:v>
                </c:pt>
                <c:pt idx="9">
                  <c:v>254250</c:v>
                </c:pt>
                <c:pt idx="10">
                  <c:v>252225</c:v>
                </c:pt>
                <c:pt idx="11">
                  <c:v>233950</c:v>
                </c:pt>
                <c:pt idx="12">
                  <c:v>240800</c:v>
                </c:pt>
                <c:pt idx="13">
                  <c:v>226175</c:v>
                </c:pt>
                <c:pt idx="14">
                  <c:v>217175</c:v>
                </c:pt>
                <c:pt idx="15">
                  <c:v>199250</c:v>
                </c:pt>
                <c:pt idx="16">
                  <c:v>181400</c:v>
                </c:pt>
                <c:pt idx="17">
                  <c:v>161550</c:v>
                </c:pt>
                <c:pt idx="18">
                  <c:v>140175</c:v>
                </c:pt>
                <c:pt idx="19">
                  <c:v>122600</c:v>
                </c:pt>
                <c:pt idx="20">
                  <c:v>100300</c:v>
                </c:pt>
                <c:pt idx="21">
                  <c:v>89875</c:v>
                </c:pt>
                <c:pt idx="22">
                  <c:v>83800</c:v>
                </c:pt>
                <c:pt idx="23">
                  <c:v>78350</c:v>
                </c:pt>
                <c:pt idx="24">
                  <c:v>81775</c:v>
                </c:pt>
                <c:pt idx="25">
                  <c:v>89150</c:v>
                </c:pt>
                <c:pt idx="26">
                  <c:v>89275</c:v>
                </c:pt>
                <c:pt idx="27">
                  <c:v>88950</c:v>
                </c:pt>
                <c:pt idx="28">
                  <c:v>84775</c:v>
                </c:pt>
                <c:pt idx="29">
                  <c:v>86300</c:v>
                </c:pt>
                <c:pt idx="30">
                  <c:v>99775</c:v>
                </c:pt>
                <c:pt idx="31">
                  <c:v>90125</c:v>
                </c:pt>
                <c:pt idx="32">
                  <c:v>82225</c:v>
                </c:pt>
                <c:pt idx="33">
                  <c:v>74100</c:v>
                </c:pt>
                <c:pt idx="34">
                  <c:v>74075</c:v>
                </c:pt>
                <c:pt idx="35">
                  <c:v>74875</c:v>
                </c:pt>
                <c:pt idx="36">
                  <c:v>69825</c:v>
                </c:pt>
                <c:pt idx="37">
                  <c:v>74200</c:v>
                </c:pt>
                <c:pt idx="38">
                  <c:v>79500</c:v>
                </c:pt>
                <c:pt idx="39">
                  <c:v>80600</c:v>
                </c:pt>
                <c:pt idx="40">
                  <c:v>93975</c:v>
                </c:pt>
                <c:pt idx="41">
                  <c:v>103775</c:v>
                </c:pt>
                <c:pt idx="42">
                  <c:v>110675</c:v>
                </c:pt>
                <c:pt idx="43">
                  <c:v>137775</c:v>
                </c:pt>
                <c:pt idx="44">
                  <c:v>156050</c:v>
                </c:pt>
                <c:pt idx="45">
                  <c:v>170025</c:v>
                </c:pt>
                <c:pt idx="46">
                  <c:v>177000</c:v>
                </c:pt>
                <c:pt idx="47">
                  <c:v>174600</c:v>
                </c:pt>
                <c:pt idx="48">
                  <c:v>156175</c:v>
                </c:pt>
                <c:pt idx="49">
                  <c:v>145950</c:v>
                </c:pt>
                <c:pt idx="50">
                  <c:v>117750</c:v>
                </c:pt>
                <c:pt idx="51">
                  <c:v>118025</c:v>
                </c:pt>
                <c:pt idx="52">
                  <c:v>113025</c:v>
                </c:pt>
                <c:pt idx="53">
                  <c:v>126850</c:v>
                </c:pt>
                <c:pt idx="54">
                  <c:v>133025</c:v>
                </c:pt>
                <c:pt idx="55">
                  <c:v>130425</c:v>
                </c:pt>
                <c:pt idx="56">
                  <c:v>133925</c:v>
                </c:pt>
                <c:pt idx="57">
                  <c:v>130575</c:v>
                </c:pt>
                <c:pt idx="58">
                  <c:v>128600</c:v>
                </c:pt>
                <c:pt idx="59">
                  <c:v>131850</c:v>
                </c:pt>
                <c:pt idx="60">
                  <c:v>123825</c:v>
                </c:pt>
                <c:pt idx="61">
                  <c:v>120525</c:v>
                </c:pt>
                <c:pt idx="62">
                  <c:v>110550</c:v>
                </c:pt>
                <c:pt idx="63">
                  <c:v>105450</c:v>
                </c:pt>
                <c:pt idx="64">
                  <c:v>102000</c:v>
                </c:pt>
                <c:pt idx="65">
                  <c:v>124725</c:v>
                </c:pt>
                <c:pt idx="66">
                  <c:v>135250</c:v>
                </c:pt>
                <c:pt idx="67">
                  <c:v>143775</c:v>
                </c:pt>
                <c:pt idx="68">
                  <c:v>145650</c:v>
                </c:pt>
                <c:pt idx="69">
                  <c:v>137325</c:v>
                </c:pt>
                <c:pt idx="70">
                  <c:v>119375</c:v>
                </c:pt>
                <c:pt idx="71">
                  <c:v>88600</c:v>
                </c:pt>
                <c:pt idx="72">
                  <c:v>77875</c:v>
                </c:pt>
                <c:pt idx="73">
                  <c:v>89750</c:v>
                </c:pt>
                <c:pt idx="74">
                  <c:v>90750</c:v>
                </c:pt>
                <c:pt idx="75">
                  <c:v>87450</c:v>
                </c:pt>
                <c:pt idx="76">
                  <c:v>85425</c:v>
                </c:pt>
                <c:pt idx="77">
                  <c:v>84100</c:v>
                </c:pt>
                <c:pt idx="78">
                  <c:v>81475</c:v>
                </c:pt>
                <c:pt idx="79">
                  <c:v>88925</c:v>
                </c:pt>
                <c:pt idx="80">
                  <c:v>86400</c:v>
                </c:pt>
                <c:pt idx="81">
                  <c:v>83850</c:v>
                </c:pt>
                <c:pt idx="82">
                  <c:v>80025</c:v>
                </c:pt>
                <c:pt idx="83">
                  <c:v>73975</c:v>
                </c:pt>
                <c:pt idx="84">
                  <c:v>70000</c:v>
                </c:pt>
                <c:pt idx="85">
                  <c:v>63100</c:v>
                </c:pt>
                <c:pt idx="86">
                  <c:v>64825</c:v>
                </c:pt>
                <c:pt idx="87">
                  <c:v>63775</c:v>
                </c:pt>
                <c:pt idx="88">
                  <c:v>70550</c:v>
                </c:pt>
                <c:pt idx="89">
                  <c:v>71725</c:v>
                </c:pt>
                <c:pt idx="90">
                  <c:v>74700</c:v>
                </c:pt>
                <c:pt idx="91">
                  <c:v>76925</c:v>
                </c:pt>
                <c:pt idx="92">
                  <c:v>72675</c:v>
                </c:pt>
                <c:pt idx="93">
                  <c:v>64725</c:v>
                </c:pt>
                <c:pt idx="94">
                  <c:v>65425</c:v>
                </c:pt>
                <c:pt idx="95">
                  <c:v>51550</c:v>
                </c:pt>
                <c:pt idx="96">
                  <c:v>51875</c:v>
                </c:pt>
                <c:pt idx="97">
                  <c:v>64550</c:v>
                </c:pt>
                <c:pt idx="98">
                  <c:v>70425</c:v>
                </c:pt>
                <c:pt idx="99">
                  <c:v>76625</c:v>
                </c:pt>
                <c:pt idx="100">
                  <c:v>91975</c:v>
                </c:pt>
                <c:pt idx="101">
                  <c:v>97725</c:v>
                </c:pt>
                <c:pt idx="102">
                  <c:v>98675</c:v>
                </c:pt>
                <c:pt idx="103">
                  <c:v>97650</c:v>
                </c:pt>
                <c:pt idx="104">
                  <c:v>90625</c:v>
                </c:pt>
                <c:pt idx="105">
                  <c:v>79300</c:v>
                </c:pt>
                <c:pt idx="106">
                  <c:v>72975</c:v>
                </c:pt>
                <c:pt idx="107">
                  <c:v>62975</c:v>
                </c:pt>
                <c:pt idx="108">
                  <c:v>57175</c:v>
                </c:pt>
                <c:pt idx="109">
                  <c:v>59900</c:v>
                </c:pt>
                <c:pt idx="110">
                  <c:v>64425</c:v>
                </c:pt>
                <c:pt idx="111">
                  <c:v>79325</c:v>
                </c:pt>
                <c:pt idx="112">
                  <c:v>84900</c:v>
                </c:pt>
                <c:pt idx="113">
                  <c:v>92200</c:v>
                </c:pt>
                <c:pt idx="114">
                  <c:v>97525</c:v>
                </c:pt>
                <c:pt idx="115">
                  <c:v>104275</c:v>
                </c:pt>
                <c:pt idx="116">
                  <c:v>134125</c:v>
                </c:pt>
                <c:pt idx="117">
                  <c:v>143375</c:v>
                </c:pt>
                <c:pt idx="118">
                  <c:v>162900</c:v>
                </c:pt>
                <c:pt idx="119">
                  <c:v>167825</c:v>
                </c:pt>
                <c:pt idx="120">
                  <c:v>170175</c:v>
                </c:pt>
                <c:pt idx="121">
                  <c:v>180900</c:v>
                </c:pt>
                <c:pt idx="122">
                  <c:v>191925</c:v>
                </c:pt>
                <c:pt idx="123">
                  <c:v>180600</c:v>
                </c:pt>
                <c:pt idx="124">
                  <c:v>180600</c:v>
                </c:pt>
                <c:pt idx="125">
                  <c:v>180000</c:v>
                </c:pt>
                <c:pt idx="126">
                  <c:v>181275</c:v>
                </c:pt>
                <c:pt idx="127">
                  <c:v>178525</c:v>
                </c:pt>
                <c:pt idx="128">
                  <c:v>174250</c:v>
                </c:pt>
                <c:pt idx="129">
                  <c:v>181600</c:v>
                </c:pt>
                <c:pt idx="130">
                  <c:v>175550</c:v>
                </c:pt>
                <c:pt idx="131">
                  <c:v>166675</c:v>
                </c:pt>
                <c:pt idx="132">
                  <c:v>167300</c:v>
                </c:pt>
                <c:pt idx="133">
                  <c:v>163175</c:v>
                </c:pt>
                <c:pt idx="134">
                  <c:v>155825</c:v>
                </c:pt>
                <c:pt idx="135">
                  <c:v>157875</c:v>
                </c:pt>
                <c:pt idx="136">
                  <c:v>151350</c:v>
                </c:pt>
                <c:pt idx="137">
                  <c:v>140225</c:v>
                </c:pt>
                <c:pt idx="138">
                  <c:v>136825</c:v>
                </c:pt>
                <c:pt idx="139">
                  <c:v>130675</c:v>
                </c:pt>
                <c:pt idx="140">
                  <c:v>122900</c:v>
                </c:pt>
                <c:pt idx="141">
                  <c:v>121375</c:v>
                </c:pt>
                <c:pt idx="142">
                  <c:v>112800</c:v>
                </c:pt>
                <c:pt idx="143">
                  <c:v>107300</c:v>
                </c:pt>
                <c:pt idx="144">
                  <c:v>106700</c:v>
                </c:pt>
                <c:pt idx="145">
                  <c:v>113850</c:v>
                </c:pt>
                <c:pt idx="146">
                  <c:v>112475</c:v>
                </c:pt>
                <c:pt idx="147">
                  <c:v>115525</c:v>
                </c:pt>
                <c:pt idx="148">
                  <c:v>124425</c:v>
                </c:pt>
                <c:pt idx="149">
                  <c:v>122125</c:v>
                </c:pt>
                <c:pt idx="150">
                  <c:v>118550</c:v>
                </c:pt>
                <c:pt idx="151">
                  <c:v>111300</c:v>
                </c:pt>
                <c:pt idx="152">
                  <c:v>103450</c:v>
                </c:pt>
                <c:pt idx="153">
                  <c:v>103650</c:v>
                </c:pt>
                <c:pt idx="154">
                  <c:v>112675</c:v>
                </c:pt>
                <c:pt idx="155">
                  <c:v>116475</c:v>
                </c:pt>
                <c:pt idx="156">
                  <c:v>123800</c:v>
                </c:pt>
                <c:pt idx="157">
                  <c:v>133925</c:v>
                </c:pt>
                <c:pt idx="158">
                  <c:v>165175</c:v>
                </c:pt>
                <c:pt idx="159">
                  <c:v>180125</c:v>
                </c:pt>
                <c:pt idx="160">
                  <c:v>191625</c:v>
                </c:pt>
                <c:pt idx="161">
                  <c:v>206225</c:v>
                </c:pt>
                <c:pt idx="162">
                  <c:v>231425</c:v>
                </c:pt>
                <c:pt idx="163">
                  <c:v>237750</c:v>
                </c:pt>
                <c:pt idx="164">
                  <c:v>246500</c:v>
                </c:pt>
                <c:pt idx="165">
                  <c:v>296400</c:v>
                </c:pt>
                <c:pt idx="166">
                  <c:v>309050</c:v>
                </c:pt>
                <c:pt idx="167">
                  <c:v>315575</c:v>
                </c:pt>
                <c:pt idx="168">
                  <c:v>320925</c:v>
                </c:pt>
                <c:pt idx="169">
                  <c:v>317575</c:v>
                </c:pt>
                <c:pt idx="170">
                  <c:v>311525</c:v>
                </c:pt>
                <c:pt idx="171">
                  <c:v>303350</c:v>
                </c:pt>
                <c:pt idx="172">
                  <c:v>302525</c:v>
                </c:pt>
                <c:pt idx="173">
                  <c:v>299535</c:v>
                </c:pt>
                <c:pt idx="174">
                  <c:v>297060</c:v>
                </c:pt>
                <c:pt idx="175">
                  <c:v>288270</c:v>
                </c:pt>
                <c:pt idx="176">
                  <c:v>279405</c:v>
                </c:pt>
                <c:pt idx="177">
                  <c:v>273675</c:v>
                </c:pt>
                <c:pt idx="178">
                  <c:v>272860</c:v>
                </c:pt>
                <c:pt idx="179">
                  <c:v>272055</c:v>
                </c:pt>
                <c:pt idx="180">
                  <c:v>272100</c:v>
                </c:pt>
                <c:pt idx="181">
                  <c:v>270205</c:v>
                </c:pt>
                <c:pt idx="182">
                  <c:v>269635</c:v>
                </c:pt>
                <c:pt idx="183">
                  <c:v>269530</c:v>
                </c:pt>
                <c:pt idx="184">
                  <c:v>272410</c:v>
                </c:pt>
                <c:pt idx="185">
                  <c:v>272625</c:v>
                </c:pt>
                <c:pt idx="186">
                  <c:v>270988</c:v>
                </c:pt>
                <c:pt idx="187">
                  <c:v>265975</c:v>
                </c:pt>
                <c:pt idx="188">
                  <c:v>261285</c:v>
                </c:pt>
                <c:pt idx="189">
                  <c:v>259550</c:v>
                </c:pt>
                <c:pt idx="190">
                  <c:v>256225</c:v>
                </c:pt>
                <c:pt idx="191">
                  <c:v>247625</c:v>
                </c:pt>
                <c:pt idx="192">
                  <c:v>255225</c:v>
                </c:pt>
                <c:pt idx="193">
                  <c:v>267750</c:v>
                </c:pt>
                <c:pt idx="194">
                  <c:v>264935</c:v>
                </c:pt>
                <c:pt idx="195">
                  <c:v>259740</c:v>
                </c:pt>
                <c:pt idx="196">
                  <c:v>2417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B4-4BE4-AFF1-FFCA96E6D6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1681981247"/>
        <c:axId val="1681969183"/>
      </c:barChart>
      <c:lineChart>
        <c:grouping val="standard"/>
        <c:varyColors val="0"/>
        <c:ser>
          <c:idx val="1"/>
          <c:order val="1"/>
          <c:tx>
            <c:strRef>
              <c:f>'نرخ معامله - آخرین قیمت'!$B$1</c:f>
              <c:strCache>
                <c:ptCount val="1"/>
                <c:pt idx="0">
                  <c:v>نرخ کاتد مسی(دلار) - بورس لندن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9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9B4-4BE4-AFF1-FFCA96E6D62D}"/>
                </c:ext>
              </c:extLst>
            </c:dLbl>
            <c:dLbl>
              <c:idx val="196"/>
              <c:layout>
                <c:manualLayout>
                  <c:x val="-1.4511783747503816E-2"/>
                  <c:y val="-1.11361221090301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9B4-4BE4-AFF1-FFCA96E6D6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نرخ معامله - آخرین قیمت'!$A$3:$A$203</c:f>
              <c:strCache>
                <c:ptCount val="197"/>
                <c:pt idx="0">
                  <c:v>1400/04/04</c:v>
                </c:pt>
                <c:pt idx="1">
                  <c:v>1400/04/11</c:v>
                </c:pt>
                <c:pt idx="2">
                  <c:v>1400/04/18</c:v>
                </c:pt>
                <c:pt idx="3">
                  <c:v>1400/04/25</c:v>
                </c:pt>
                <c:pt idx="4">
                  <c:v>1400/05/01</c:v>
                </c:pt>
                <c:pt idx="5">
                  <c:v>1400/05/08</c:v>
                </c:pt>
                <c:pt idx="6">
                  <c:v>1400/05/15</c:v>
                </c:pt>
                <c:pt idx="7">
                  <c:v>1400/05/22</c:v>
                </c:pt>
                <c:pt idx="8">
                  <c:v>1400/05/29</c:v>
                </c:pt>
                <c:pt idx="9">
                  <c:v>1400/06/05</c:v>
                </c:pt>
                <c:pt idx="10">
                  <c:v>1400/06/12</c:v>
                </c:pt>
                <c:pt idx="11">
                  <c:v>1400/06/19</c:v>
                </c:pt>
                <c:pt idx="12">
                  <c:v>1400/06/26</c:v>
                </c:pt>
                <c:pt idx="13">
                  <c:v>1400/07/02</c:v>
                </c:pt>
                <c:pt idx="14">
                  <c:v>1400/07/09</c:v>
                </c:pt>
                <c:pt idx="15">
                  <c:v>1400/07/16</c:v>
                </c:pt>
                <c:pt idx="16">
                  <c:v>1400/07/23</c:v>
                </c:pt>
                <c:pt idx="17">
                  <c:v>1400/07/30</c:v>
                </c:pt>
                <c:pt idx="18">
                  <c:v>1400/08/07</c:v>
                </c:pt>
                <c:pt idx="19">
                  <c:v>1400/08/14</c:v>
                </c:pt>
                <c:pt idx="20">
                  <c:v>1400/08/21</c:v>
                </c:pt>
                <c:pt idx="21">
                  <c:v>1400/08/28</c:v>
                </c:pt>
                <c:pt idx="22">
                  <c:v>1400/09/05</c:v>
                </c:pt>
                <c:pt idx="23">
                  <c:v>1400/09/12</c:v>
                </c:pt>
                <c:pt idx="24">
                  <c:v>1400/09/19</c:v>
                </c:pt>
                <c:pt idx="25">
                  <c:v>1400/09/26</c:v>
                </c:pt>
                <c:pt idx="26">
                  <c:v>1400/10/03</c:v>
                </c:pt>
                <c:pt idx="27">
                  <c:v>1400/10/10</c:v>
                </c:pt>
                <c:pt idx="28">
                  <c:v>1400/10/17</c:v>
                </c:pt>
                <c:pt idx="29">
                  <c:v>1400/10/24</c:v>
                </c:pt>
                <c:pt idx="30">
                  <c:v>1400/11/01</c:v>
                </c:pt>
                <c:pt idx="31">
                  <c:v>1400/11/08</c:v>
                </c:pt>
                <c:pt idx="32">
                  <c:v>1400/11/15</c:v>
                </c:pt>
                <c:pt idx="33">
                  <c:v>1400/11/22</c:v>
                </c:pt>
                <c:pt idx="34">
                  <c:v>1400/11/29</c:v>
                </c:pt>
                <c:pt idx="35">
                  <c:v>1400/12/06</c:v>
                </c:pt>
                <c:pt idx="36">
                  <c:v>1400/12/13</c:v>
                </c:pt>
                <c:pt idx="37">
                  <c:v>1400/12/20</c:v>
                </c:pt>
                <c:pt idx="38">
                  <c:v>1400/12/27</c:v>
                </c:pt>
                <c:pt idx="39">
                  <c:v>1401/01/05</c:v>
                </c:pt>
                <c:pt idx="40">
                  <c:v>1401/01/12</c:v>
                </c:pt>
                <c:pt idx="41">
                  <c:v>1401/01/19</c:v>
                </c:pt>
                <c:pt idx="42">
                  <c:v>1401/01/26</c:v>
                </c:pt>
                <c:pt idx="43">
                  <c:v>1401/02/02</c:v>
                </c:pt>
                <c:pt idx="44">
                  <c:v>1401/02/09</c:v>
                </c:pt>
                <c:pt idx="45">
                  <c:v>1401/02/16</c:v>
                </c:pt>
                <c:pt idx="46">
                  <c:v>1401/02/23</c:v>
                </c:pt>
                <c:pt idx="47">
                  <c:v>1401/02/30</c:v>
                </c:pt>
                <c:pt idx="48">
                  <c:v>1401/03/06</c:v>
                </c:pt>
                <c:pt idx="49">
                  <c:v>1401/03/13</c:v>
                </c:pt>
                <c:pt idx="50">
                  <c:v>1401/03/20</c:v>
                </c:pt>
                <c:pt idx="51">
                  <c:v>1401/03/27</c:v>
                </c:pt>
                <c:pt idx="52">
                  <c:v>1401/04/03</c:v>
                </c:pt>
                <c:pt idx="53">
                  <c:v>1401/04/10</c:v>
                </c:pt>
                <c:pt idx="54">
                  <c:v>1401/04/17</c:v>
                </c:pt>
                <c:pt idx="55">
                  <c:v>1401/04/24</c:v>
                </c:pt>
                <c:pt idx="56">
                  <c:v>1401/04/31</c:v>
                </c:pt>
                <c:pt idx="57">
                  <c:v>1401/05/07</c:v>
                </c:pt>
                <c:pt idx="58">
                  <c:v>1401/05/14</c:v>
                </c:pt>
                <c:pt idx="59">
                  <c:v>1401/05/21</c:v>
                </c:pt>
                <c:pt idx="60">
                  <c:v>1401/05/28</c:v>
                </c:pt>
                <c:pt idx="61">
                  <c:v>1401/06/04</c:v>
                </c:pt>
                <c:pt idx="62">
                  <c:v>1401/06/11</c:v>
                </c:pt>
                <c:pt idx="63">
                  <c:v>1401/06/18</c:v>
                </c:pt>
                <c:pt idx="64">
                  <c:v>1401/06/25</c:v>
                </c:pt>
                <c:pt idx="65">
                  <c:v>1401/07/01</c:v>
                </c:pt>
                <c:pt idx="66">
                  <c:v>1401/07/08</c:v>
                </c:pt>
                <c:pt idx="67">
                  <c:v>1401/07/15</c:v>
                </c:pt>
                <c:pt idx="68">
                  <c:v>1401/07/22</c:v>
                </c:pt>
                <c:pt idx="69">
                  <c:v>1401/07/29</c:v>
                </c:pt>
                <c:pt idx="70">
                  <c:v>1401/08/06</c:v>
                </c:pt>
                <c:pt idx="71">
                  <c:v>1401/08/13</c:v>
                </c:pt>
                <c:pt idx="72">
                  <c:v>1401/08/20</c:v>
                </c:pt>
                <c:pt idx="73">
                  <c:v>1401/08/27</c:v>
                </c:pt>
                <c:pt idx="74">
                  <c:v>1401/09/04</c:v>
                </c:pt>
                <c:pt idx="75">
                  <c:v>1401/09/11</c:v>
                </c:pt>
                <c:pt idx="76">
                  <c:v>1401/09/18</c:v>
                </c:pt>
                <c:pt idx="77">
                  <c:v>1401/09/25</c:v>
                </c:pt>
                <c:pt idx="78">
                  <c:v>1401/10/02</c:v>
                </c:pt>
                <c:pt idx="79">
                  <c:v>1401/10/09</c:v>
                </c:pt>
                <c:pt idx="80">
                  <c:v>1401/10/16</c:v>
                </c:pt>
                <c:pt idx="81">
                  <c:v>1401/10/23</c:v>
                </c:pt>
                <c:pt idx="82">
                  <c:v>1401/10/30</c:v>
                </c:pt>
                <c:pt idx="83">
                  <c:v>1401/11/07</c:v>
                </c:pt>
                <c:pt idx="84">
                  <c:v>1401/11/14</c:v>
                </c:pt>
                <c:pt idx="85">
                  <c:v>1401/11/21</c:v>
                </c:pt>
                <c:pt idx="86">
                  <c:v>1401/11/28</c:v>
                </c:pt>
                <c:pt idx="87">
                  <c:v>1401/12/05</c:v>
                </c:pt>
                <c:pt idx="88">
                  <c:v>1401/12/12</c:v>
                </c:pt>
                <c:pt idx="89">
                  <c:v>1401/12/19</c:v>
                </c:pt>
                <c:pt idx="90">
                  <c:v>1401/12/26</c:v>
                </c:pt>
                <c:pt idx="91">
                  <c:v>1401/12/29</c:v>
                </c:pt>
                <c:pt idx="92">
                  <c:v>1402/01/04</c:v>
                </c:pt>
                <c:pt idx="93">
                  <c:v>1402/01/11</c:v>
                </c:pt>
                <c:pt idx="94">
                  <c:v>1402/01/18</c:v>
                </c:pt>
                <c:pt idx="95">
                  <c:v>1402/01/25</c:v>
                </c:pt>
                <c:pt idx="96">
                  <c:v>1402/02/01</c:v>
                </c:pt>
                <c:pt idx="97">
                  <c:v>1402/02/08</c:v>
                </c:pt>
                <c:pt idx="98">
                  <c:v>1402/02/15</c:v>
                </c:pt>
                <c:pt idx="99">
                  <c:v>1402/02/22</c:v>
                </c:pt>
                <c:pt idx="100">
                  <c:v>1402/02/29</c:v>
                </c:pt>
                <c:pt idx="101">
                  <c:v>1402/03/05</c:v>
                </c:pt>
                <c:pt idx="102">
                  <c:v>1402/03/12</c:v>
                </c:pt>
                <c:pt idx="103">
                  <c:v>1402/03/19</c:v>
                </c:pt>
                <c:pt idx="104">
                  <c:v>1402/03/26</c:v>
                </c:pt>
                <c:pt idx="105">
                  <c:v>1402/04/02</c:v>
                </c:pt>
                <c:pt idx="106">
                  <c:v>1402/04/09</c:v>
                </c:pt>
                <c:pt idx="107">
                  <c:v>1402/04/16</c:v>
                </c:pt>
                <c:pt idx="108">
                  <c:v>1402/04/23</c:v>
                </c:pt>
                <c:pt idx="109">
                  <c:v>1402/04/30</c:v>
                </c:pt>
                <c:pt idx="110">
                  <c:v>1402/05/06</c:v>
                </c:pt>
                <c:pt idx="111">
                  <c:v>1402/05/13</c:v>
                </c:pt>
                <c:pt idx="112">
                  <c:v>1402/05/20</c:v>
                </c:pt>
                <c:pt idx="113">
                  <c:v>1402/05/27</c:v>
                </c:pt>
                <c:pt idx="114">
                  <c:v>1402/06/03</c:v>
                </c:pt>
                <c:pt idx="115">
                  <c:v>1402/06/10</c:v>
                </c:pt>
                <c:pt idx="116">
                  <c:v>1402/06/17</c:v>
                </c:pt>
                <c:pt idx="117">
                  <c:v>1402/06/24</c:v>
                </c:pt>
                <c:pt idx="118">
                  <c:v>1402/06/31</c:v>
                </c:pt>
                <c:pt idx="119">
                  <c:v>1402/07/07</c:v>
                </c:pt>
                <c:pt idx="120">
                  <c:v>1402/07/14</c:v>
                </c:pt>
                <c:pt idx="121">
                  <c:v>1402/07/21</c:v>
                </c:pt>
                <c:pt idx="122">
                  <c:v>1402/07/28</c:v>
                </c:pt>
                <c:pt idx="123">
                  <c:v>1402/08/05</c:v>
                </c:pt>
                <c:pt idx="124">
                  <c:v>1402/08/12</c:v>
                </c:pt>
                <c:pt idx="125">
                  <c:v>1402/08/19</c:v>
                </c:pt>
                <c:pt idx="126">
                  <c:v>1402/08/26</c:v>
                </c:pt>
                <c:pt idx="127">
                  <c:v>1402/09/03</c:v>
                </c:pt>
                <c:pt idx="128">
                  <c:v>1402/09/10</c:v>
                </c:pt>
                <c:pt idx="129">
                  <c:v>1402/09/17</c:v>
                </c:pt>
                <c:pt idx="130">
                  <c:v>1402/09/24</c:v>
                </c:pt>
                <c:pt idx="131">
                  <c:v>1402/10/01</c:v>
                </c:pt>
                <c:pt idx="132">
                  <c:v>1402/10/08</c:v>
                </c:pt>
                <c:pt idx="133">
                  <c:v>1402/10/15</c:v>
                </c:pt>
                <c:pt idx="134">
                  <c:v>1402/10/22</c:v>
                </c:pt>
                <c:pt idx="135">
                  <c:v>1402/10/29</c:v>
                </c:pt>
                <c:pt idx="136">
                  <c:v>1402/11/06</c:v>
                </c:pt>
                <c:pt idx="137">
                  <c:v>1402/11/13</c:v>
                </c:pt>
                <c:pt idx="138">
                  <c:v>1402/11/20</c:v>
                </c:pt>
                <c:pt idx="139">
                  <c:v>1402/11/27</c:v>
                </c:pt>
                <c:pt idx="140">
                  <c:v>1402/12/04</c:v>
                </c:pt>
                <c:pt idx="141">
                  <c:v>1402/12/11</c:v>
                </c:pt>
                <c:pt idx="142">
                  <c:v>1402/12/18</c:v>
                </c:pt>
                <c:pt idx="143">
                  <c:v>1402/12/25</c:v>
                </c:pt>
                <c:pt idx="144">
                  <c:v>1402/12/29</c:v>
                </c:pt>
                <c:pt idx="145">
                  <c:v>1403/01/03</c:v>
                </c:pt>
                <c:pt idx="146">
                  <c:v>1403/01/10</c:v>
                </c:pt>
                <c:pt idx="147">
                  <c:v>1403/01/17</c:v>
                </c:pt>
                <c:pt idx="148">
                  <c:v>1403/01/24</c:v>
                </c:pt>
                <c:pt idx="149">
                  <c:v>1403/01/31</c:v>
                </c:pt>
                <c:pt idx="150">
                  <c:v>1403/02/07</c:v>
                </c:pt>
                <c:pt idx="151">
                  <c:v>1403/02/14</c:v>
                </c:pt>
                <c:pt idx="152">
                  <c:v>1403/02/21</c:v>
                </c:pt>
                <c:pt idx="153">
                  <c:v>1403/02/28</c:v>
                </c:pt>
                <c:pt idx="154">
                  <c:v>1403/03/04</c:v>
                </c:pt>
                <c:pt idx="155">
                  <c:v>1403/03/11</c:v>
                </c:pt>
                <c:pt idx="156">
                  <c:v>1403/03/18</c:v>
                </c:pt>
                <c:pt idx="157">
                  <c:v>1403/03/25</c:v>
                </c:pt>
                <c:pt idx="158">
                  <c:v>1403/04/01</c:v>
                </c:pt>
                <c:pt idx="159">
                  <c:v>1403/04/08</c:v>
                </c:pt>
                <c:pt idx="160">
                  <c:v>1403/04/15</c:v>
                </c:pt>
                <c:pt idx="161">
                  <c:v>1403/04/22</c:v>
                </c:pt>
                <c:pt idx="162">
                  <c:v> 1403/04/29</c:v>
                </c:pt>
                <c:pt idx="163">
                  <c:v>1403/05/05</c:v>
                </c:pt>
                <c:pt idx="164">
                  <c:v>1403/05/12</c:v>
                </c:pt>
                <c:pt idx="165">
                  <c:v>1403/05/19</c:v>
                </c:pt>
                <c:pt idx="166">
                  <c:v>1403/05/26</c:v>
                </c:pt>
                <c:pt idx="167">
                  <c:v>1403/06/02</c:v>
                </c:pt>
                <c:pt idx="168">
                  <c:v>1403/06/09</c:v>
                </c:pt>
                <c:pt idx="169">
                  <c:v>1403/06/16</c:v>
                </c:pt>
                <c:pt idx="170">
                  <c:v>1403/06/23</c:v>
                </c:pt>
                <c:pt idx="171">
                  <c:v>1403/06/30</c:v>
                </c:pt>
                <c:pt idx="172">
                  <c:v>1403/07/06</c:v>
                </c:pt>
                <c:pt idx="173">
                  <c:v>1403/07/13</c:v>
                </c:pt>
                <c:pt idx="174">
                  <c:v>1403/07/20</c:v>
                </c:pt>
                <c:pt idx="175">
                  <c:v>1403/07/27</c:v>
                </c:pt>
                <c:pt idx="176">
                  <c:v>1403/08/04</c:v>
                </c:pt>
                <c:pt idx="177">
                  <c:v> 1403/08/11</c:v>
                </c:pt>
                <c:pt idx="178">
                  <c:v> 1403/08/18</c:v>
                </c:pt>
                <c:pt idx="179">
                  <c:v> 1403/08/25</c:v>
                </c:pt>
                <c:pt idx="180">
                  <c:v> 1403/09/02</c:v>
                </c:pt>
                <c:pt idx="181">
                  <c:v> 1403/09/09</c:v>
                </c:pt>
                <c:pt idx="182">
                  <c:v> 1403/09/16</c:v>
                </c:pt>
                <c:pt idx="183">
                  <c:v> 1403/09/23</c:v>
                </c:pt>
                <c:pt idx="184">
                  <c:v> 1403/09/30</c:v>
                </c:pt>
                <c:pt idx="185">
                  <c:v>1403/10/07</c:v>
                </c:pt>
                <c:pt idx="186">
                  <c:v>1403/10/14</c:v>
                </c:pt>
                <c:pt idx="187">
                  <c:v>1403/10/21</c:v>
                </c:pt>
                <c:pt idx="188">
                  <c:v>1403/10/28</c:v>
                </c:pt>
                <c:pt idx="189">
                  <c:v>1403/11/05</c:v>
                </c:pt>
                <c:pt idx="190">
                  <c:v>1403/11/12</c:v>
                </c:pt>
                <c:pt idx="191">
                  <c:v>1403/11/19</c:v>
                </c:pt>
                <c:pt idx="192">
                  <c:v>1403/11/24</c:v>
                </c:pt>
                <c:pt idx="193">
                  <c:v>1403/12/03</c:v>
                </c:pt>
                <c:pt idx="194">
                  <c:v>1403/12/10</c:v>
                </c:pt>
                <c:pt idx="195">
                  <c:v>1403/12/17</c:v>
                </c:pt>
                <c:pt idx="196">
                  <c:v>1403/12/24</c:v>
                </c:pt>
              </c:strCache>
            </c:strRef>
          </c:cat>
          <c:val>
            <c:numRef>
              <c:f>'نرخ معامله - آخرین قیمت'!$B$3:$B$203</c:f>
              <c:numCache>
                <c:formatCode>_(* #,##0_);_(* \(#,##0\);_(* "-"??_);_(@_)</c:formatCode>
                <c:ptCount val="201"/>
                <c:pt idx="0">
                  <c:v>9432</c:v>
                </c:pt>
                <c:pt idx="1">
                  <c:v>9296</c:v>
                </c:pt>
                <c:pt idx="2">
                  <c:v>9438</c:v>
                </c:pt>
                <c:pt idx="3">
                  <c:v>9396</c:v>
                </c:pt>
                <c:pt idx="4">
                  <c:v>9434</c:v>
                </c:pt>
                <c:pt idx="5">
                  <c:v>9748</c:v>
                </c:pt>
                <c:pt idx="6">
                  <c:v>9530</c:v>
                </c:pt>
                <c:pt idx="7">
                  <c:v>9430</c:v>
                </c:pt>
                <c:pt idx="8">
                  <c:v>8922</c:v>
                </c:pt>
                <c:pt idx="9">
                  <c:v>9352</c:v>
                </c:pt>
                <c:pt idx="10">
                  <c:v>9361</c:v>
                </c:pt>
                <c:pt idx="11">
                  <c:v>9515</c:v>
                </c:pt>
                <c:pt idx="12">
                  <c:v>9436</c:v>
                </c:pt>
                <c:pt idx="13">
                  <c:v>9275</c:v>
                </c:pt>
                <c:pt idx="14">
                  <c:v>9113</c:v>
                </c:pt>
                <c:pt idx="15">
                  <c:v>9246</c:v>
                </c:pt>
                <c:pt idx="16">
                  <c:v>10555</c:v>
                </c:pt>
                <c:pt idx="17">
                  <c:v>9992</c:v>
                </c:pt>
                <c:pt idx="18">
                  <c:v>9955</c:v>
                </c:pt>
                <c:pt idx="19">
                  <c:v>9740</c:v>
                </c:pt>
                <c:pt idx="20">
                  <c:v>9854</c:v>
                </c:pt>
                <c:pt idx="21">
                  <c:v>9620</c:v>
                </c:pt>
                <c:pt idx="22">
                  <c:v>9630</c:v>
                </c:pt>
                <c:pt idx="23">
                  <c:v>9513</c:v>
                </c:pt>
                <c:pt idx="24">
                  <c:v>9543</c:v>
                </c:pt>
                <c:pt idx="25">
                  <c:v>9520</c:v>
                </c:pt>
                <c:pt idx="26">
                  <c:v>9582</c:v>
                </c:pt>
                <c:pt idx="27">
                  <c:v>9692</c:v>
                </c:pt>
                <c:pt idx="28">
                  <c:v>9615</c:v>
                </c:pt>
                <c:pt idx="29">
                  <c:v>9900</c:v>
                </c:pt>
                <c:pt idx="30">
                  <c:v>9970</c:v>
                </c:pt>
                <c:pt idx="31">
                  <c:v>9678</c:v>
                </c:pt>
                <c:pt idx="32">
                  <c:v>9875</c:v>
                </c:pt>
                <c:pt idx="33">
                  <c:v>10040</c:v>
                </c:pt>
                <c:pt idx="34">
                  <c:v>10015</c:v>
                </c:pt>
                <c:pt idx="35">
                  <c:v>9920</c:v>
                </c:pt>
                <c:pt idx="36">
                  <c:v>10466</c:v>
                </c:pt>
                <c:pt idx="37">
                  <c:v>10145</c:v>
                </c:pt>
                <c:pt idx="38">
                  <c:v>10249</c:v>
                </c:pt>
                <c:pt idx="39">
                  <c:v>10280</c:v>
                </c:pt>
                <c:pt idx="40">
                  <c:v>10247</c:v>
                </c:pt>
                <c:pt idx="41">
                  <c:v>10390</c:v>
                </c:pt>
                <c:pt idx="42">
                  <c:v>10277</c:v>
                </c:pt>
                <c:pt idx="43">
                  <c:v>10230</c:v>
                </c:pt>
                <c:pt idx="44">
                  <c:v>9820</c:v>
                </c:pt>
                <c:pt idx="45">
                  <c:v>9428</c:v>
                </c:pt>
                <c:pt idx="46">
                  <c:v>9064</c:v>
                </c:pt>
                <c:pt idx="47">
                  <c:v>9477</c:v>
                </c:pt>
                <c:pt idx="48">
                  <c:v>9383</c:v>
                </c:pt>
                <c:pt idx="49">
                  <c:v>9455</c:v>
                </c:pt>
                <c:pt idx="50">
                  <c:v>9537</c:v>
                </c:pt>
                <c:pt idx="51">
                  <c:v>9101</c:v>
                </c:pt>
                <c:pt idx="52">
                  <c:v>8280</c:v>
                </c:pt>
                <c:pt idx="53">
                  <c:v>7976</c:v>
                </c:pt>
                <c:pt idx="54">
                  <c:v>7790</c:v>
                </c:pt>
                <c:pt idx="55">
                  <c:v>7000</c:v>
                </c:pt>
                <c:pt idx="56">
                  <c:v>7372</c:v>
                </c:pt>
                <c:pt idx="57">
                  <c:v>7800</c:v>
                </c:pt>
                <c:pt idx="58">
                  <c:v>7830</c:v>
                </c:pt>
                <c:pt idx="59">
                  <c:v>8065</c:v>
                </c:pt>
                <c:pt idx="60">
                  <c:v>8051</c:v>
                </c:pt>
                <c:pt idx="61">
                  <c:v>8315</c:v>
                </c:pt>
                <c:pt idx="62">
                  <c:v>7587</c:v>
                </c:pt>
                <c:pt idx="63">
                  <c:v>7985</c:v>
                </c:pt>
                <c:pt idx="64">
                  <c:v>7792</c:v>
                </c:pt>
                <c:pt idx="65">
                  <c:v>7446</c:v>
                </c:pt>
                <c:pt idx="66">
                  <c:v>7647</c:v>
                </c:pt>
                <c:pt idx="67">
                  <c:v>7576</c:v>
                </c:pt>
                <c:pt idx="68">
                  <c:v>7688</c:v>
                </c:pt>
                <c:pt idx="69">
                  <c:v>7545</c:v>
                </c:pt>
                <c:pt idx="70">
                  <c:v>7664</c:v>
                </c:pt>
                <c:pt idx="71">
                  <c:v>7905</c:v>
                </c:pt>
                <c:pt idx="72">
                  <c:v>8441</c:v>
                </c:pt>
                <c:pt idx="73">
                  <c:v>8047</c:v>
                </c:pt>
                <c:pt idx="74">
                  <c:v>8070</c:v>
                </c:pt>
                <c:pt idx="75">
                  <c:v>8342</c:v>
                </c:pt>
                <c:pt idx="76">
                  <c:v>8490</c:v>
                </c:pt>
                <c:pt idx="77">
                  <c:v>8232</c:v>
                </c:pt>
                <c:pt idx="78">
                  <c:v>8308</c:v>
                </c:pt>
                <c:pt idx="79">
                  <c:v>8387</c:v>
                </c:pt>
                <c:pt idx="80">
                  <c:v>8362</c:v>
                </c:pt>
                <c:pt idx="81">
                  <c:v>9107</c:v>
                </c:pt>
                <c:pt idx="82">
                  <c:v>9232</c:v>
                </c:pt>
                <c:pt idx="83">
                  <c:v>9346</c:v>
                </c:pt>
                <c:pt idx="84">
                  <c:v>9060</c:v>
                </c:pt>
                <c:pt idx="85">
                  <c:v>8905</c:v>
                </c:pt>
                <c:pt idx="86">
                  <c:v>8871</c:v>
                </c:pt>
                <c:pt idx="87">
                  <c:v>8807</c:v>
                </c:pt>
                <c:pt idx="88">
                  <c:v>8945</c:v>
                </c:pt>
                <c:pt idx="89">
                  <c:v>8755</c:v>
                </c:pt>
                <c:pt idx="90">
                  <c:v>8621</c:v>
                </c:pt>
                <c:pt idx="91">
                  <c:v>8677</c:v>
                </c:pt>
                <c:pt idx="92">
                  <c:v>8927</c:v>
                </c:pt>
                <c:pt idx="93">
                  <c:v>8935</c:v>
                </c:pt>
                <c:pt idx="94">
                  <c:v>8836</c:v>
                </c:pt>
                <c:pt idx="95">
                  <c:v>9082</c:v>
                </c:pt>
                <c:pt idx="96">
                  <c:v>8816</c:v>
                </c:pt>
                <c:pt idx="97">
                  <c:v>8571</c:v>
                </c:pt>
                <c:pt idx="98">
                  <c:v>8488</c:v>
                </c:pt>
                <c:pt idx="99">
                  <c:v>8240</c:v>
                </c:pt>
                <c:pt idx="100">
                  <c:v>8222</c:v>
                </c:pt>
                <c:pt idx="101">
                  <c:v>8082</c:v>
                </c:pt>
                <c:pt idx="102">
                  <c:v>8337</c:v>
                </c:pt>
                <c:pt idx="103">
                  <c:v>8368</c:v>
                </c:pt>
                <c:pt idx="104">
                  <c:v>8561</c:v>
                </c:pt>
                <c:pt idx="105">
                  <c:v>8490</c:v>
                </c:pt>
                <c:pt idx="106">
                  <c:v>8210</c:v>
                </c:pt>
                <c:pt idx="107">
                  <c:v>8299</c:v>
                </c:pt>
                <c:pt idx="108">
                  <c:v>8651</c:v>
                </c:pt>
                <c:pt idx="109">
                  <c:v>8422</c:v>
                </c:pt>
                <c:pt idx="110">
                  <c:v>8592</c:v>
                </c:pt>
                <c:pt idx="111">
                  <c:v>8450</c:v>
                </c:pt>
                <c:pt idx="112">
                  <c:v>8242</c:v>
                </c:pt>
                <c:pt idx="113">
                  <c:v>8176</c:v>
                </c:pt>
                <c:pt idx="114">
                  <c:v>8382</c:v>
                </c:pt>
                <c:pt idx="115">
                  <c:v>8515</c:v>
                </c:pt>
                <c:pt idx="116">
                  <c:v>8225</c:v>
                </c:pt>
                <c:pt idx="117">
                  <c:v>8376</c:v>
                </c:pt>
                <c:pt idx="118">
                  <c:v>8188</c:v>
                </c:pt>
                <c:pt idx="119">
                  <c:v>8230</c:v>
                </c:pt>
                <c:pt idx="120">
                  <c:v>7887</c:v>
                </c:pt>
                <c:pt idx="121">
                  <c:v>7891</c:v>
                </c:pt>
                <c:pt idx="122">
                  <c:v>7876</c:v>
                </c:pt>
                <c:pt idx="123">
                  <c:v>7964</c:v>
                </c:pt>
                <c:pt idx="124">
                  <c:v>8070</c:v>
                </c:pt>
                <c:pt idx="125">
                  <c:v>8006</c:v>
                </c:pt>
                <c:pt idx="126">
                  <c:v>8141</c:v>
                </c:pt>
                <c:pt idx="127">
                  <c:v>8300</c:v>
                </c:pt>
                <c:pt idx="128">
                  <c:v>8456</c:v>
                </c:pt>
                <c:pt idx="129">
                  <c:v>8348</c:v>
                </c:pt>
                <c:pt idx="130">
                  <c:v>8471</c:v>
                </c:pt>
                <c:pt idx="131">
                  <c:v>8499</c:v>
                </c:pt>
                <c:pt idx="132">
                  <c:v>8476</c:v>
                </c:pt>
                <c:pt idx="133">
                  <c:v>8346</c:v>
                </c:pt>
                <c:pt idx="134">
                  <c:v>8289</c:v>
                </c:pt>
                <c:pt idx="135">
                  <c:v>8275</c:v>
                </c:pt>
                <c:pt idx="136">
                  <c:v>8447</c:v>
                </c:pt>
                <c:pt idx="137">
                  <c:v>8400</c:v>
                </c:pt>
                <c:pt idx="138">
                  <c:v>8092</c:v>
                </c:pt>
                <c:pt idx="139">
                  <c:v>8322</c:v>
                </c:pt>
                <c:pt idx="140">
                  <c:v>8442</c:v>
                </c:pt>
                <c:pt idx="141">
                  <c:v>8394</c:v>
                </c:pt>
                <c:pt idx="142">
                  <c:v>8552</c:v>
                </c:pt>
                <c:pt idx="143">
                  <c:v>8906</c:v>
                </c:pt>
                <c:pt idx="144">
                  <c:v>8875</c:v>
                </c:pt>
                <c:pt idx="145">
                  <c:v>8741</c:v>
                </c:pt>
                <c:pt idx="146">
                  <c:v>8729</c:v>
                </c:pt>
                <c:pt idx="147">
                  <c:v>9198</c:v>
                </c:pt>
                <c:pt idx="148">
                  <c:v>9402</c:v>
                </c:pt>
                <c:pt idx="149">
                  <c:v>9749</c:v>
                </c:pt>
                <c:pt idx="150">
                  <c:v>9869</c:v>
                </c:pt>
                <c:pt idx="151">
                  <c:v>9737</c:v>
                </c:pt>
                <c:pt idx="152">
                  <c:v>9942</c:v>
                </c:pt>
                <c:pt idx="153">
                  <c:v>10398</c:v>
                </c:pt>
                <c:pt idx="154">
                  <c:v>10256</c:v>
                </c:pt>
                <c:pt idx="155">
                  <c:v>9985</c:v>
                </c:pt>
                <c:pt idx="156">
                  <c:v>9840</c:v>
                </c:pt>
                <c:pt idx="157">
                  <c:v>9650</c:v>
                </c:pt>
                <c:pt idx="158">
                  <c:v>9563</c:v>
                </c:pt>
                <c:pt idx="159">
                  <c:v>9476</c:v>
                </c:pt>
                <c:pt idx="160">
                  <c:v>9809</c:v>
                </c:pt>
                <c:pt idx="161">
                  <c:v>9673</c:v>
                </c:pt>
                <c:pt idx="162">
                  <c:v>9214</c:v>
                </c:pt>
                <c:pt idx="163">
                  <c:v>9018</c:v>
                </c:pt>
                <c:pt idx="164">
                  <c:v>8977</c:v>
                </c:pt>
                <c:pt idx="165">
                  <c:v>8805</c:v>
                </c:pt>
                <c:pt idx="166">
                  <c:v>8938</c:v>
                </c:pt>
                <c:pt idx="167">
                  <c:v>9072</c:v>
                </c:pt>
                <c:pt idx="168">
                  <c:v>9215</c:v>
                </c:pt>
                <c:pt idx="169">
                  <c:v>9013</c:v>
                </c:pt>
                <c:pt idx="170">
                  <c:v>9080</c:v>
                </c:pt>
                <c:pt idx="171">
                  <c:v>9395</c:v>
                </c:pt>
                <c:pt idx="172">
                  <c:v>9860</c:v>
                </c:pt>
                <c:pt idx="173">
                  <c:v>9792</c:v>
                </c:pt>
                <c:pt idx="174">
                  <c:v>9618</c:v>
                </c:pt>
                <c:pt idx="175">
                  <c:v>9452</c:v>
                </c:pt>
                <c:pt idx="176">
                  <c:v>9449</c:v>
                </c:pt>
                <c:pt idx="177">
                  <c:v>9408</c:v>
                </c:pt>
                <c:pt idx="178">
                  <c:v>9410</c:v>
                </c:pt>
                <c:pt idx="179">
                  <c:v>9010</c:v>
                </c:pt>
                <c:pt idx="180">
                  <c:v>8915</c:v>
                </c:pt>
                <c:pt idx="181">
                  <c:v>8894</c:v>
                </c:pt>
                <c:pt idx="182">
                  <c:v>8954</c:v>
                </c:pt>
                <c:pt idx="183">
                  <c:v>9055</c:v>
                </c:pt>
                <c:pt idx="184">
                  <c:v>8856</c:v>
                </c:pt>
                <c:pt idx="185">
                  <c:v>8843</c:v>
                </c:pt>
                <c:pt idx="186">
                  <c:v>8731</c:v>
                </c:pt>
                <c:pt idx="187">
                  <c:v>8917</c:v>
                </c:pt>
                <c:pt idx="188">
                  <c:v>9057</c:v>
                </c:pt>
                <c:pt idx="189">
                  <c:v>9102</c:v>
                </c:pt>
                <c:pt idx="190">
                  <c:v>8949</c:v>
                </c:pt>
                <c:pt idx="191">
                  <c:v>9288</c:v>
                </c:pt>
                <c:pt idx="192">
                  <c:v>9812</c:v>
                </c:pt>
                <c:pt idx="193">
                  <c:v>9494</c:v>
                </c:pt>
                <c:pt idx="194">
                  <c:v>9447</c:v>
                </c:pt>
                <c:pt idx="195">
                  <c:v>9523</c:v>
                </c:pt>
                <c:pt idx="196">
                  <c:v>968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79B4-4BE4-AFF1-FFCA96E6D6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1967935"/>
        <c:axId val="1681974175"/>
      </c:lineChart>
      <c:catAx>
        <c:axId val="16819812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462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681969183"/>
        <c:crosses val="autoZero"/>
        <c:auto val="1"/>
        <c:lblAlgn val="ctr"/>
        <c:lblOffset val="100"/>
        <c:noMultiLvlLbl val="0"/>
      </c:catAx>
      <c:valAx>
        <c:axId val="1681969183"/>
        <c:scaling>
          <c:orientation val="minMax"/>
          <c:max val="450000"/>
          <c:min val="6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681981247"/>
        <c:crosses val="autoZero"/>
        <c:crossBetween val="between"/>
      </c:valAx>
      <c:valAx>
        <c:axId val="1681974175"/>
        <c:scaling>
          <c:orientation val="minMax"/>
          <c:max val="11000"/>
          <c:min val="2000"/>
        </c:scaling>
        <c:delete val="0"/>
        <c:axPos val="r"/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681967935"/>
        <c:crosses val="max"/>
        <c:crossBetween val="between"/>
      </c:valAx>
      <c:catAx>
        <c:axId val="168196793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8197417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849255213719963E-2"/>
          <c:y val="2.1353866062582015E-2"/>
          <c:w val="0.90827329841688342"/>
          <c:h val="0.86838455952056592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Overall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  <a:effectLst/>
          </c:spPr>
          <c:invertIfNegative val="0"/>
          <c:cat>
            <c:multiLvlStrRef>
              <c:f>Overall!#REF!</c:f>
            </c:multiLvlStrRef>
          </c:cat>
          <c:val>
            <c:numRef>
              <c:f>Overall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C3-4CEC-8094-F92062D1D2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59027759"/>
        <c:axId val="659036911"/>
      </c:barChart>
      <c:lineChart>
        <c:grouping val="standard"/>
        <c:varyColors val="0"/>
        <c:ser>
          <c:idx val="0"/>
          <c:order val="0"/>
          <c:tx>
            <c:strRef>
              <c:f>Overall!$B$1</c:f>
              <c:strCache>
                <c:ptCount val="1"/>
                <c:pt idx="0">
                  <c:v> قیمت تعدیلی </c:v>
                </c:pt>
              </c:strCache>
            </c:strRef>
          </c:tx>
          <c:spPr>
            <a:ln w="28575" cap="rnd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364"/>
            <c:marker>
              <c:symbol val="none"/>
            </c:marker>
            <c:bubble3D val="0"/>
            <c:spPr>
              <a:ln w="28575" cap="rnd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/>
              </a:ln>
              <a:effectLst/>
            </c:spPr>
            <c:extLst>
              <c:ext xmlns:c16="http://schemas.microsoft.com/office/drawing/2014/chart" uri="{C3380CC4-5D6E-409C-BE32-E72D297353CC}">
                <c16:uniqueId val="{00000002-83C3-4CEC-8094-F92062D1D2D2}"/>
              </c:ext>
            </c:extLst>
          </c:dPt>
          <c:dLbls>
            <c:dLbl>
              <c:idx val="532"/>
              <c:layout>
                <c:manualLayout>
                  <c:x val="-3.257348150630112E-2"/>
                  <c:y val="-3.06474696745959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3C3-4CEC-8094-F92062D1D2D2}"/>
                </c:ext>
              </c:extLst>
            </c:dLbl>
            <c:dLbl>
              <c:idx val="1047"/>
              <c:layout>
                <c:manualLayout>
                  <c:x val="-2.8318162357364902E-2"/>
                  <c:y val="3.48939206423055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3C3-4CEC-8094-F92062D1D2D2}"/>
                </c:ext>
              </c:extLst>
            </c:dLbl>
            <c:dLbl>
              <c:idx val="1161"/>
              <c:layout>
                <c:manualLayout>
                  <c:x val="-3.1604240959241893E-2"/>
                  <c:y val="-2.85243277790046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3C3-4CEC-8094-F92062D1D2D2}"/>
                </c:ext>
              </c:extLst>
            </c:dLbl>
            <c:dLbl>
              <c:idx val="138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3C3-4CEC-8094-F92062D1D2D2}"/>
                </c:ext>
              </c:extLst>
            </c:dLbl>
            <c:dLbl>
              <c:idx val="158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3C3-4CEC-8094-F92062D1D2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verall!$A$2:$A$1596</c:f>
              <c:strCache>
                <c:ptCount val="1592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6</c:v>
                </c:pt>
                <c:pt idx="12">
                  <c:v>1397-01-27</c:v>
                </c:pt>
                <c:pt idx="13">
                  <c:v>1397-01-28</c:v>
                </c:pt>
                <c:pt idx="14">
                  <c:v>1397-01-29</c:v>
                </c:pt>
                <c:pt idx="15">
                  <c:v>1397-02-01</c:v>
                </c:pt>
                <c:pt idx="16">
                  <c:v>1397-02-02</c:v>
                </c:pt>
                <c:pt idx="17">
                  <c:v>1397-02-03</c:v>
                </c:pt>
                <c:pt idx="18">
                  <c:v>1397-02-04</c:v>
                </c:pt>
                <c:pt idx="19">
                  <c:v>1397-02-05</c:v>
                </c:pt>
                <c:pt idx="20">
                  <c:v>1397-02-08</c:v>
                </c:pt>
                <c:pt idx="21">
                  <c:v>1397-02-09</c:v>
                </c:pt>
                <c:pt idx="22">
                  <c:v>1397-02-10</c:v>
                </c:pt>
                <c:pt idx="23">
                  <c:v>1397-02-11</c:v>
                </c:pt>
                <c:pt idx="24">
                  <c:v>1397-02-15</c:v>
                </c:pt>
                <c:pt idx="25">
                  <c:v>1397-02-16</c:v>
                </c:pt>
                <c:pt idx="26">
                  <c:v>1397-02-17</c:v>
                </c:pt>
                <c:pt idx="27">
                  <c:v>1397-02-18</c:v>
                </c:pt>
                <c:pt idx="28">
                  <c:v>1397-02-19</c:v>
                </c:pt>
                <c:pt idx="29">
                  <c:v>1397-02-22</c:v>
                </c:pt>
                <c:pt idx="30">
                  <c:v>1397-02-23</c:v>
                </c:pt>
                <c:pt idx="31">
                  <c:v>1397-02-24</c:v>
                </c:pt>
                <c:pt idx="32">
                  <c:v>1397-02-25</c:v>
                </c:pt>
                <c:pt idx="33">
                  <c:v>1397-02-26</c:v>
                </c:pt>
                <c:pt idx="34">
                  <c:v>1397-02-29</c:v>
                </c:pt>
                <c:pt idx="35">
                  <c:v>1397-02-30</c:v>
                </c:pt>
                <c:pt idx="36">
                  <c:v>1397-02-31</c:v>
                </c:pt>
                <c:pt idx="37">
                  <c:v>1397-03-01</c:v>
                </c:pt>
                <c:pt idx="38">
                  <c:v>1397-03-02</c:v>
                </c:pt>
                <c:pt idx="39">
                  <c:v>1397-03-05</c:v>
                </c:pt>
                <c:pt idx="40">
                  <c:v>1397-03-06</c:v>
                </c:pt>
                <c:pt idx="41">
                  <c:v>1397-03-07</c:v>
                </c:pt>
                <c:pt idx="42">
                  <c:v>1397-03-08</c:v>
                </c:pt>
                <c:pt idx="43">
                  <c:v>1397-03-09</c:v>
                </c:pt>
                <c:pt idx="44">
                  <c:v>1397-03-12</c:v>
                </c:pt>
                <c:pt idx="45">
                  <c:v>1397-03-13</c:v>
                </c:pt>
                <c:pt idx="46">
                  <c:v>1397-03-19</c:v>
                </c:pt>
                <c:pt idx="47">
                  <c:v>1397-03-20</c:v>
                </c:pt>
                <c:pt idx="48">
                  <c:v>1397-03-21</c:v>
                </c:pt>
                <c:pt idx="49">
                  <c:v>1397-03-22</c:v>
                </c:pt>
                <c:pt idx="50">
                  <c:v>1397-03-23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20</c:v>
                </c:pt>
                <c:pt idx="64">
                  <c:v>1397-04-23</c:v>
                </c:pt>
                <c:pt idx="65">
                  <c:v>1397-04-24</c:v>
                </c:pt>
                <c:pt idx="66">
                  <c:v>1397-04-25</c:v>
                </c:pt>
                <c:pt idx="67">
                  <c:v>1397-04-26</c:v>
                </c:pt>
                <c:pt idx="68">
                  <c:v>1397-04-27</c:v>
                </c:pt>
                <c:pt idx="69">
                  <c:v>1397-04-30</c:v>
                </c:pt>
                <c:pt idx="70">
                  <c:v>1397-04-31</c:v>
                </c:pt>
                <c:pt idx="71">
                  <c:v>1397-05-01</c:v>
                </c:pt>
                <c:pt idx="72">
                  <c:v>1397-05-02</c:v>
                </c:pt>
                <c:pt idx="73">
                  <c:v>1397-05-03</c:v>
                </c:pt>
                <c:pt idx="74">
                  <c:v>1397-05-06</c:v>
                </c:pt>
                <c:pt idx="75">
                  <c:v>1397-05-07</c:v>
                </c:pt>
                <c:pt idx="76">
                  <c:v>1397-05-08</c:v>
                </c:pt>
                <c:pt idx="77">
                  <c:v>1397-05-09</c:v>
                </c:pt>
                <c:pt idx="78">
                  <c:v>1397-05-10</c:v>
                </c:pt>
                <c:pt idx="79">
                  <c:v>1397-05-13</c:v>
                </c:pt>
                <c:pt idx="80">
                  <c:v>1397-05-14</c:v>
                </c:pt>
                <c:pt idx="81">
                  <c:v>1397-05-15</c:v>
                </c:pt>
                <c:pt idx="82">
                  <c:v>1397-05-16</c:v>
                </c:pt>
                <c:pt idx="83">
                  <c:v>1397-05-21</c:v>
                </c:pt>
                <c:pt idx="84">
                  <c:v>1397-05-22</c:v>
                </c:pt>
                <c:pt idx="85">
                  <c:v>1397-05-23</c:v>
                </c:pt>
                <c:pt idx="86">
                  <c:v>1397-05-24</c:v>
                </c:pt>
                <c:pt idx="87">
                  <c:v>1397-05-27</c:v>
                </c:pt>
                <c:pt idx="88">
                  <c:v>1397-05-28</c:v>
                </c:pt>
                <c:pt idx="89">
                  <c:v>1397-05-29</c:v>
                </c:pt>
                <c:pt idx="90">
                  <c:v>1397-05-30</c:v>
                </c:pt>
                <c:pt idx="91">
                  <c:v>1397-06-03</c:v>
                </c:pt>
                <c:pt idx="92">
                  <c:v>1397-06-04</c:v>
                </c:pt>
                <c:pt idx="93">
                  <c:v>1397-06-05</c:v>
                </c:pt>
                <c:pt idx="94">
                  <c:v>1397-06-06</c:v>
                </c:pt>
                <c:pt idx="95">
                  <c:v>1397-06-07</c:v>
                </c:pt>
                <c:pt idx="96">
                  <c:v>1397-06-10</c:v>
                </c:pt>
                <c:pt idx="97">
                  <c:v>1397-06-11</c:v>
                </c:pt>
                <c:pt idx="98">
                  <c:v>1397-06-12</c:v>
                </c:pt>
                <c:pt idx="99">
                  <c:v>1397-06-13</c:v>
                </c:pt>
                <c:pt idx="100">
                  <c:v>1397-06-14</c:v>
                </c:pt>
                <c:pt idx="101">
                  <c:v>1397-06-17</c:v>
                </c:pt>
                <c:pt idx="102">
                  <c:v>1397-06-18</c:v>
                </c:pt>
                <c:pt idx="103">
                  <c:v>1397-06-19</c:v>
                </c:pt>
                <c:pt idx="104">
                  <c:v>1397-06-20</c:v>
                </c:pt>
                <c:pt idx="105">
                  <c:v>1397-06-21</c:v>
                </c:pt>
                <c:pt idx="106">
                  <c:v>1397-06-24</c:v>
                </c:pt>
                <c:pt idx="107">
                  <c:v>1397-06-25</c:v>
                </c:pt>
                <c:pt idx="108">
                  <c:v>1397-06-26</c:v>
                </c:pt>
                <c:pt idx="109">
                  <c:v>1397-06-27</c:v>
                </c:pt>
                <c:pt idx="110">
                  <c:v>1397-06-31</c:v>
                </c:pt>
                <c:pt idx="111">
                  <c:v>1397-07-01</c:v>
                </c:pt>
                <c:pt idx="112">
                  <c:v>1397-07-02</c:v>
                </c:pt>
                <c:pt idx="113">
                  <c:v>1397-07-03</c:v>
                </c:pt>
                <c:pt idx="114">
                  <c:v>1397-07-04</c:v>
                </c:pt>
                <c:pt idx="115">
                  <c:v>1397-07-07</c:v>
                </c:pt>
                <c:pt idx="116">
                  <c:v>1397-07-08</c:v>
                </c:pt>
                <c:pt idx="117">
                  <c:v>1397-07-09</c:v>
                </c:pt>
                <c:pt idx="118">
                  <c:v>1397-07-10</c:v>
                </c:pt>
                <c:pt idx="119">
                  <c:v>1397-07-11</c:v>
                </c:pt>
                <c:pt idx="120">
                  <c:v>1397-07-14</c:v>
                </c:pt>
                <c:pt idx="121">
                  <c:v>1397-07-15</c:v>
                </c:pt>
                <c:pt idx="122">
                  <c:v>1397-07-16</c:v>
                </c:pt>
                <c:pt idx="123">
                  <c:v>1397-07-17</c:v>
                </c:pt>
                <c:pt idx="124">
                  <c:v>1397-07-18</c:v>
                </c:pt>
                <c:pt idx="125">
                  <c:v>1397-07-21</c:v>
                </c:pt>
                <c:pt idx="126">
                  <c:v>1397-07-22</c:v>
                </c:pt>
                <c:pt idx="127">
                  <c:v>1397-07-23</c:v>
                </c:pt>
                <c:pt idx="128">
                  <c:v>1397-07-24</c:v>
                </c:pt>
                <c:pt idx="129">
                  <c:v>1397-07-25</c:v>
                </c:pt>
                <c:pt idx="130">
                  <c:v>1397-07-28</c:v>
                </c:pt>
                <c:pt idx="131">
                  <c:v>1397-07-29</c:v>
                </c:pt>
                <c:pt idx="132">
                  <c:v>1397-07-30</c:v>
                </c:pt>
                <c:pt idx="133">
                  <c:v>1397-08-01</c:v>
                </c:pt>
                <c:pt idx="134">
                  <c:v>1397-08-02</c:v>
                </c:pt>
                <c:pt idx="135">
                  <c:v>1397-08-05</c:v>
                </c:pt>
                <c:pt idx="136">
                  <c:v>1397-08-06</c:v>
                </c:pt>
                <c:pt idx="137">
                  <c:v>1397-08-07</c:v>
                </c:pt>
                <c:pt idx="138">
                  <c:v>1397-08-09</c:v>
                </c:pt>
                <c:pt idx="139">
                  <c:v>1397-08-12</c:v>
                </c:pt>
                <c:pt idx="140">
                  <c:v>1397-08-13</c:v>
                </c:pt>
                <c:pt idx="141">
                  <c:v>1397-08-14</c:v>
                </c:pt>
                <c:pt idx="142">
                  <c:v>1397-08-15</c:v>
                </c:pt>
                <c:pt idx="143">
                  <c:v>1397-08-19</c:v>
                </c:pt>
                <c:pt idx="144">
                  <c:v>1397-08-20</c:v>
                </c:pt>
                <c:pt idx="145">
                  <c:v>1397-08-21</c:v>
                </c:pt>
                <c:pt idx="146">
                  <c:v>1397-08-22</c:v>
                </c:pt>
                <c:pt idx="147">
                  <c:v>1397-08-23</c:v>
                </c:pt>
                <c:pt idx="148">
                  <c:v>1397-08-26</c:v>
                </c:pt>
                <c:pt idx="149">
                  <c:v>1397-08-27</c:v>
                </c:pt>
                <c:pt idx="150">
                  <c:v>1397-08-28</c:v>
                </c:pt>
                <c:pt idx="151">
                  <c:v>1397-08-29</c:v>
                </c:pt>
                <c:pt idx="152">
                  <c:v>1397-08-30</c:v>
                </c:pt>
                <c:pt idx="153">
                  <c:v>1397-09-03</c:v>
                </c:pt>
                <c:pt idx="154">
                  <c:v>1397-09-05</c:v>
                </c:pt>
                <c:pt idx="155">
                  <c:v>1397-09-06</c:v>
                </c:pt>
                <c:pt idx="156">
                  <c:v>1397-09-07</c:v>
                </c:pt>
                <c:pt idx="157">
                  <c:v>1397-09-10</c:v>
                </c:pt>
                <c:pt idx="158">
                  <c:v>1397-09-11</c:v>
                </c:pt>
                <c:pt idx="159">
                  <c:v>1397-09-12</c:v>
                </c:pt>
                <c:pt idx="160">
                  <c:v>1397-09-13</c:v>
                </c:pt>
                <c:pt idx="161">
                  <c:v>1397-09-14</c:v>
                </c:pt>
                <c:pt idx="162">
                  <c:v>1397-09-17</c:v>
                </c:pt>
                <c:pt idx="163">
                  <c:v>1397-09-18</c:v>
                </c:pt>
                <c:pt idx="164">
                  <c:v>1397-09-19</c:v>
                </c:pt>
                <c:pt idx="165">
                  <c:v>1397-09-20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10-03</c:v>
                </c:pt>
                <c:pt idx="171">
                  <c:v>1397-10-04</c:v>
                </c:pt>
                <c:pt idx="172">
                  <c:v>1397-10-05</c:v>
                </c:pt>
                <c:pt idx="173">
                  <c:v>1397-10-08</c:v>
                </c:pt>
                <c:pt idx="174">
                  <c:v>1397-10-09</c:v>
                </c:pt>
                <c:pt idx="175">
                  <c:v>1397-10-10</c:v>
                </c:pt>
                <c:pt idx="176">
                  <c:v>1397-10-11</c:v>
                </c:pt>
                <c:pt idx="177">
                  <c:v>1397-10-12</c:v>
                </c:pt>
                <c:pt idx="178">
                  <c:v>1397-10-15</c:v>
                </c:pt>
                <c:pt idx="179">
                  <c:v>1397-10-16</c:v>
                </c:pt>
                <c:pt idx="180">
                  <c:v>1397-10-17</c:v>
                </c:pt>
                <c:pt idx="181">
                  <c:v>1397-10-18</c:v>
                </c:pt>
                <c:pt idx="182">
                  <c:v>1397-10-19</c:v>
                </c:pt>
                <c:pt idx="183">
                  <c:v>1397-10-22</c:v>
                </c:pt>
                <c:pt idx="184">
                  <c:v>1397-10-23</c:v>
                </c:pt>
                <c:pt idx="185">
                  <c:v>1397-10-24</c:v>
                </c:pt>
                <c:pt idx="186">
                  <c:v>1397-10-25</c:v>
                </c:pt>
                <c:pt idx="187">
                  <c:v>1397-10-26</c:v>
                </c:pt>
                <c:pt idx="188">
                  <c:v>1397-10-29</c:v>
                </c:pt>
                <c:pt idx="189">
                  <c:v>1397-10-30</c:v>
                </c:pt>
                <c:pt idx="190">
                  <c:v>1397-11-01</c:v>
                </c:pt>
                <c:pt idx="191">
                  <c:v>1397-11-02</c:v>
                </c:pt>
                <c:pt idx="192">
                  <c:v>1397-11-03</c:v>
                </c:pt>
                <c:pt idx="193">
                  <c:v>1397-11-06</c:v>
                </c:pt>
                <c:pt idx="194">
                  <c:v>1397-11-07</c:v>
                </c:pt>
                <c:pt idx="195">
                  <c:v>1397-11-08</c:v>
                </c:pt>
                <c:pt idx="196">
                  <c:v>1397-11-09</c:v>
                </c:pt>
                <c:pt idx="197">
                  <c:v>1397-11-10</c:v>
                </c:pt>
                <c:pt idx="198">
                  <c:v>1397-11-13</c:v>
                </c:pt>
                <c:pt idx="199">
                  <c:v>1397-11-14</c:v>
                </c:pt>
                <c:pt idx="200">
                  <c:v>1397-11-15</c:v>
                </c:pt>
                <c:pt idx="201">
                  <c:v>1397-11-16</c:v>
                </c:pt>
                <c:pt idx="202">
                  <c:v>1397-11-17</c:v>
                </c:pt>
                <c:pt idx="203">
                  <c:v>1397-11-21</c:v>
                </c:pt>
                <c:pt idx="204">
                  <c:v>1397-11-23</c:v>
                </c:pt>
                <c:pt idx="205">
                  <c:v>1397-11-24</c:v>
                </c:pt>
                <c:pt idx="206">
                  <c:v>1397-11-27</c:v>
                </c:pt>
                <c:pt idx="207">
                  <c:v>1397-11-28</c:v>
                </c:pt>
                <c:pt idx="208">
                  <c:v>1397-11-29</c:v>
                </c:pt>
                <c:pt idx="209">
                  <c:v>1397-11-30</c:v>
                </c:pt>
                <c:pt idx="210">
                  <c:v>1397-12-01</c:v>
                </c:pt>
                <c:pt idx="211">
                  <c:v>1397-12-04</c:v>
                </c:pt>
                <c:pt idx="212">
                  <c:v>1397-12-05</c:v>
                </c:pt>
                <c:pt idx="213">
                  <c:v>1397-12-06</c:v>
                </c:pt>
                <c:pt idx="214">
                  <c:v>1397-12-07</c:v>
                </c:pt>
                <c:pt idx="215">
                  <c:v>1397-12-08</c:v>
                </c:pt>
                <c:pt idx="216">
                  <c:v>1397-12-11</c:v>
                </c:pt>
                <c:pt idx="217">
                  <c:v>1397-12-12</c:v>
                </c:pt>
                <c:pt idx="218">
                  <c:v>1397-12-13</c:v>
                </c:pt>
                <c:pt idx="219">
                  <c:v>1397-12-14</c:v>
                </c:pt>
                <c:pt idx="220">
                  <c:v>1397-12-15</c:v>
                </c:pt>
                <c:pt idx="221">
                  <c:v>1397-12-18</c:v>
                </c:pt>
                <c:pt idx="222">
                  <c:v>1397-12-19</c:v>
                </c:pt>
                <c:pt idx="223">
                  <c:v>1397-12-20</c:v>
                </c:pt>
                <c:pt idx="224">
                  <c:v>1397-12-21</c:v>
                </c:pt>
                <c:pt idx="225">
                  <c:v>1397-12-22</c:v>
                </c:pt>
                <c:pt idx="226">
                  <c:v>1397-12-25</c:v>
                </c:pt>
                <c:pt idx="227">
                  <c:v>1397-12-26</c:v>
                </c:pt>
                <c:pt idx="228">
                  <c:v>1397-12-27</c:v>
                </c:pt>
                <c:pt idx="229">
                  <c:v>1397-12-28</c:v>
                </c:pt>
                <c:pt idx="230">
                  <c:v>1398-01-05</c:v>
                </c:pt>
                <c:pt idx="231">
                  <c:v>1398-01-06</c:v>
                </c:pt>
                <c:pt idx="232">
                  <c:v>1398-01-07</c:v>
                </c:pt>
                <c:pt idx="233">
                  <c:v>1398-01-10</c:v>
                </c:pt>
                <c:pt idx="234">
                  <c:v>1398-01-11</c:v>
                </c:pt>
                <c:pt idx="235">
                  <c:v>1398-01-17</c:v>
                </c:pt>
                <c:pt idx="236">
                  <c:v>1398-01-18</c:v>
                </c:pt>
                <c:pt idx="237">
                  <c:v>1398-01-19</c:v>
                </c:pt>
                <c:pt idx="238">
                  <c:v>1398-01-20</c:v>
                </c:pt>
                <c:pt idx="239">
                  <c:v>1398-01-21</c:v>
                </c:pt>
                <c:pt idx="240">
                  <c:v>1398-01-24</c:v>
                </c:pt>
                <c:pt idx="241">
                  <c:v>1398-01-25</c:v>
                </c:pt>
                <c:pt idx="242">
                  <c:v>1398-01-26</c:v>
                </c:pt>
                <c:pt idx="243">
                  <c:v>1398-01-27</c:v>
                </c:pt>
                <c:pt idx="244">
                  <c:v>1398-01-28</c:v>
                </c:pt>
                <c:pt idx="245">
                  <c:v>1398-01-31</c:v>
                </c:pt>
                <c:pt idx="246">
                  <c:v>1398-02-02</c:v>
                </c:pt>
                <c:pt idx="247">
                  <c:v>1398-02-03</c:v>
                </c:pt>
                <c:pt idx="248">
                  <c:v>1398-02-04</c:v>
                </c:pt>
                <c:pt idx="249">
                  <c:v>1398-02-07</c:v>
                </c:pt>
                <c:pt idx="250">
                  <c:v>1398-02-08</c:v>
                </c:pt>
                <c:pt idx="251">
                  <c:v>1398-02-09</c:v>
                </c:pt>
                <c:pt idx="252">
                  <c:v>1398-02-10</c:v>
                </c:pt>
                <c:pt idx="253">
                  <c:v>1398-02-11</c:v>
                </c:pt>
                <c:pt idx="254">
                  <c:v>1398-02-14</c:v>
                </c:pt>
                <c:pt idx="255">
                  <c:v>1398-02-15</c:v>
                </c:pt>
                <c:pt idx="256">
                  <c:v>1398-02-16</c:v>
                </c:pt>
                <c:pt idx="257">
                  <c:v>1398-02-17</c:v>
                </c:pt>
                <c:pt idx="258">
                  <c:v>1398-02-18</c:v>
                </c:pt>
                <c:pt idx="259">
                  <c:v>1398-02-21</c:v>
                </c:pt>
                <c:pt idx="260">
                  <c:v>1398-02-22</c:v>
                </c:pt>
                <c:pt idx="261">
                  <c:v>1398-02-23</c:v>
                </c:pt>
                <c:pt idx="262">
                  <c:v>1398-02-24</c:v>
                </c:pt>
                <c:pt idx="263">
                  <c:v>1398-02-25</c:v>
                </c:pt>
                <c:pt idx="264">
                  <c:v>1398-02-28</c:v>
                </c:pt>
                <c:pt idx="265">
                  <c:v>1398-02-29</c:v>
                </c:pt>
                <c:pt idx="266">
                  <c:v>1398-02-30</c:v>
                </c:pt>
                <c:pt idx="267">
                  <c:v>1398-02-31</c:v>
                </c:pt>
                <c:pt idx="268">
                  <c:v>1398-03-01</c:v>
                </c:pt>
                <c:pt idx="269">
                  <c:v>1398-03-04</c:v>
                </c:pt>
                <c:pt idx="270">
                  <c:v>1398-03-05</c:v>
                </c:pt>
                <c:pt idx="271">
                  <c:v>1398-03-07</c:v>
                </c:pt>
                <c:pt idx="272">
                  <c:v>1398-03-08</c:v>
                </c:pt>
                <c:pt idx="273">
                  <c:v>1398-03-11</c:v>
                </c:pt>
                <c:pt idx="274">
                  <c:v>1398-03-12</c:v>
                </c:pt>
                <c:pt idx="275">
                  <c:v>1398-03-13</c:v>
                </c:pt>
                <c:pt idx="276">
                  <c:v>1398-03-18</c:v>
                </c:pt>
                <c:pt idx="277">
                  <c:v>1398-03-19</c:v>
                </c:pt>
                <c:pt idx="278">
                  <c:v>1398-03-20</c:v>
                </c:pt>
                <c:pt idx="279">
                  <c:v>1398-03-21</c:v>
                </c:pt>
                <c:pt idx="280">
                  <c:v>1398-03-22</c:v>
                </c:pt>
                <c:pt idx="281">
                  <c:v>1398-03-25</c:v>
                </c:pt>
                <c:pt idx="282">
                  <c:v>1398-03-26</c:v>
                </c:pt>
                <c:pt idx="283">
                  <c:v>1398-03-27</c:v>
                </c:pt>
                <c:pt idx="284">
                  <c:v>1398-03-28</c:v>
                </c:pt>
                <c:pt idx="285">
                  <c:v>1398-03-29</c:v>
                </c:pt>
                <c:pt idx="286">
                  <c:v>1398-04-01</c:v>
                </c:pt>
                <c:pt idx="287">
                  <c:v>1398-04-02</c:v>
                </c:pt>
                <c:pt idx="288">
                  <c:v>1398-04-03</c:v>
                </c:pt>
                <c:pt idx="289">
                  <c:v>1398-04-04</c:v>
                </c:pt>
                <c:pt idx="290">
                  <c:v>1398-04-05</c:v>
                </c:pt>
                <c:pt idx="291">
                  <c:v>1398-04-09</c:v>
                </c:pt>
                <c:pt idx="292">
                  <c:v>1398-04-10</c:v>
                </c:pt>
                <c:pt idx="293">
                  <c:v>1398-04-11</c:v>
                </c:pt>
                <c:pt idx="294">
                  <c:v>1398-04-12</c:v>
                </c:pt>
                <c:pt idx="295">
                  <c:v>1398-04-15</c:v>
                </c:pt>
                <c:pt idx="296">
                  <c:v>1398-04-16</c:v>
                </c:pt>
                <c:pt idx="297">
                  <c:v>1398-04-17</c:v>
                </c:pt>
                <c:pt idx="298">
                  <c:v>1398-04-18</c:v>
                </c:pt>
                <c:pt idx="299">
                  <c:v>1398-04-19</c:v>
                </c:pt>
                <c:pt idx="300">
                  <c:v>1398-04-22</c:v>
                </c:pt>
                <c:pt idx="301">
                  <c:v>1398-04-29</c:v>
                </c:pt>
                <c:pt idx="302">
                  <c:v>1398-04-30</c:v>
                </c:pt>
                <c:pt idx="303">
                  <c:v>1398-04-31</c:v>
                </c:pt>
                <c:pt idx="304">
                  <c:v>1398-05-01</c:v>
                </c:pt>
                <c:pt idx="305">
                  <c:v>1398-05-02</c:v>
                </c:pt>
                <c:pt idx="306">
                  <c:v>1398-05-05</c:v>
                </c:pt>
                <c:pt idx="307">
                  <c:v>1398-05-06</c:v>
                </c:pt>
                <c:pt idx="308">
                  <c:v>1398-05-07</c:v>
                </c:pt>
                <c:pt idx="309">
                  <c:v>1398-05-08</c:v>
                </c:pt>
                <c:pt idx="310">
                  <c:v>1398-05-09</c:v>
                </c:pt>
                <c:pt idx="311">
                  <c:v>1398-05-12</c:v>
                </c:pt>
                <c:pt idx="312">
                  <c:v>1398-05-13</c:v>
                </c:pt>
                <c:pt idx="313">
                  <c:v>1398-05-14</c:v>
                </c:pt>
                <c:pt idx="314">
                  <c:v>1398-05-15</c:v>
                </c:pt>
                <c:pt idx="315">
                  <c:v>1398-05-16</c:v>
                </c:pt>
                <c:pt idx="316">
                  <c:v>1398-05-19</c:v>
                </c:pt>
                <c:pt idx="317">
                  <c:v>1398-05-20</c:v>
                </c:pt>
                <c:pt idx="318">
                  <c:v>1398-05-22</c:v>
                </c:pt>
                <c:pt idx="319">
                  <c:v>1398-05-23</c:v>
                </c:pt>
                <c:pt idx="320">
                  <c:v>1398-05-26</c:v>
                </c:pt>
                <c:pt idx="321">
                  <c:v>1398-05-27</c:v>
                </c:pt>
                <c:pt idx="322">
                  <c:v>1398-05-28</c:v>
                </c:pt>
                <c:pt idx="323">
                  <c:v>1398-05-30</c:v>
                </c:pt>
                <c:pt idx="324">
                  <c:v>1398-06-02</c:v>
                </c:pt>
                <c:pt idx="325">
                  <c:v>1398-06-03</c:v>
                </c:pt>
                <c:pt idx="326">
                  <c:v>1398-06-04</c:v>
                </c:pt>
                <c:pt idx="327">
                  <c:v>1398-06-05</c:v>
                </c:pt>
                <c:pt idx="328">
                  <c:v>1398-06-06</c:v>
                </c:pt>
                <c:pt idx="329">
                  <c:v>1398-06-09</c:v>
                </c:pt>
                <c:pt idx="330">
                  <c:v>1398-06-10</c:v>
                </c:pt>
                <c:pt idx="331">
                  <c:v>1398-06-11</c:v>
                </c:pt>
                <c:pt idx="332">
                  <c:v>1398-06-12</c:v>
                </c:pt>
                <c:pt idx="333">
                  <c:v>1398-06-13</c:v>
                </c:pt>
                <c:pt idx="334">
                  <c:v>1398-06-16</c:v>
                </c:pt>
                <c:pt idx="335">
                  <c:v>1398-06-17</c:v>
                </c:pt>
                <c:pt idx="336">
                  <c:v>1398-06-20</c:v>
                </c:pt>
                <c:pt idx="337">
                  <c:v>1398-06-23</c:v>
                </c:pt>
                <c:pt idx="338">
                  <c:v>1398-06-24</c:v>
                </c:pt>
                <c:pt idx="339">
                  <c:v>1398-06-25</c:v>
                </c:pt>
                <c:pt idx="340">
                  <c:v>1398-06-26</c:v>
                </c:pt>
                <c:pt idx="341">
                  <c:v>1398-06-27</c:v>
                </c:pt>
                <c:pt idx="342">
                  <c:v>1398-06-30</c:v>
                </c:pt>
                <c:pt idx="343">
                  <c:v>1398-06-31</c:v>
                </c:pt>
                <c:pt idx="344">
                  <c:v>1398-07-01</c:v>
                </c:pt>
                <c:pt idx="345">
                  <c:v>1398-07-02</c:v>
                </c:pt>
                <c:pt idx="346">
                  <c:v>1398-07-03</c:v>
                </c:pt>
                <c:pt idx="347">
                  <c:v>1398-07-06</c:v>
                </c:pt>
                <c:pt idx="348">
                  <c:v>1398-07-07</c:v>
                </c:pt>
                <c:pt idx="349">
                  <c:v>1398-07-08</c:v>
                </c:pt>
                <c:pt idx="350">
                  <c:v>1398-07-09</c:v>
                </c:pt>
                <c:pt idx="351">
                  <c:v>1398-07-10</c:v>
                </c:pt>
                <c:pt idx="352">
                  <c:v>1398-07-13</c:v>
                </c:pt>
                <c:pt idx="353">
                  <c:v>1398-07-14</c:v>
                </c:pt>
                <c:pt idx="354">
                  <c:v>1398-07-15</c:v>
                </c:pt>
                <c:pt idx="355">
                  <c:v>1398-07-16</c:v>
                </c:pt>
                <c:pt idx="356">
                  <c:v>1398-07-17</c:v>
                </c:pt>
                <c:pt idx="357">
                  <c:v>1398-07-20</c:v>
                </c:pt>
                <c:pt idx="358">
                  <c:v>1398-07-21</c:v>
                </c:pt>
                <c:pt idx="359">
                  <c:v>1398-07-22</c:v>
                </c:pt>
                <c:pt idx="360">
                  <c:v>1398-07-23</c:v>
                </c:pt>
                <c:pt idx="361">
                  <c:v>1398-07-24</c:v>
                </c:pt>
                <c:pt idx="362">
                  <c:v>1398-07-28</c:v>
                </c:pt>
                <c:pt idx="363">
                  <c:v>1398-07-29</c:v>
                </c:pt>
                <c:pt idx="364">
                  <c:v>1398-07-30</c:v>
                </c:pt>
                <c:pt idx="365">
                  <c:v>1398-08-01</c:v>
                </c:pt>
                <c:pt idx="366">
                  <c:v>1398-08-04</c:v>
                </c:pt>
                <c:pt idx="367">
                  <c:v>1398-08-06</c:v>
                </c:pt>
                <c:pt idx="368">
                  <c:v>1398-08-08</c:v>
                </c:pt>
                <c:pt idx="369">
                  <c:v>1398-08-11</c:v>
                </c:pt>
                <c:pt idx="370">
                  <c:v>1398-08-12</c:v>
                </c:pt>
                <c:pt idx="371">
                  <c:v>1398-08-13</c:v>
                </c:pt>
                <c:pt idx="372">
                  <c:v>1398-08-14</c:v>
                </c:pt>
                <c:pt idx="373">
                  <c:v>1398-08-18</c:v>
                </c:pt>
                <c:pt idx="374">
                  <c:v>1398-08-19</c:v>
                </c:pt>
                <c:pt idx="375">
                  <c:v>1398-08-20</c:v>
                </c:pt>
                <c:pt idx="376">
                  <c:v>1398-08-21</c:v>
                </c:pt>
                <c:pt idx="377">
                  <c:v>1398-08-22</c:v>
                </c:pt>
                <c:pt idx="378">
                  <c:v>1398-08-25</c:v>
                </c:pt>
                <c:pt idx="379">
                  <c:v>1398-08-26</c:v>
                </c:pt>
                <c:pt idx="380">
                  <c:v>1398-08-27</c:v>
                </c:pt>
                <c:pt idx="381">
                  <c:v>1398-08-28</c:v>
                </c:pt>
                <c:pt idx="382">
                  <c:v>1398-08-29</c:v>
                </c:pt>
                <c:pt idx="383">
                  <c:v>1398-09-02</c:v>
                </c:pt>
                <c:pt idx="384">
                  <c:v>1398-09-03</c:v>
                </c:pt>
                <c:pt idx="385">
                  <c:v>1398-09-04</c:v>
                </c:pt>
                <c:pt idx="386">
                  <c:v>1398-09-05</c:v>
                </c:pt>
                <c:pt idx="387">
                  <c:v>1398-09-06</c:v>
                </c:pt>
                <c:pt idx="388">
                  <c:v>1398-09-09</c:v>
                </c:pt>
                <c:pt idx="389">
                  <c:v>1398-09-10</c:v>
                </c:pt>
                <c:pt idx="390">
                  <c:v>1398-09-11</c:v>
                </c:pt>
                <c:pt idx="391">
                  <c:v>1398-09-12</c:v>
                </c:pt>
                <c:pt idx="392">
                  <c:v>1398-09-13</c:v>
                </c:pt>
                <c:pt idx="393">
                  <c:v>1398-09-16</c:v>
                </c:pt>
                <c:pt idx="394">
                  <c:v>1398-09-17</c:v>
                </c:pt>
                <c:pt idx="395">
                  <c:v>1398-09-18</c:v>
                </c:pt>
                <c:pt idx="396">
                  <c:v>1398-09-19</c:v>
                </c:pt>
                <c:pt idx="397">
                  <c:v>1398-09-20</c:v>
                </c:pt>
                <c:pt idx="398">
                  <c:v>1398-09-23</c:v>
                </c:pt>
                <c:pt idx="399">
                  <c:v>1398-09-24</c:v>
                </c:pt>
                <c:pt idx="400">
                  <c:v>1398-09-25</c:v>
                </c:pt>
                <c:pt idx="401">
                  <c:v>1398-09-26</c:v>
                </c:pt>
                <c:pt idx="402">
                  <c:v>1398-09-27</c:v>
                </c:pt>
                <c:pt idx="403">
                  <c:v>1398-09-30</c:v>
                </c:pt>
                <c:pt idx="404">
                  <c:v>1398-10-01</c:v>
                </c:pt>
                <c:pt idx="405">
                  <c:v>1398-10-02</c:v>
                </c:pt>
                <c:pt idx="406">
                  <c:v>1398-10-03</c:v>
                </c:pt>
                <c:pt idx="407">
                  <c:v>1398-10-04</c:v>
                </c:pt>
                <c:pt idx="408">
                  <c:v>1398-10-07</c:v>
                </c:pt>
                <c:pt idx="409">
                  <c:v>1398-10-08</c:v>
                </c:pt>
                <c:pt idx="410">
                  <c:v>1398-10-09</c:v>
                </c:pt>
                <c:pt idx="411">
                  <c:v>1398-10-10</c:v>
                </c:pt>
                <c:pt idx="412">
                  <c:v>1398-10-11</c:v>
                </c:pt>
                <c:pt idx="413">
                  <c:v>1398-10-14</c:v>
                </c:pt>
                <c:pt idx="414">
                  <c:v>1398-10-15</c:v>
                </c:pt>
                <c:pt idx="415">
                  <c:v>1398-10-17</c:v>
                </c:pt>
                <c:pt idx="416">
                  <c:v>1398-10-18</c:v>
                </c:pt>
                <c:pt idx="417">
                  <c:v>1398-10-21</c:v>
                </c:pt>
                <c:pt idx="418">
                  <c:v>1398-10-22</c:v>
                </c:pt>
                <c:pt idx="419">
                  <c:v>1398-10-23</c:v>
                </c:pt>
                <c:pt idx="420">
                  <c:v>1398-10-24</c:v>
                </c:pt>
                <c:pt idx="421">
                  <c:v>1398-10-25</c:v>
                </c:pt>
                <c:pt idx="422">
                  <c:v>1398-11-02</c:v>
                </c:pt>
                <c:pt idx="423">
                  <c:v>1398-11-05</c:v>
                </c:pt>
                <c:pt idx="424">
                  <c:v>1398-11-06</c:v>
                </c:pt>
                <c:pt idx="425">
                  <c:v>1398-11-07</c:v>
                </c:pt>
                <c:pt idx="426">
                  <c:v>1398-11-08</c:v>
                </c:pt>
                <c:pt idx="427">
                  <c:v>1398-11-12</c:v>
                </c:pt>
                <c:pt idx="428">
                  <c:v>1398-11-13</c:v>
                </c:pt>
                <c:pt idx="429">
                  <c:v>1398-11-14</c:v>
                </c:pt>
                <c:pt idx="430">
                  <c:v>1398-11-15</c:v>
                </c:pt>
                <c:pt idx="431">
                  <c:v>1398-11-16</c:v>
                </c:pt>
                <c:pt idx="432">
                  <c:v>1398-11-19</c:v>
                </c:pt>
                <c:pt idx="433">
                  <c:v>1398-11-20</c:v>
                </c:pt>
                <c:pt idx="434">
                  <c:v>1398-11-21</c:v>
                </c:pt>
                <c:pt idx="435">
                  <c:v>1398-11-23</c:v>
                </c:pt>
                <c:pt idx="436">
                  <c:v>1398-11-26</c:v>
                </c:pt>
                <c:pt idx="437">
                  <c:v>1398-11-27</c:v>
                </c:pt>
                <c:pt idx="438">
                  <c:v>1398-11-28</c:v>
                </c:pt>
                <c:pt idx="439">
                  <c:v>1398-11-29</c:v>
                </c:pt>
                <c:pt idx="440">
                  <c:v>1398-11-30</c:v>
                </c:pt>
                <c:pt idx="441">
                  <c:v>1398-12-03</c:v>
                </c:pt>
                <c:pt idx="442">
                  <c:v>1398-12-04</c:v>
                </c:pt>
                <c:pt idx="443">
                  <c:v>1398-12-05</c:v>
                </c:pt>
                <c:pt idx="444">
                  <c:v>1398-12-06</c:v>
                </c:pt>
                <c:pt idx="445">
                  <c:v>1398-12-07</c:v>
                </c:pt>
                <c:pt idx="446">
                  <c:v>1398-12-10</c:v>
                </c:pt>
                <c:pt idx="447">
                  <c:v>1398-12-11</c:v>
                </c:pt>
                <c:pt idx="448">
                  <c:v>1398-12-12</c:v>
                </c:pt>
                <c:pt idx="449">
                  <c:v>1398-12-13</c:v>
                </c:pt>
                <c:pt idx="450">
                  <c:v>1398-12-14</c:v>
                </c:pt>
                <c:pt idx="451">
                  <c:v>1398-12-17</c:v>
                </c:pt>
                <c:pt idx="452">
                  <c:v>1398-12-19</c:v>
                </c:pt>
                <c:pt idx="453">
                  <c:v>1398-12-20</c:v>
                </c:pt>
                <c:pt idx="454">
                  <c:v>1398-12-21</c:v>
                </c:pt>
                <c:pt idx="455">
                  <c:v>1398-12-24</c:v>
                </c:pt>
                <c:pt idx="456">
                  <c:v>1398-12-25</c:v>
                </c:pt>
                <c:pt idx="457">
                  <c:v>1398-12-26</c:v>
                </c:pt>
                <c:pt idx="458">
                  <c:v>1398-12-27</c:v>
                </c:pt>
                <c:pt idx="459">
                  <c:v>1398-12-28</c:v>
                </c:pt>
                <c:pt idx="460">
                  <c:v>1399-01-05</c:v>
                </c:pt>
                <c:pt idx="461">
                  <c:v>1399-01-06</c:v>
                </c:pt>
                <c:pt idx="462">
                  <c:v>1399-01-09</c:v>
                </c:pt>
                <c:pt idx="463">
                  <c:v>1399-01-10</c:v>
                </c:pt>
                <c:pt idx="464">
                  <c:v>1399-01-11</c:v>
                </c:pt>
                <c:pt idx="465">
                  <c:v>1399-01-16</c:v>
                </c:pt>
                <c:pt idx="466">
                  <c:v>1399-01-17</c:v>
                </c:pt>
                <c:pt idx="467">
                  <c:v>1399-01-18</c:v>
                </c:pt>
                <c:pt idx="468">
                  <c:v>1399-01-19</c:v>
                </c:pt>
                <c:pt idx="469">
                  <c:v>1399-01-20</c:v>
                </c:pt>
                <c:pt idx="470">
                  <c:v>1399-01-23</c:v>
                </c:pt>
                <c:pt idx="471">
                  <c:v>1399-01-24</c:v>
                </c:pt>
                <c:pt idx="472">
                  <c:v>1399-01-25</c:v>
                </c:pt>
                <c:pt idx="473">
                  <c:v>1399-01-26</c:v>
                </c:pt>
                <c:pt idx="474">
                  <c:v>1399-01-27</c:v>
                </c:pt>
                <c:pt idx="475">
                  <c:v>1399-01-30</c:v>
                </c:pt>
                <c:pt idx="476">
                  <c:v>1399-01-31</c:v>
                </c:pt>
                <c:pt idx="477">
                  <c:v>1399-02-01</c:v>
                </c:pt>
                <c:pt idx="478">
                  <c:v>1399-02-02</c:v>
                </c:pt>
                <c:pt idx="479">
                  <c:v>1399-02-03</c:v>
                </c:pt>
                <c:pt idx="480">
                  <c:v>1399-02-06</c:v>
                </c:pt>
                <c:pt idx="481">
                  <c:v>1399-02-07</c:v>
                </c:pt>
                <c:pt idx="482">
                  <c:v>1399-02-10</c:v>
                </c:pt>
                <c:pt idx="483">
                  <c:v>1399-02-13</c:v>
                </c:pt>
                <c:pt idx="484">
                  <c:v>1399-02-14</c:v>
                </c:pt>
                <c:pt idx="485">
                  <c:v>1399-02-15</c:v>
                </c:pt>
                <c:pt idx="486">
                  <c:v>1399-02-16</c:v>
                </c:pt>
                <c:pt idx="487">
                  <c:v>1399-02-17</c:v>
                </c:pt>
                <c:pt idx="488">
                  <c:v>1399-02-20</c:v>
                </c:pt>
                <c:pt idx="489">
                  <c:v>1399-02-21</c:v>
                </c:pt>
                <c:pt idx="490">
                  <c:v>1399-02-22</c:v>
                </c:pt>
                <c:pt idx="491">
                  <c:v>1399-02-23</c:v>
                </c:pt>
                <c:pt idx="492">
                  <c:v>1399-02-24</c:v>
                </c:pt>
                <c:pt idx="493">
                  <c:v>1399-02-27</c:v>
                </c:pt>
                <c:pt idx="494">
                  <c:v>1399-02-28</c:v>
                </c:pt>
                <c:pt idx="495">
                  <c:v>1399-02-29</c:v>
                </c:pt>
                <c:pt idx="496">
                  <c:v>1399-02-30</c:v>
                </c:pt>
                <c:pt idx="497">
                  <c:v>1399-02-31</c:v>
                </c:pt>
                <c:pt idx="498">
                  <c:v>1399-03-03</c:v>
                </c:pt>
                <c:pt idx="499">
                  <c:v>1399-03-06</c:v>
                </c:pt>
                <c:pt idx="500">
                  <c:v>1399-03-07</c:v>
                </c:pt>
                <c:pt idx="501">
                  <c:v>1399-03-10</c:v>
                </c:pt>
                <c:pt idx="502">
                  <c:v>1399-03-11</c:v>
                </c:pt>
                <c:pt idx="503">
                  <c:v>1399-03-12</c:v>
                </c:pt>
                <c:pt idx="504">
                  <c:v>1399-03-13</c:v>
                </c:pt>
                <c:pt idx="505">
                  <c:v>1399-03-17</c:v>
                </c:pt>
                <c:pt idx="506">
                  <c:v>1399-03-18</c:v>
                </c:pt>
                <c:pt idx="507">
                  <c:v>1399-03-19</c:v>
                </c:pt>
                <c:pt idx="508">
                  <c:v>1399-03-20</c:v>
                </c:pt>
                <c:pt idx="509">
                  <c:v>1399-03-21</c:v>
                </c:pt>
                <c:pt idx="510">
                  <c:v>1399-03-24</c:v>
                </c:pt>
                <c:pt idx="511">
                  <c:v>1399-03-25</c:v>
                </c:pt>
                <c:pt idx="512">
                  <c:v>1399-03-26</c:v>
                </c:pt>
                <c:pt idx="513">
                  <c:v>1399-03-31</c:v>
                </c:pt>
                <c:pt idx="514">
                  <c:v>1399-04-01</c:v>
                </c:pt>
                <c:pt idx="515">
                  <c:v>1399-04-02</c:v>
                </c:pt>
                <c:pt idx="516">
                  <c:v>1399-04-03</c:v>
                </c:pt>
                <c:pt idx="517">
                  <c:v>1399-04-04</c:v>
                </c:pt>
                <c:pt idx="518">
                  <c:v>1399-04-07</c:v>
                </c:pt>
                <c:pt idx="519">
                  <c:v>1399-04-08</c:v>
                </c:pt>
                <c:pt idx="520">
                  <c:v>1399-04-09</c:v>
                </c:pt>
                <c:pt idx="521">
                  <c:v>1399-04-10</c:v>
                </c:pt>
                <c:pt idx="522">
                  <c:v>1399-04-11</c:v>
                </c:pt>
                <c:pt idx="523">
                  <c:v>1399-04-14</c:v>
                </c:pt>
                <c:pt idx="524">
                  <c:v>1399-04-15</c:v>
                </c:pt>
                <c:pt idx="525">
                  <c:v>1399-04-16</c:v>
                </c:pt>
                <c:pt idx="526">
                  <c:v>1399-04-18</c:v>
                </c:pt>
                <c:pt idx="527">
                  <c:v>1399-04-21</c:v>
                </c:pt>
                <c:pt idx="528">
                  <c:v>1399-04-22</c:v>
                </c:pt>
                <c:pt idx="529">
                  <c:v>1399-04-23</c:v>
                </c:pt>
                <c:pt idx="530">
                  <c:v>1399-04-24</c:v>
                </c:pt>
                <c:pt idx="531">
                  <c:v>1399-04-28</c:v>
                </c:pt>
                <c:pt idx="532">
                  <c:v>1399-04-29</c:v>
                </c:pt>
                <c:pt idx="533">
                  <c:v>1399-05-04</c:v>
                </c:pt>
                <c:pt idx="534">
                  <c:v>1399-05-05</c:v>
                </c:pt>
                <c:pt idx="535">
                  <c:v>1399-05-06</c:v>
                </c:pt>
                <c:pt idx="536">
                  <c:v>1399-05-07</c:v>
                </c:pt>
                <c:pt idx="537">
                  <c:v>1399-05-08</c:v>
                </c:pt>
                <c:pt idx="538">
                  <c:v>1399-05-11</c:v>
                </c:pt>
                <c:pt idx="539">
                  <c:v>1399-05-12</c:v>
                </c:pt>
                <c:pt idx="540">
                  <c:v>1399-05-13</c:v>
                </c:pt>
                <c:pt idx="541">
                  <c:v>1399-05-14</c:v>
                </c:pt>
                <c:pt idx="542">
                  <c:v>1399-05-15</c:v>
                </c:pt>
                <c:pt idx="543">
                  <c:v>1399-05-19</c:v>
                </c:pt>
                <c:pt idx="544">
                  <c:v>1399-05-20</c:v>
                </c:pt>
                <c:pt idx="545">
                  <c:v>1399-05-21</c:v>
                </c:pt>
                <c:pt idx="546">
                  <c:v>1399-05-22</c:v>
                </c:pt>
                <c:pt idx="547">
                  <c:v>1399-05-26</c:v>
                </c:pt>
                <c:pt idx="548">
                  <c:v>1399-05-27</c:v>
                </c:pt>
                <c:pt idx="549">
                  <c:v>1399-05-28</c:v>
                </c:pt>
                <c:pt idx="550">
                  <c:v>1399-05-29</c:v>
                </c:pt>
                <c:pt idx="551">
                  <c:v>1399-06-01</c:v>
                </c:pt>
                <c:pt idx="552">
                  <c:v>1399-06-02</c:v>
                </c:pt>
                <c:pt idx="553">
                  <c:v>1399-06-03</c:v>
                </c:pt>
                <c:pt idx="554">
                  <c:v>1399-06-04</c:v>
                </c:pt>
                <c:pt idx="555">
                  <c:v>1399-06-05</c:v>
                </c:pt>
                <c:pt idx="556">
                  <c:v>1399-06-10</c:v>
                </c:pt>
                <c:pt idx="557">
                  <c:v>1399-06-11</c:v>
                </c:pt>
                <c:pt idx="558">
                  <c:v>1399-06-12</c:v>
                </c:pt>
                <c:pt idx="559">
                  <c:v>1399-06-15</c:v>
                </c:pt>
                <c:pt idx="560">
                  <c:v>1399-06-16</c:v>
                </c:pt>
                <c:pt idx="561">
                  <c:v>1399-06-17</c:v>
                </c:pt>
                <c:pt idx="562">
                  <c:v>1399-06-18</c:v>
                </c:pt>
                <c:pt idx="563">
                  <c:v>1399-06-19</c:v>
                </c:pt>
                <c:pt idx="564">
                  <c:v>1399-06-22</c:v>
                </c:pt>
                <c:pt idx="565">
                  <c:v>1399-06-23</c:v>
                </c:pt>
                <c:pt idx="566">
                  <c:v>1399-06-24</c:v>
                </c:pt>
                <c:pt idx="567">
                  <c:v>1399-06-25</c:v>
                </c:pt>
                <c:pt idx="568">
                  <c:v>1399-06-26</c:v>
                </c:pt>
                <c:pt idx="569">
                  <c:v>1399-06-29</c:v>
                </c:pt>
                <c:pt idx="570">
                  <c:v>1399-06-30</c:v>
                </c:pt>
                <c:pt idx="571">
                  <c:v>1399-06-31</c:v>
                </c:pt>
                <c:pt idx="572">
                  <c:v>1399-07-01</c:v>
                </c:pt>
                <c:pt idx="573">
                  <c:v>1399-07-02</c:v>
                </c:pt>
                <c:pt idx="574">
                  <c:v>1399-07-05</c:v>
                </c:pt>
                <c:pt idx="575">
                  <c:v>1399-07-06</c:v>
                </c:pt>
                <c:pt idx="576">
                  <c:v>1399-07-07</c:v>
                </c:pt>
                <c:pt idx="577">
                  <c:v>1399-07-08</c:v>
                </c:pt>
                <c:pt idx="578">
                  <c:v>1399-07-09</c:v>
                </c:pt>
                <c:pt idx="579">
                  <c:v>1399-07-12</c:v>
                </c:pt>
                <c:pt idx="580">
                  <c:v>1399-07-13</c:v>
                </c:pt>
                <c:pt idx="581">
                  <c:v>1399-07-14</c:v>
                </c:pt>
                <c:pt idx="582">
                  <c:v>1399-07-15</c:v>
                </c:pt>
                <c:pt idx="583">
                  <c:v>1399-07-16</c:v>
                </c:pt>
                <c:pt idx="584">
                  <c:v>1399-07-19</c:v>
                </c:pt>
                <c:pt idx="585">
                  <c:v>1399-07-20</c:v>
                </c:pt>
                <c:pt idx="586">
                  <c:v>1399-07-21</c:v>
                </c:pt>
                <c:pt idx="587">
                  <c:v>1399-07-22</c:v>
                </c:pt>
                <c:pt idx="588">
                  <c:v>1399-07-23</c:v>
                </c:pt>
                <c:pt idx="589">
                  <c:v>1399-07-27</c:v>
                </c:pt>
                <c:pt idx="590">
                  <c:v>1399-07-28</c:v>
                </c:pt>
                <c:pt idx="591">
                  <c:v>1399-07-29</c:v>
                </c:pt>
                <c:pt idx="592">
                  <c:v>1399-07-30</c:v>
                </c:pt>
                <c:pt idx="593">
                  <c:v>1399-08-03</c:v>
                </c:pt>
                <c:pt idx="594">
                  <c:v>1399-08-05</c:v>
                </c:pt>
                <c:pt idx="595">
                  <c:v>1399-08-06</c:v>
                </c:pt>
                <c:pt idx="596">
                  <c:v>1399-08-07</c:v>
                </c:pt>
                <c:pt idx="597">
                  <c:v>1399-08-10</c:v>
                </c:pt>
                <c:pt idx="598">
                  <c:v>1399-08-11</c:v>
                </c:pt>
                <c:pt idx="599">
                  <c:v>1399-08-12</c:v>
                </c:pt>
                <c:pt idx="600">
                  <c:v>1399-08-14</c:v>
                </c:pt>
                <c:pt idx="601">
                  <c:v>1399-08-17</c:v>
                </c:pt>
                <c:pt idx="602">
                  <c:v>1399-08-18</c:v>
                </c:pt>
                <c:pt idx="603">
                  <c:v>1399-08-19</c:v>
                </c:pt>
                <c:pt idx="604">
                  <c:v>1399-08-20</c:v>
                </c:pt>
                <c:pt idx="605">
                  <c:v>1399-08-21</c:v>
                </c:pt>
                <c:pt idx="606">
                  <c:v>1399-08-24</c:v>
                </c:pt>
                <c:pt idx="607">
                  <c:v>1399-08-25</c:v>
                </c:pt>
                <c:pt idx="608">
                  <c:v>1399-08-26</c:v>
                </c:pt>
                <c:pt idx="609">
                  <c:v>1399-08-27</c:v>
                </c:pt>
                <c:pt idx="610">
                  <c:v>1399-08-28</c:v>
                </c:pt>
                <c:pt idx="611">
                  <c:v>1399-09-01</c:v>
                </c:pt>
                <c:pt idx="612">
                  <c:v>1399-09-02</c:v>
                </c:pt>
                <c:pt idx="613">
                  <c:v>1399-09-03</c:v>
                </c:pt>
                <c:pt idx="614">
                  <c:v>1399-09-04</c:v>
                </c:pt>
                <c:pt idx="615">
                  <c:v>1399-09-05</c:v>
                </c:pt>
                <c:pt idx="616">
                  <c:v>1399-09-08</c:v>
                </c:pt>
                <c:pt idx="617">
                  <c:v>1399-09-18</c:v>
                </c:pt>
                <c:pt idx="618">
                  <c:v>1399-09-19</c:v>
                </c:pt>
                <c:pt idx="619">
                  <c:v>1399-09-22</c:v>
                </c:pt>
                <c:pt idx="620">
                  <c:v>1399-09-23</c:v>
                </c:pt>
                <c:pt idx="621">
                  <c:v>1399-09-24</c:v>
                </c:pt>
                <c:pt idx="622">
                  <c:v>1399-09-25</c:v>
                </c:pt>
                <c:pt idx="623">
                  <c:v>1399-09-26</c:v>
                </c:pt>
                <c:pt idx="624">
                  <c:v>1399-09-29</c:v>
                </c:pt>
                <c:pt idx="625">
                  <c:v>1399-09-30</c:v>
                </c:pt>
                <c:pt idx="626">
                  <c:v>1399-10-01</c:v>
                </c:pt>
                <c:pt idx="627">
                  <c:v>1399-10-02</c:v>
                </c:pt>
                <c:pt idx="628">
                  <c:v>1399-10-03</c:v>
                </c:pt>
                <c:pt idx="629">
                  <c:v>1399-10-06</c:v>
                </c:pt>
                <c:pt idx="630">
                  <c:v>1399-10-07</c:v>
                </c:pt>
                <c:pt idx="631">
                  <c:v>1399-10-08</c:v>
                </c:pt>
                <c:pt idx="632">
                  <c:v>1399-10-09</c:v>
                </c:pt>
                <c:pt idx="633">
                  <c:v>1399-10-10</c:v>
                </c:pt>
                <c:pt idx="634">
                  <c:v>1399-10-13</c:v>
                </c:pt>
                <c:pt idx="635">
                  <c:v>1399-10-14</c:v>
                </c:pt>
                <c:pt idx="636">
                  <c:v>1399-10-15</c:v>
                </c:pt>
                <c:pt idx="637">
                  <c:v>1399-10-16</c:v>
                </c:pt>
                <c:pt idx="638">
                  <c:v>1399-10-17</c:v>
                </c:pt>
                <c:pt idx="639">
                  <c:v>1399-10-20</c:v>
                </c:pt>
                <c:pt idx="640">
                  <c:v>1399-10-21</c:v>
                </c:pt>
                <c:pt idx="641">
                  <c:v>1399-10-22</c:v>
                </c:pt>
                <c:pt idx="642">
                  <c:v>1399-10-23</c:v>
                </c:pt>
                <c:pt idx="643">
                  <c:v>1399-10-24</c:v>
                </c:pt>
                <c:pt idx="644">
                  <c:v>1399-10-27</c:v>
                </c:pt>
                <c:pt idx="645">
                  <c:v>1399-10-29</c:v>
                </c:pt>
                <c:pt idx="646">
                  <c:v>1399-10-30</c:v>
                </c:pt>
                <c:pt idx="647">
                  <c:v>1399-11-01</c:v>
                </c:pt>
                <c:pt idx="648">
                  <c:v>1399-11-04</c:v>
                </c:pt>
                <c:pt idx="649">
                  <c:v>1399-11-05</c:v>
                </c:pt>
                <c:pt idx="650">
                  <c:v>1399-11-06</c:v>
                </c:pt>
                <c:pt idx="651">
                  <c:v>1399-11-07</c:v>
                </c:pt>
                <c:pt idx="652">
                  <c:v>1399-11-08</c:v>
                </c:pt>
                <c:pt idx="653">
                  <c:v>1399-11-11</c:v>
                </c:pt>
                <c:pt idx="654">
                  <c:v>1399-11-12</c:v>
                </c:pt>
                <c:pt idx="655">
                  <c:v>1399-11-13</c:v>
                </c:pt>
                <c:pt idx="656">
                  <c:v>1399-11-14</c:v>
                </c:pt>
                <c:pt idx="657">
                  <c:v>1399-11-15</c:v>
                </c:pt>
                <c:pt idx="658">
                  <c:v>1399-11-18</c:v>
                </c:pt>
                <c:pt idx="659">
                  <c:v>1399-11-19</c:v>
                </c:pt>
                <c:pt idx="660">
                  <c:v>1399-11-20</c:v>
                </c:pt>
                <c:pt idx="661">
                  <c:v>1399-11-21</c:v>
                </c:pt>
                <c:pt idx="662">
                  <c:v>1399-11-25</c:v>
                </c:pt>
                <c:pt idx="663">
                  <c:v>1399-11-26</c:v>
                </c:pt>
                <c:pt idx="664">
                  <c:v>1399-11-27</c:v>
                </c:pt>
                <c:pt idx="665">
                  <c:v>1399-11-28</c:v>
                </c:pt>
                <c:pt idx="666">
                  <c:v>1399-11-29</c:v>
                </c:pt>
                <c:pt idx="667">
                  <c:v>1399-12-02</c:v>
                </c:pt>
                <c:pt idx="668">
                  <c:v>1399-12-03</c:v>
                </c:pt>
                <c:pt idx="669">
                  <c:v>1399-12-04</c:v>
                </c:pt>
                <c:pt idx="670">
                  <c:v>1399-12-05</c:v>
                </c:pt>
                <c:pt idx="671">
                  <c:v>1399-12-06</c:v>
                </c:pt>
                <c:pt idx="672">
                  <c:v>1399-12-09</c:v>
                </c:pt>
                <c:pt idx="673">
                  <c:v>1399-12-10</c:v>
                </c:pt>
                <c:pt idx="674">
                  <c:v>1399-12-11</c:v>
                </c:pt>
                <c:pt idx="675">
                  <c:v>1399-12-12</c:v>
                </c:pt>
                <c:pt idx="676">
                  <c:v>1399-12-13</c:v>
                </c:pt>
                <c:pt idx="677">
                  <c:v>1399-12-16</c:v>
                </c:pt>
                <c:pt idx="678">
                  <c:v>1399-12-17</c:v>
                </c:pt>
                <c:pt idx="679">
                  <c:v>1399-12-18</c:v>
                </c:pt>
                <c:pt idx="680">
                  <c:v>1399-12-19</c:v>
                </c:pt>
                <c:pt idx="681">
                  <c:v>1399-12-20</c:v>
                </c:pt>
                <c:pt idx="682">
                  <c:v>1399-12-23</c:v>
                </c:pt>
                <c:pt idx="683">
                  <c:v>1399-12-24</c:v>
                </c:pt>
                <c:pt idx="684">
                  <c:v>1399-12-25</c:v>
                </c:pt>
                <c:pt idx="685">
                  <c:v>1399-12-26</c:v>
                </c:pt>
                <c:pt idx="686">
                  <c:v>1399-12-27</c:v>
                </c:pt>
                <c:pt idx="687">
                  <c:v>1400-01-07</c:v>
                </c:pt>
                <c:pt idx="688">
                  <c:v>1400-01-08</c:v>
                </c:pt>
                <c:pt idx="689">
                  <c:v>1400-01-10</c:v>
                </c:pt>
                <c:pt idx="690">
                  <c:v>1400-01-11</c:v>
                </c:pt>
                <c:pt idx="691">
                  <c:v>1400-01-14</c:v>
                </c:pt>
                <c:pt idx="692">
                  <c:v>1400-01-15</c:v>
                </c:pt>
                <c:pt idx="693">
                  <c:v>1400-01-16</c:v>
                </c:pt>
                <c:pt idx="694">
                  <c:v>1400-01-17</c:v>
                </c:pt>
                <c:pt idx="695">
                  <c:v>1400-01-18</c:v>
                </c:pt>
                <c:pt idx="696">
                  <c:v>1400-01-21</c:v>
                </c:pt>
                <c:pt idx="697">
                  <c:v>1400-01-22</c:v>
                </c:pt>
                <c:pt idx="698">
                  <c:v>1400-01-23</c:v>
                </c:pt>
                <c:pt idx="699">
                  <c:v>1400-01-24</c:v>
                </c:pt>
                <c:pt idx="700">
                  <c:v>1400-01-25</c:v>
                </c:pt>
                <c:pt idx="701">
                  <c:v>1400-01-28</c:v>
                </c:pt>
                <c:pt idx="702">
                  <c:v>1400-01-29</c:v>
                </c:pt>
                <c:pt idx="703">
                  <c:v>1400-01-30</c:v>
                </c:pt>
                <c:pt idx="704">
                  <c:v>1400-01-31</c:v>
                </c:pt>
                <c:pt idx="705">
                  <c:v>1400-02-01</c:v>
                </c:pt>
                <c:pt idx="706">
                  <c:v>1400-02-04</c:v>
                </c:pt>
                <c:pt idx="707">
                  <c:v>1400-02-05</c:v>
                </c:pt>
                <c:pt idx="708">
                  <c:v>1400-02-06</c:v>
                </c:pt>
                <c:pt idx="709">
                  <c:v>1400-02-07</c:v>
                </c:pt>
                <c:pt idx="710">
                  <c:v>1400-02-08</c:v>
                </c:pt>
                <c:pt idx="711">
                  <c:v>1400-02-11</c:v>
                </c:pt>
                <c:pt idx="712">
                  <c:v>1400-02-12</c:v>
                </c:pt>
                <c:pt idx="713">
                  <c:v>1400-02-13</c:v>
                </c:pt>
                <c:pt idx="714">
                  <c:v>1400-02-15</c:v>
                </c:pt>
                <c:pt idx="715">
                  <c:v>1400-02-18</c:v>
                </c:pt>
                <c:pt idx="716">
                  <c:v>1400-02-19</c:v>
                </c:pt>
                <c:pt idx="717">
                  <c:v>1400-02-20</c:v>
                </c:pt>
                <c:pt idx="718">
                  <c:v>1400-02-21</c:v>
                </c:pt>
                <c:pt idx="719">
                  <c:v>1400-02-22</c:v>
                </c:pt>
                <c:pt idx="720">
                  <c:v>1400-02-25</c:v>
                </c:pt>
                <c:pt idx="721">
                  <c:v>1400-02-26</c:v>
                </c:pt>
                <c:pt idx="722">
                  <c:v>1400-02-27</c:v>
                </c:pt>
                <c:pt idx="723">
                  <c:v>1400-02-28</c:v>
                </c:pt>
                <c:pt idx="724">
                  <c:v>1400-02-29</c:v>
                </c:pt>
                <c:pt idx="725">
                  <c:v>1400-03-01</c:v>
                </c:pt>
                <c:pt idx="726">
                  <c:v>1400-03-02</c:v>
                </c:pt>
                <c:pt idx="727">
                  <c:v>1400-03-03</c:v>
                </c:pt>
                <c:pt idx="728">
                  <c:v>1400-03-04</c:v>
                </c:pt>
                <c:pt idx="729">
                  <c:v>1400-03-05</c:v>
                </c:pt>
                <c:pt idx="730">
                  <c:v>1400-03-08</c:v>
                </c:pt>
                <c:pt idx="731">
                  <c:v>1400-03-09</c:v>
                </c:pt>
                <c:pt idx="732">
                  <c:v>1400-03-10</c:v>
                </c:pt>
                <c:pt idx="733">
                  <c:v>1400-03-11</c:v>
                </c:pt>
                <c:pt idx="734">
                  <c:v>1400-03-12</c:v>
                </c:pt>
                <c:pt idx="735">
                  <c:v>1400-03-17</c:v>
                </c:pt>
                <c:pt idx="736">
                  <c:v>1400-03-18</c:v>
                </c:pt>
                <c:pt idx="737">
                  <c:v>1400-03-19</c:v>
                </c:pt>
                <c:pt idx="738">
                  <c:v>1400-03-22</c:v>
                </c:pt>
                <c:pt idx="739">
                  <c:v>1400-03-23</c:v>
                </c:pt>
                <c:pt idx="740">
                  <c:v>1400-03-24</c:v>
                </c:pt>
                <c:pt idx="741">
                  <c:v>1400-03-25</c:v>
                </c:pt>
                <c:pt idx="742">
                  <c:v>1400-03-26</c:v>
                </c:pt>
                <c:pt idx="743">
                  <c:v>1400-03-29</c:v>
                </c:pt>
                <c:pt idx="744">
                  <c:v>1400-03-30</c:v>
                </c:pt>
                <c:pt idx="745">
                  <c:v>1400-03-31</c:v>
                </c:pt>
                <c:pt idx="746">
                  <c:v>1400-04-01</c:v>
                </c:pt>
                <c:pt idx="747">
                  <c:v>1400-04-02</c:v>
                </c:pt>
                <c:pt idx="748">
                  <c:v>1400-04-05</c:v>
                </c:pt>
                <c:pt idx="749">
                  <c:v>1400-04-06</c:v>
                </c:pt>
                <c:pt idx="750">
                  <c:v>1400-04-07</c:v>
                </c:pt>
                <c:pt idx="751">
                  <c:v>1400-04-08</c:v>
                </c:pt>
                <c:pt idx="752">
                  <c:v>1400-04-09</c:v>
                </c:pt>
                <c:pt idx="753">
                  <c:v>1400-04-12</c:v>
                </c:pt>
                <c:pt idx="754">
                  <c:v>1400-04-13</c:v>
                </c:pt>
                <c:pt idx="755">
                  <c:v>1400-04-14</c:v>
                </c:pt>
                <c:pt idx="756">
                  <c:v>1400-04-15</c:v>
                </c:pt>
                <c:pt idx="757">
                  <c:v>1400-04-16</c:v>
                </c:pt>
                <c:pt idx="758">
                  <c:v>1400-04-19</c:v>
                </c:pt>
                <c:pt idx="759">
                  <c:v>1400-04-20</c:v>
                </c:pt>
                <c:pt idx="760">
                  <c:v>1400-04-21</c:v>
                </c:pt>
                <c:pt idx="761">
                  <c:v>1400-04-22</c:v>
                </c:pt>
                <c:pt idx="762">
                  <c:v>1400-04-23</c:v>
                </c:pt>
                <c:pt idx="763">
                  <c:v>1400-04-26</c:v>
                </c:pt>
                <c:pt idx="764">
                  <c:v>1400-04-27</c:v>
                </c:pt>
                <c:pt idx="765">
                  <c:v>1400-05-05</c:v>
                </c:pt>
                <c:pt idx="766">
                  <c:v>1400-05-06</c:v>
                </c:pt>
                <c:pt idx="767">
                  <c:v>1400-05-09</c:v>
                </c:pt>
                <c:pt idx="768">
                  <c:v>1400-05-10</c:v>
                </c:pt>
                <c:pt idx="769">
                  <c:v>1400-05-11</c:v>
                </c:pt>
                <c:pt idx="770">
                  <c:v>1400-05-12</c:v>
                </c:pt>
                <c:pt idx="771">
                  <c:v>1400-05-13</c:v>
                </c:pt>
                <c:pt idx="772">
                  <c:v>1400-05-16</c:v>
                </c:pt>
                <c:pt idx="773">
                  <c:v>1400-05-17</c:v>
                </c:pt>
                <c:pt idx="774">
                  <c:v>1400-05-18</c:v>
                </c:pt>
                <c:pt idx="775">
                  <c:v>1400-05-19</c:v>
                </c:pt>
                <c:pt idx="776">
                  <c:v>1400-05-20</c:v>
                </c:pt>
                <c:pt idx="777">
                  <c:v>1400-05-23</c:v>
                </c:pt>
                <c:pt idx="778">
                  <c:v>1400-05-24</c:v>
                </c:pt>
                <c:pt idx="779">
                  <c:v>1400-05-31</c:v>
                </c:pt>
                <c:pt idx="780">
                  <c:v>1400-06-01</c:v>
                </c:pt>
                <c:pt idx="781">
                  <c:v>1400-06-02</c:v>
                </c:pt>
                <c:pt idx="782">
                  <c:v>1400-06-03</c:v>
                </c:pt>
                <c:pt idx="783">
                  <c:v>1400-06-06</c:v>
                </c:pt>
                <c:pt idx="784">
                  <c:v>1400-06-07</c:v>
                </c:pt>
                <c:pt idx="785">
                  <c:v>1400-06-08</c:v>
                </c:pt>
                <c:pt idx="786">
                  <c:v>1400-06-09</c:v>
                </c:pt>
                <c:pt idx="787">
                  <c:v>1400-06-10</c:v>
                </c:pt>
                <c:pt idx="788">
                  <c:v>1400-06-13</c:v>
                </c:pt>
                <c:pt idx="789">
                  <c:v>1400-06-14</c:v>
                </c:pt>
                <c:pt idx="790">
                  <c:v>1400-06-15</c:v>
                </c:pt>
                <c:pt idx="791">
                  <c:v>1400-06-16</c:v>
                </c:pt>
                <c:pt idx="792">
                  <c:v>1400-06-17</c:v>
                </c:pt>
                <c:pt idx="793">
                  <c:v>1400-06-20</c:v>
                </c:pt>
                <c:pt idx="794">
                  <c:v>1400-06-21</c:v>
                </c:pt>
                <c:pt idx="795">
                  <c:v>1400-06-22</c:v>
                </c:pt>
                <c:pt idx="796">
                  <c:v>1400-06-23</c:v>
                </c:pt>
                <c:pt idx="797">
                  <c:v>1400-06-24</c:v>
                </c:pt>
                <c:pt idx="798">
                  <c:v>1400-06-27</c:v>
                </c:pt>
                <c:pt idx="799">
                  <c:v>1400-06-28</c:v>
                </c:pt>
                <c:pt idx="800">
                  <c:v>1400-06-29</c:v>
                </c:pt>
                <c:pt idx="801">
                  <c:v>1400-06-30</c:v>
                </c:pt>
                <c:pt idx="802">
                  <c:v>1400-06-31</c:v>
                </c:pt>
                <c:pt idx="803">
                  <c:v>1400-07-03</c:v>
                </c:pt>
                <c:pt idx="804">
                  <c:v>1400-07-04</c:v>
                </c:pt>
                <c:pt idx="805">
                  <c:v>1400-07-06</c:v>
                </c:pt>
                <c:pt idx="806">
                  <c:v>1400-07-07</c:v>
                </c:pt>
                <c:pt idx="807">
                  <c:v>1400-07-10</c:v>
                </c:pt>
                <c:pt idx="808">
                  <c:v>1400-07-11</c:v>
                </c:pt>
                <c:pt idx="809">
                  <c:v>1400-07-12</c:v>
                </c:pt>
                <c:pt idx="810">
                  <c:v>1400-07-14</c:v>
                </c:pt>
                <c:pt idx="811">
                  <c:v>1400-07-17</c:v>
                </c:pt>
                <c:pt idx="812">
                  <c:v>1400-07-18</c:v>
                </c:pt>
                <c:pt idx="813">
                  <c:v>1400-07-19</c:v>
                </c:pt>
                <c:pt idx="814">
                  <c:v>1400-07-20</c:v>
                </c:pt>
                <c:pt idx="815">
                  <c:v>1400-07-21</c:v>
                </c:pt>
                <c:pt idx="816">
                  <c:v>1400-07-24</c:v>
                </c:pt>
                <c:pt idx="817">
                  <c:v>1400-07-25</c:v>
                </c:pt>
                <c:pt idx="818">
                  <c:v>1400-07-26</c:v>
                </c:pt>
                <c:pt idx="819">
                  <c:v>1400-07-27</c:v>
                </c:pt>
                <c:pt idx="820">
                  <c:v>1400-07-28</c:v>
                </c:pt>
                <c:pt idx="821">
                  <c:v>1400-08-01</c:v>
                </c:pt>
                <c:pt idx="822">
                  <c:v>1400-08-03</c:v>
                </c:pt>
                <c:pt idx="823">
                  <c:v>1400-08-04</c:v>
                </c:pt>
                <c:pt idx="824">
                  <c:v>1400-08-05</c:v>
                </c:pt>
                <c:pt idx="825">
                  <c:v>1400-08-08</c:v>
                </c:pt>
                <c:pt idx="826">
                  <c:v>1400-08-09</c:v>
                </c:pt>
                <c:pt idx="827">
                  <c:v>1400-08-10</c:v>
                </c:pt>
                <c:pt idx="828">
                  <c:v>1400-08-11</c:v>
                </c:pt>
                <c:pt idx="829">
                  <c:v>1400-08-12</c:v>
                </c:pt>
                <c:pt idx="830">
                  <c:v>1400-08-15</c:v>
                </c:pt>
                <c:pt idx="831">
                  <c:v>1400-08-16</c:v>
                </c:pt>
                <c:pt idx="832">
                  <c:v>1400-08-17</c:v>
                </c:pt>
                <c:pt idx="833">
                  <c:v>1400-08-18</c:v>
                </c:pt>
                <c:pt idx="834">
                  <c:v>1400-08-19</c:v>
                </c:pt>
                <c:pt idx="835">
                  <c:v>1400-08-22</c:v>
                </c:pt>
                <c:pt idx="836">
                  <c:v>1400-08-23</c:v>
                </c:pt>
                <c:pt idx="837">
                  <c:v>1400-08-24</c:v>
                </c:pt>
                <c:pt idx="838">
                  <c:v>1400-08-25</c:v>
                </c:pt>
                <c:pt idx="839">
                  <c:v>1400-08-26</c:v>
                </c:pt>
                <c:pt idx="840">
                  <c:v>1400-08-30</c:v>
                </c:pt>
                <c:pt idx="841">
                  <c:v>1400-09-15</c:v>
                </c:pt>
                <c:pt idx="842">
                  <c:v>1400-09-16</c:v>
                </c:pt>
                <c:pt idx="843">
                  <c:v>1400-09-17</c:v>
                </c:pt>
                <c:pt idx="844">
                  <c:v>1400-09-20</c:v>
                </c:pt>
                <c:pt idx="845">
                  <c:v>1400-09-21</c:v>
                </c:pt>
                <c:pt idx="846">
                  <c:v>1400-09-22</c:v>
                </c:pt>
                <c:pt idx="847">
                  <c:v>1400-09-23</c:v>
                </c:pt>
                <c:pt idx="848">
                  <c:v>1400-09-24</c:v>
                </c:pt>
                <c:pt idx="849">
                  <c:v>1400-09-27</c:v>
                </c:pt>
                <c:pt idx="850">
                  <c:v>1400-09-28</c:v>
                </c:pt>
                <c:pt idx="851">
                  <c:v>1400-09-29</c:v>
                </c:pt>
                <c:pt idx="852">
                  <c:v>1400-09-30</c:v>
                </c:pt>
                <c:pt idx="853">
                  <c:v>1400-10-01</c:v>
                </c:pt>
                <c:pt idx="854">
                  <c:v>1400-10-04</c:v>
                </c:pt>
                <c:pt idx="855">
                  <c:v>1400-10-05</c:v>
                </c:pt>
                <c:pt idx="856">
                  <c:v>1400-10-06</c:v>
                </c:pt>
                <c:pt idx="857">
                  <c:v>1400-10-07</c:v>
                </c:pt>
                <c:pt idx="858">
                  <c:v>1400-10-08</c:v>
                </c:pt>
                <c:pt idx="859">
                  <c:v>1400-10-11</c:v>
                </c:pt>
                <c:pt idx="860">
                  <c:v>1400-10-12</c:v>
                </c:pt>
                <c:pt idx="861">
                  <c:v>1400-10-13</c:v>
                </c:pt>
                <c:pt idx="862">
                  <c:v>1400-10-14</c:v>
                </c:pt>
                <c:pt idx="863">
                  <c:v>1400-10-15</c:v>
                </c:pt>
                <c:pt idx="864">
                  <c:v>1400-10-18</c:v>
                </c:pt>
                <c:pt idx="865">
                  <c:v>1400-10-19</c:v>
                </c:pt>
                <c:pt idx="866">
                  <c:v>1400-10-20</c:v>
                </c:pt>
                <c:pt idx="867">
                  <c:v>1400-10-21</c:v>
                </c:pt>
                <c:pt idx="868">
                  <c:v>1400-10-22</c:v>
                </c:pt>
                <c:pt idx="869">
                  <c:v>1400-10-25</c:v>
                </c:pt>
                <c:pt idx="870">
                  <c:v>1400-10-26</c:v>
                </c:pt>
                <c:pt idx="871">
                  <c:v>1400-10-27</c:v>
                </c:pt>
                <c:pt idx="872">
                  <c:v>1400-10-28</c:v>
                </c:pt>
                <c:pt idx="873">
                  <c:v>1400-10-29</c:v>
                </c:pt>
                <c:pt idx="874">
                  <c:v>1400-11-02</c:v>
                </c:pt>
                <c:pt idx="875">
                  <c:v>1400-11-03</c:v>
                </c:pt>
                <c:pt idx="876">
                  <c:v>1400-11-04</c:v>
                </c:pt>
                <c:pt idx="877">
                  <c:v>1400-11-05</c:v>
                </c:pt>
                <c:pt idx="878">
                  <c:v>1400-11-06</c:v>
                </c:pt>
                <c:pt idx="879">
                  <c:v>1400-11-09</c:v>
                </c:pt>
                <c:pt idx="880">
                  <c:v>1400-11-10</c:v>
                </c:pt>
                <c:pt idx="881">
                  <c:v>1400-11-11</c:v>
                </c:pt>
                <c:pt idx="882">
                  <c:v>1400-11-12</c:v>
                </c:pt>
                <c:pt idx="883">
                  <c:v>1400-11-13</c:v>
                </c:pt>
                <c:pt idx="884">
                  <c:v>1400-11-16</c:v>
                </c:pt>
                <c:pt idx="885">
                  <c:v>1400-11-17</c:v>
                </c:pt>
                <c:pt idx="886">
                  <c:v>1400-11-18</c:v>
                </c:pt>
                <c:pt idx="887">
                  <c:v>1400-11-19</c:v>
                </c:pt>
                <c:pt idx="888">
                  <c:v>1400-11-20</c:v>
                </c:pt>
                <c:pt idx="889">
                  <c:v>1400-11-23</c:v>
                </c:pt>
                <c:pt idx="890">
                  <c:v>1400-11-24</c:v>
                </c:pt>
                <c:pt idx="891">
                  <c:v>1400-11-25</c:v>
                </c:pt>
                <c:pt idx="892">
                  <c:v>1400-11-27</c:v>
                </c:pt>
                <c:pt idx="893">
                  <c:v>1400-11-30</c:v>
                </c:pt>
                <c:pt idx="894">
                  <c:v>1400-12-01</c:v>
                </c:pt>
                <c:pt idx="895">
                  <c:v>1400-12-02</c:v>
                </c:pt>
                <c:pt idx="896">
                  <c:v>1400-12-03</c:v>
                </c:pt>
                <c:pt idx="897">
                  <c:v>1400-12-04</c:v>
                </c:pt>
                <c:pt idx="898">
                  <c:v>1400-12-07</c:v>
                </c:pt>
                <c:pt idx="899">
                  <c:v>1400-12-08</c:v>
                </c:pt>
                <c:pt idx="900">
                  <c:v>1400-12-09</c:v>
                </c:pt>
                <c:pt idx="901">
                  <c:v>1400-12-11</c:v>
                </c:pt>
                <c:pt idx="902">
                  <c:v>1400-12-14</c:v>
                </c:pt>
                <c:pt idx="903">
                  <c:v>1400-12-15</c:v>
                </c:pt>
                <c:pt idx="904">
                  <c:v>1400-12-16</c:v>
                </c:pt>
                <c:pt idx="905">
                  <c:v>1400-12-17</c:v>
                </c:pt>
                <c:pt idx="906">
                  <c:v>1400-12-18</c:v>
                </c:pt>
                <c:pt idx="907">
                  <c:v>1400-12-21</c:v>
                </c:pt>
                <c:pt idx="908">
                  <c:v>1400-12-22</c:v>
                </c:pt>
                <c:pt idx="909">
                  <c:v>1400-12-23</c:v>
                </c:pt>
                <c:pt idx="910">
                  <c:v>1400-12-24</c:v>
                </c:pt>
                <c:pt idx="911">
                  <c:v>1400-12-25</c:v>
                </c:pt>
                <c:pt idx="912">
                  <c:v>1400-12-28</c:v>
                </c:pt>
                <c:pt idx="913">
                  <c:v>1401-01-06</c:v>
                </c:pt>
                <c:pt idx="914">
                  <c:v>1401-01-07</c:v>
                </c:pt>
                <c:pt idx="915">
                  <c:v>1401-01-08</c:v>
                </c:pt>
                <c:pt idx="916">
                  <c:v>1401-01-09</c:v>
                </c:pt>
                <c:pt idx="917">
                  <c:v>1401-01-14</c:v>
                </c:pt>
                <c:pt idx="918">
                  <c:v>1401-01-15</c:v>
                </c:pt>
                <c:pt idx="919">
                  <c:v>1401-01-16</c:v>
                </c:pt>
                <c:pt idx="920">
                  <c:v>1401-01-17</c:v>
                </c:pt>
                <c:pt idx="921">
                  <c:v>1401-01-20</c:v>
                </c:pt>
                <c:pt idx="922">
                  <c:v>1401-01-21</c:v>
                </c:pt>
                <c:pt idx="923">
                  <c:v>1401-01-22</c:v>
                </c:pt>
                <c:pt idx="924">
                  <c:v>1401-01-23</c:v>
                </c:pt>
                <c:pt idx="925">
                  <c:v>1401-01-24</c:v>
                </c:pt>
                <c:pt idx="926">
                  <c:v>1401-01-27</c:v>
                </c:pt>
                <c:pt idx="927">
                  <c:v>1401-01-28</c:v>
                </c:pt>
                <c:pt idx="928">
                  <c:v>1401-01-29</c:v>
                </c:pt>
                <c:pt idx="929">
                  <c:v>1401-01-30</c:v>
                </c:pt>
                <c:pt idx="930">
                  <c:v>1401-01-31</c:v>
                </c:pt>
                <c:pt idx="931">
                  <c:v>1401-02-04</c:v>
                </c:pt>
                <c:pt idx="932">
                  <c:v>1401-02-05</c:v>
                </c:pt>
                <c:pt idx="933">
                  <c:v>1401-02-06</c:v>
                </c:pt>
                <c:pt idx="934">
                  <c:v>1401-02-07</c:v>
                </c:pt>
                <c:pt idx="935">
                  <c:v>1401-02-10</c:v>
                </c:pt>
                <c:pt idx="936">
                  <c:v>1401-02-11</c:v>
                </c:pt>
                <c:pt idx="937">
                  <c:v>1401-02-12</c:v>
                </c:pt>
                <c:pt idx="938">
                  <c:v>1401-02-17</c:v>
                </c:pt>
                <c:pt idx="939">
                  <c:v>1401-02-18</c:v>
                </c:pt>
                <c:pt idx="940">
                  <c:v>1401-02-19</c:v>
                </c:pt>
                <c:pt idx="941">
                  <c:v>1401-02-20</c:v>
                </c:pt>
                <c:pt idx="942">
                  <c:v>1401-02-21</c:v>
                </c:pt>
                <c:pt idx="943">
                  <c:v>1401-02-24</c:v>
                </c:pt>
                <c:pt idx="944">
                  <c:v>1401-02-25</c:v>
                </c:pt>
                <c:pt idx="945">
                  <c:v>1401-02-26</c:v>
                </c:pt>
                <c:pt idx="946">
                  <c:v>1401-02-27</c:v>
                </c:pt>
                <c:pt idx="947">
                  <c:v>1401-02-28</c:v>
                </c:pt>
                <c:pt idx="948">
                  <c:v>1401-02-31</c:v>
                </c:pt>
                <c:pt idx="949">
                  <c:v>1401-03-01</c:v>
                </c:pt>
                <c:pt idx="950">
                  <c:v>1401-03-02</c:v>
                </c:pt>
                <c:pt idx="951">
                  <c:v>1401-03-03</c:v>
                </c:pt>
                <c:pt idx="952">
                  <c:v>1401-03-04</c:v>
                </c:pt>
                <c:pt idx="953">
                  <c:v>1401-03-07</c:v>
                </c:pt>
                <c:pt idx="954">
                  <c:v>1401-03-08</c:v>
                </c:pt>
                <c:pt idx="955">
                  <c:v>1401-03-09</c:v>
                </c:pt>
                <c:pt idx="956">
                  <c:v>1401-03-10</c:v>
                </c:pt>
                <c:pt idx="957">
                  <c:v>1401-03-11</c:v>
                </c:pt>
                <c:pt idx="958">
                  <c:v>1401-03-16</c:v>
                </c:pt>
                <c:pt idx="959">
                  <c:v>1401-03-17</c:v>
                </c:pt>
                <c:pt idx="960">
                  <c:v>1401-03-18</c:v>
                </c:pt>
                <c:pt idx="961">
                  <c:v>1401-03-21</c:v>
                </c:pt>
                <c:pt idx="962">
                  <c:v>1401-03-22</c:v>
                </c:pt>
                <c:pt idx="963">
                  <c:v>1401-03-23</c:v>
                </c:pt>
                <c:pt idx="964">
                  <c:v>1401-03-24</c:v>
                </c:pt>
                <c:pt idx="965">
                  <c:v>1401-03-25</c:v>
                </c:pt>
                <c:pt idx="966">
                  <c:v>1401-03-28</c:v>
                </c:pt>
                <c:pt idx="967">
                  <c:v>1401-03-29</c:v>
                </c:pt>
                <c:pt idx="968">
                  <c:v>1401-03-30</c:v>
                </c:pt>
                <c:pt idx="969">
                  <c:v>1401-03-31</c:v>
                </c:pt>
                <c:pt idx="970">
                  <c:v>1401-04-01</c:v>
                </c:pt>
                <c:pt idx="971">
                  <c:v>1401-04-04</c:v>
                </c:pt>
                <c:pt idx="972">
                  <c:v>1401-04-05</c:v>
                </c:pt>
                <c:pt idx="973">
                  <c:v>1401-04-06</c:v>
                </c:pt>
                <c:pt idx="974">
                  <c:v>1401-04-07</c:v>
                </c:pt>
                <c:pt idx="975">
                  <c:v>1401-04-08</c:v>
                </c:pt>
                <c:pt idx="976">
                  <c:v>1401-04-12</c:v>
                </c:pt>
                <c:pt idx="977">
                  <c:v>1401-04-13</c:v>
                </c:pt>
                <c:pt idx="978">
                  <c:v>1401-04-14</c:v>
                </c:pt>
                <c:pt idx="979">
                  <c:v>1401-04-15</c:v>
                </c:pt>
                <c:pt idx="980">
                  <c:v>1401-04-18</c:v>
                </c:pt>
                <c:pt idx="981">
                  <c:v>1401-04-20</c:v>
                </c:pt>
                <c:pt idx="982">
                  <c:v>1401-04-21</c:v>
                </c:pt>
                <c:pt idx="983">
                  <c:v>1401-04-22</c:v>
                </c:pt>
                <c:pt idx="984">
                  <c:v>1401-04-25</c:v>
                </c:pt>
                <c:pt idx="985">
                  <c:v>1401-04-26</c:v>
                </c:pt>
                <c:pt idx="986">
                  <c:v>1401-05-04</c:v>
                </c:pt>
                <c:pt idx="987">
                  <c:v>1401-05-05</c:v>
                </c:pt>
                <c:pt idx="988">
                  <c:v>1401-05-08</c:v>
                </c:pt>
                <c:pt idx="989">
                  <c:v>1401-05-09</c:v>
                </c:pt>
                <c:pt idx="990">
                  <c:v>1401-05-10</c:v>
                </c:pt>
                <c:pt idx="991">
                  <c:v>1401-05-11</c:v>
                </c:pt>
                <c:pt idx="992">
                  <c:v>1401-05-12</c:v>
                </c:pt>
                <c:pt idx="993">
                  <c:v>1401-05-15</c:v>
                </c:pt>
                <c:pt idx="994">
                  <c:v>1401-05-18</c:v>
                </c:pt>
                <c:pt idx="995">
                  <c:v>1401-05-19</c:v>
                </c:pt>
                <c:pt idx="996">
                  <c:v>1401-05-22</c:v>
                </c:pt>
                <c:pt idx="997">
                  <c:v>1401-05-23</c:v>
                </c:pt>
                <c:pt idx="998">
                  <c:v>1401-05-24</c:v>
                </c:pt>
                <c:pt idx="999">
                  <c:v>1401-05-25</c:v>
                </c:pt>
                <c:pt idx="1000">
                  <c:v>1401-05-26</c:v>
                </c:pt>
                <c:pt idx="1001">
                  <c:v>1401-05-29</c:v>
                </c:pt>
                <c:pt idx="1002">
                  <c:v>1401-05-30</c:v>
                </c:pt>
                <c:pt idx="1003">
                  <c:v>1401-05-31</c:v>
                </c:pt>
                <c:pt idx="1004">
                  <c:v>1401-06-01</c:v>
                </c:pt>
                <c:pt idx="1005">
                  <c:v>1401-06-02</c:v>
                </c:pt>
                <c:pt idx="1006">
                  <c:v>1401-06-05</c:v>
                </c:pt>
                <c:pt idx="1007">
                  <c:v>1401-06-06</c:v>
                </c:pt>
                <c:pt idx="1008">
                  <c:v>1401-06-07</c:v>
                </c:pt>
                <c:pt idx="1009">
                  <c:v>1401-06-09</c:v>
                </c:pt>
                <c:pt idx="1010">
                  <c:v>1401-06-12</c:v>
                </c:pt>
                <c:pt idx="1011">
                  <c:v>1401-06-13</c:v>
                </c:pt>
                <c:pt idx="1012">
                  <c:v>1401-06-14</c:v>
                </c:pt>
                <c:pt idx="1013">
                  <c:v>1401-06-15</c:v>
                </c:pt>
                <c:pt idx="1014">
                  <c:v>1401-06-16</c:v>
                </c:pt>
                <c:pt idx="1015">
                  <c:v>1401-06-19</c:v>
                </c:pt>
                <c:pt idx="1016">
                  <c:v>1401-06-20</c:v>
                </c:pt>
                <c:pt idx="1017">
                  <c:v>1401-06-21</c:v>
                </c:pt>
                <c:pt idx="1018">
                  <c:v>1401-06-22</c:v>
                </c:pt>
                <c:pt idx="1019">
                  <c:v>1401-06-23</c:v>
                </c:pt>
                <c:pt idx="1020">
                  <c:v>1401-06-27</c:v>
                </c:pt>
                <c:pt idx="1021">
                  <c:v>1401-06-28</c:v>
                </c:pt>
                <c:pt idx="1022">
                  <c:v>1401-06-29</c:v>
                </c:pt>
                <c:pt idx="1023">
                  <c:v>1401-06-30</c:v>
                </c:pt>
                <c:pt idx="1024">
                  <c:v>1401-07-02</c:v>
                </c:pt>
                <c:pt idx="1025">
                  <c:v>1401-07-04</c:v>
                </c:pt>
                <c:pt idx="1026">
                  <c:v>1401-07-06</c:v>
                </c:pt>
                <c:pt idx="1027">
                  <c:v>1401-07-09</c:v>
                </c:pt>
                <c:pt idx="1028">
                  <c:v>1401-07-10</c:v>
                </c:pt>
                <c:pt idx="1029">
                  <c:v>1401-07-11</c:v>
                </c:pt>
                <c:pt idx="1030">
                  <c:v>1401-07-12</c:v>
                </c:pt>
                <c:pt idx="1031">
                  <c:v>1401-07-16</c:v>
                </c:pt>
                <c:pt idx="1032">
                  <c:v>1401-07-17</c:v>
                </c:pt>
                <c:pt idx="1033">
                  <c:v>1401-07-18</c:v>
                </c:pt>
                <c:pt idx="1034">
                  <c:v>1401-07-19</c:v>
                </c:pt>
                <c:pt idx="1035">
                  <c:v>1401-07-20</c:v>
                </c:pt>
                <c:pt idx="1036">
                  <c:v>1401-07-23</c:v>
                </c:pt>
                <c:pt idx="1037">
                  <c:v>1401-07-24</c:v>
                </c:pt>
                <c:pt idx="1038">
                  <c:v>1401-07-25</c:v>
                </c:pt>
                <c:pt idx="1039">
                  <c:v>1401-07-26</c:v>
                </c:pt>
                <c:pt idx="1040">
                  <c:v>1401-07-27</c:v>
                </c:pt>
                <c:pt idx="1041">
                  <c:v>1401-07-30</c:v>
                </c:pt>
                <c:pt idx="1042">
                  <c:v>1401-08-01</c:v>
                </c:pt>
                <c:pt idx="1043">
                  <c:v>1401-08-02</c:v>
                </c:pt>
                <c:pt idx="1044">
                  <c:v>1401-08-03</c:v>
                </c:pt>
                <c:pt idx="1045">
                  <c:v>1401-08-04</c:v>
                </c:pt>
                <c:pt idx="1046">
                  <c:v>1401-08-07</c:v>
                </c:pt>
                <c:pt idx="1047">
                  <c:v>1401-08-08</c:v>
                </c:pt>
                <c:pt idx="1048">
                  <c:v>1401-08-09</c:v>
                </c:pt>
                <c:pt idx="1049">
                  <c:v>1401-08-10</c:v>
                </c:pt>
                <c:pt idx="1050">
                  <c:v>1401-08-11</c:v>
                </c:pt>
                <c:pt idx="1051">
                  <c:v>1401-08-14</c:v>
                </c:pt>
                <c:pt idx="1052">
                  <c:v>1401-08-15</c:v>
                </c:pt>
                <c:pt idx="1053">
                  <c:v>1401-08-16</c:v>
                </c:pt>
                <c:pt idx="1054">
                  <c:v>1401-08-17</c:v>
                </c:pt>
                <c:pt idx="1055">
                  <c:v>1401-08-18</c:v>
                </c:pt>
                <c:pt idx="1056">
                  <c:v>1401-08-21</c:v>
                </c:pt>
                <c:pt idx="1057">
                  <c:v>1401-08-22</c:v>
                </c:pt>
                <c:pt idx="1058">
                  <c:v>1401-08-23</c:v>
                </c:pt>
                <c:pt idx="1059">
                  <c:v>1401-08-24</c:v>
                </c:pt>
                <c:pt idx="1060">
                  <c:v>1401-08-25</c:v>
                </c:pt>
                <c:pt idx="1061">
                  <c:v>1401-08-28</c:v>
                </c:pt>
                <c:pt idx="1062">
                  <c:v>1401-08-29</c:v>
                </c:pt>
                <c:pt idx="1063">
                  <c:v>1401-08-30</c:v>
                </c:pt>
                <c:pt idx="1064">
                  <c:v>1401-09-01</c:v>
                </c:pt>
                <c:pt idx="1065">
                  <c:v>1401-09-02</c:v>
                </c:pt>
                <c:pt idx="1066">
                  <c:v>1401-09-05</c:v>
                </c:pt>
                <c:pt idx="1067">
                  <c:v>1401-09-06</c:v>
                </c:pt>
                <c:pt idx="1068">
                  <c:v>1401-09-07</c:v>
                </c:pt>
                <c:pt idx="1069">
                  <c:v>1401-09-08</c:v>
                </c:pt>
                <c:pt idx="1070">
                  <c:v>1401-09-09</c:v>
                </c:pt>
                <c:pt idx="1071">
                  <c:v>1401-09-12</c:v>
                </c:pt>
                <c:pt idx="1072">
                  <c:v>1401-09-13</c:v>
                </c:pt>
                <c:pt idx="1073">
                  <c:v>1401-09-14</c:v>
                </c:pt>
                <c:pt idx="1074">
                  <c:v>1401-09-15</c:v>
                </c:pt>
                <c:pt idx="1075">
                  <c:v>1401-09-16</c:v>
                </c:pt>
                <c:pt idx="1076">
                  <c:v>1401-09-19</c:v>
                </c:pt>
                <c:pt idx="1077">
                  <c:v>1401-09-20</c:v>
                </c:pt>
                <c:pt idx="1078">
                  <c:v>1401-09-21</c:v>
                </c:pt>
                <c:pt idx="1079">
                  <c:v>1401-09-22</c:v>
                </c:pt>
                <c:pt idx="1080">
                  <c:v>1401-09-23</c:v>
                </c:pt>
                <c:pt idx="1081">
                  <c:v>1401-09-26</c:v>
                </c:pt>
                <c:pt idx="1082">
                  <c:v>1401-09-27</c:v>
                </c:pt>
                <c:pt idx="1083">
                  <c:v>1401-09-28</c:v>
                </c:pt>
                <c:pt idx="1084">
                  <c:v>1401-09-29</c:v>
                </c:pt>
                <c:pt idx="1085">
                  <c:v>1401-09-30</c:v>
                </c:pt>
                <c:pt idx="1086">
                  <c:v>1401-10-03</c:v>
                </c:pt>
                <c:pt idx="1087">
                  <c:v>1401-10-04</c:v>
                </c:pt>
                <c:pt idx="1088">
                  <c:v>1401-10-05</c:v>
                </c:pt>
                <c:pt idx="1089">
                  <c:v>1401-10-07</c:v>
                </c:pt>
                <c:pt idx="1090">
                  <c:v>1401-10-10</c:v>
                </c:pt>
                <c:pt idx="1091">
                  <c:v>1401-10-11</c:v>
                </c:pt>
                <c:pt idx="1092">
                  <c:v>1401-10-12</c:v>
                </c:pt>
                <c:pt idx="1093">
                  <c:v>1401-10-13</c:v>
                </c:pt>
                <c:pt idx="1094">
                  <c:v>1401-10-14</c:v>
                </c:pt>
                <c:pt idx="1095">
                  <c:v>1401-10-17</c:v>
                </c:pt>
                <c:pt idx="1096">
                  <c:v>1401-10-18</c:v>
                </c:pt>
                <c:pt idx="1097">
                  <c:v>1401-10-19</c:v>
                </c:pt>
                <c:pt idx="1098">
                  <c:v>1401-10-20</c:v>
                </c:pt>
                <c:pt idx="1099">
                  <c:v>1401-10-21</c:v>
                </c:pt>
                <c:pt idx="1100">
                  <c:v>1401-10-24</c:v>
                </c:pt>
                <c:pt idx="1101">
                  <c:v>1401-10-26</c:v>
                </c:pt>
                <c:pt idx="1102">
                  <c:v>1401-10-27</c:v>
                </c:pt>
                <c:pt idx="1103">
                  <c:v>1401-10-28</c:v>
                </c:pt>
                <c:pt idx="1104">
                  <c:v>1401-11-01</c:v>
                </c:pt>
                <c:pt idx="1105">
                  <c:v>1401-11-02</c:v>
                </c:pt>
                <c:pt idx="1106">
                  <c:v>1401-11-03</c:v>
                </c:pt>
                <c:pt idx="1107">
                  <c:v>1401-11-04</c:v>
                </c:pt>
                <c:pt idx="1108">
                  <c:v>1401-11-05</c:v>
                </c:pt>
                <c:pt idx="1109">
                  <c:v>1401-11-08</c:v>
                </c:pt>
                <c:pt idx="1110">
                  <c:v>1401-11-09</c:v>
                </c:pt>
                <c:pt idx="1111">
                  <c:v>1401-11-10</c:v>
                </c:pt>
                <c:pt idx="1112">
                  <c:v>1401-11-11</c:v>
                </c:pt>
                <c:pt idx="1113">
                  <c:v>1401-11-12</c:v>
                </c:pt>
                <c:pt idx="1114">
                  <c:v>1401-11-16</c:v>
                </c:pt>
                <c:pt idx="1115">
                  <c:v>1401-11-17</c:v>
                </c:pt>
                <c:pt idx="1116">
                  <c:v>1401-11-18</c:v>
                </c:pt>
                <c:pt idx="1117">
                  <c:v>1401-11-19</c:v>
                </c:pt>
                <c:pt idx="1118">
                  <c:v>1401-11-23</c:v>
                </c:pt>
                <c:pt idx="1119">
                  <c:v>1401-11-24</c:v>
                </c:pt>
                <c:pt idx="1120">
                  <c:v>1401-11-25</c:v>
                </c:pt>
                <c:pt idx="1121">
                  <c:v>1401-11-26</c:v>
                </c:pt>
                <c:pt idx="1122">
                  <c:v>1401-11-30</c:v>
                </c:pt>
                <c:pt idx="1123">
                  <c:v>1401-12-01</c:v>
                </c:pt>
                <c:pt idx="1124">
                  <c:v>1401-12-02</c:v>
                </c:pt>
                <c:pt idx="1125">
                  <c:v>1401-12-03</c:v>
                </c:pt>
                <c:pt idx="1126">
                  <c:v>1401-12-06</c:v>
                </c:pt>
                <c:pt idx="1127">
                  <c:v>1401-12-07</c:v>
                </c:pt>
                <c:pt idx="1128">
                  <c:v>1401-12-08</c:v>
                </c:pt>
                <c:pt idx="1129">
                  <c:v>1401-12-09</c:v>
                </c:pt>
                <c:pt idx="1130">
                  <c:v>1401-12-10</c:v>
                </c:pt>
                <c:pt idx="1131">
                  <c:v>1401-12-13</c:v>
                </c:pt>
                <c:pt idx="1132">
                  <c:v>1401-12-14</c:v>
                </c:pt>
                <c:pt idx="1133">
                  <c:v>1401-12-20</c:v>
                </c:pt>
                <c:pt idx="1134">
                  <c:v>1401-12-27</c:v>
                </c:pt>
                <c:pt idx="1135">
                  <c:v>1401-12-28</c:v>
                </c:pt>
                <c:pt idx="1136">
                  <c:v>1402-01-05</c:v>
                </c:pt>
                <c:pt idx="1137">
                  <c:v>1402-01-06</c:v>
                </c:pt>
                <c:pt idx="1138">
                  <c:v>1402-01-07</c:v>
                </c:pt>
                <c:pt idx="1139">
                  <c:v>1402-01-08</c:v>
                </c:pt>
                <c:pt idx="1140">
                  <c:v>1402-01-09</c:v>
                </c:pt>
                <c:pt idx="1141">
                  <c:v>1402-01-14</c:v>
                </c:pt>
                <c:pt idx="1142">
                  <c:v>1402-01-15</c:v>
                </c:pt>
                <c:pt idx="1143">
                  <c:v>1402-01-16</c:v>
                </c:pt>
                <c:pt idx="1144">
                  <c:v>1402-01-19</c:v>
                </c:pt>
                <c:pt idx="1145">
                  <c:v>1402-01-20</c:v>
                </c:pt>
                <c:pt idx="1146">
                  <c:v>1402-01-21</c:v>
                </c:pt>
                <c:pt idx="1147">
                  <c:v>1402-01-22</c:v>
                </c:pt>
                <c:pt idx="1148">
                  <c:v>1402-01-26</c:v>
                </c:pt>
                <c:pt idx="1149">
                  <c:v>1402-01-27</c:v>
                </c:pt>
                <c:pt idx="1150">
                  <c:v>1402-01-28</c:v>
                </c:pt>
                <c:pt idx="1151">
                  <c:v>1402-01-29</c:v>
                </c:pt>
                <c:pt idx="1152">
                  <c:v>1402-01-30</c:v>
                </c:pt>
                <c:pt idx="1153">
                  <c:v>1402-02-04</c:v>
                </c:pt>
                <c:pt idx="1154">
                  <c:v>1402-02-05</c:v>
                </c:pt>
                <c:pt idx="1155">
                  <c:v>1402-02-06</c:v>
                </c:pt>
                <c:pt idx="1156">
                  <c:v>1402-02-09</c:v>
                </c:pt>
                <c:pt idx="1157">
                  <c:v>1402-02-10</c:v>
                </c:pt>
                <c:pt idx="1158">
                  <c:v>1402-02-11</c:v>
                </c:pt>
                <c:pt idx="1159">
                  <c:v>1402-02-12</c:v>
                </c:pt>
                <c:pt idx="1160">
                  <c:v>1402-02-13</c:v>
                </c:pt>
                <c:pt idx="1161">
                  <c:v>1402-02-16</c:v>
                </c:pt>
                <c:pt idx="1162">
                  <c:v>1402-02-17</c:v>
                </c:pt>
                <c:pt idx="1163">
                  <c:v>1402-02-18</c:v>
                </c:pt>
                <c:pt idx="1164">
                  <c:v>1402-02-19</c:v>
                </c:pt>
                <c:pt idx="1165">
                  <c:v>1402-02-20</c:v>
                </c:pt>
                <c:pt idx="1166">
                  <c:v>1402-02-23</c:v>
                </c:pt>
                <c:pt idx="1167">
                  <c:v>1402-02-24</c:v>
                </c:pt>
                <c:pt idx="1168">
                  <c:v>1402-02-25</c:v>
                </c:pt>
                <c:pt idx="1169">
                  <c:v>1402-02-27</c:v>
                </c:pt>
                <c:pt idx="1170">
                  <c:v>1402-02-30</c:v>
                </c:pt>
                <c:pt idx="1171">
                  <c:v>1402-02-31</c:v>
                </c:pt>
                <c:pt idx="1172">
                  <c:v>1402-03-01</c:v>
                </c:pt>
                <c:pt idx="1173">
                  <c:v>1402-03-02</c:v>
                </c:pt>
                <c:pt idx="1174">
                  <c:v>1402-03-03</c:v>
                </c:pt>
                <c:pt idx="1175">
                  <c:v>1402-03-06</c:v>
                </c:pt>
                <c:pt idx="1176">
                  <c:v>1402-03-07</c:v>
                </c:pt>
                <c:pt idx="1177">
                  <c:v>1402-03-08</c:v>
                </c:pt>
                <c:pt idx="1178">
                  <c:v>1402-03-09</c:v>
                </c:pt>
                <c:pt idx="1179">
                  <c:v>1402-03-10</c:v>
                </c:pt>
                <c:pt idx="1180">
                  <c:v>1402-03-13</c:v>
                </c:pt>
                <c:pt idx="1181">
                  <c:v>1402-03-16</c:v>
                </c:pt>
                <c:pt idx="1182">
                  <c:v>1402-03-17</c:v>
                </c:pt>
                <c:pt idx="1183">
                  <c:v>1402-03-20</c:v>
                </c:pt>
                <c:pt idx="1184">
                  <c:v>1402-03-21</c:v>
                </c:pt>
                <c:pt idx="1185">
                  <c:v>1402-03-22</c:v>
                </c:pt>
                <c:pt idx="1186">
                  <c:v>1402-03-23</c:v>
                </c:pt>
                <c:pt idx="1187">
                  <c:v>1402-03-24</c:v>
                </c:pt>
                <c:pt idx="1188">
                  <c:v>1402-03-27</c:v>
                </c:pt>
                <c:pt idx="1189">
                  <c:v>1402-03-28</c:v>
                </c:pt>
                <c:pt idx="1190">
                  <c:v>1402-03-29</c:v>
                </c:pt>
                <c:pt idx="1191">
                  <c:v>1402-03-30</c:v>
                </c:pt>
                <c:pt idx="1192">
                  <c:v>1402-03-31</c:v>
                </c:pt>
                <c:pt idx="1193">
                  <c:v>1402-04-03</c:v>
                </c:pt>
                <c:pt idx="1194">
                  <c:v>1402-04-04</c:v>
                </c:pt>
                <c:pt idx="1195">
                  <c:v>1402-04-05</c:v>
                </c:pt>
                <c:pt idx="1196">
                  <c:v>1402-04-06</c:v>
                </c:pt>
                <c:pt idx="1197">
                  <c:v>1402-04-07</c:v>
                </c:pt>
                <c:pt idx="1198">
                  <c:v>1402-04-10</c:v>
                </c:pt>
                <c:pt idx="1199">
                  <c:v>1402-04-11</c:v>
                </c:pt>
                <c:pt idx="1200">
                  <c:v>1402-04-12</c:v>
                </c:pt>
                <c:pt idx="1201">
                  <c:v>1402-04-13</c:v>
                </c:pt>
                <c:pt idx="1202">
                  <c:v>1402-04-14</c:v>
                </c:pt>
                <c:pt idx="1203">
                  <c:v>1402-04-17</c:v>
                </c:pt>
                <c:pt idx="1204">
                  <c:v>1402-04-18</c:v>
                </c:pt>
                <c:pt idx="1205">
                  <c:v>1402-04-19</c:v>
                </c:pt>
                <c:pt idx="1206">
                  <c:v>1402-04-20</c:v>
                </c:pt>
                <c:pt idx="1207">
                  <c:v>1402-04-21</c:v>
                </c:pt>
                <c:pt idx="1208">
                  <c:v>1402-04-24</c:v>
                </c:pt>
                <c:pt idx="1209">
                  <c:v>1402-04-25</c:v>
                </c:pt>
                <c:pt idx="1210">
                  <c:v>1402-04-26</c:v>
                </c:pt>
                <c:pt idx="1211">
                  <c:v>1402-04-27</c:v>
                </c:pt>
                <c:pt idx="1212">
                  <c:v>1402-05-02</c:v>
                </c:pt>
                <c:pt idx="1213">
                  <c:v>1402-05-03</c:v>
                </c:pt>
                <c:pt idx="1214">
                  <c:v>1402-05-04</c:v>
                </c:pt>
                <c:pt idx="1215">
                  <c:v>1402-05-07</c:v>
                </c:pt>
                <c:pt idx="1216">
                  <c:v>1402-05-08</c:v>
                </c:pt>
                <c:pt idx="1217">
                  <c:v>1402-05-09</c:v>
                </c:pt>
                <c:pt idx="1218">
                  <c:v>1402-05-10</c:v>
                </c:pt>
                <c:pt idx="1219">
                  <c:v>1402-05-14</c:v>
                </c:pt>
                <c:pt idx="1220">
                  <c:v>1402-05-15</c:v>
                </c:pt>
                <c:pt idx="1221">
                  <c:v>1402-05-16</c:v>
                </c:pt>
                <c:pt idx="1222">
                  <c:v>1402-05-17</c:v>
                </c:pt>
                <c:pt idx="1223">
                  <c:v>1402-05-18</c:v>
                </c:pt>
                <c:pt idx="1224">
                  <c:v>1402-05-21</c:v>
                </c:pt>
                <c:pt idx="1225">
                  <c:v>1402-05-22</c:v>
                </c:pt>
                <c:pt idx="1226">
                  <c:v>1402-05-23</c:v>
                </c:pt>
                <c:pt idx="1227">
                  <c:v>1402-05-24</c:v>
                </c:pt>
                <c:pt idx="1228">
                  <c:v>1402-05-25</c:v>
                </c:pt>
                <c:pt idx="1229">
                  <c:v>1402-05-28</c:v>
                </c:pt>
                <c:pt idx="1230">
                  <c:v>1402-05-29</c:v>
                </c:pt>
                <c:pt idx="1231">
                  <c:v>1402-05-30</c:v>
                </c:pt>
                <c:pt idx="1232">
                  <c:v>1402-05-31</c:v>
                </c:pt>
                <c:pt idx="1233">
                  <c:v>1402-06-01</c:v>
                </c:pt>
                <c:pt idx="1234">
                  <c:v>1402-06-04</c:v>
                </c:pt>
                <c:pt idx="1235">
                  <c:v>1402-06-05</c:v>
                </c:pt>
                <c:pt idx="1236">
                  <c:v>1402-06-06</c:v>
                </c:pt>
                <c:pt idx="1237">
                  <c:v>1402-06-07</c:v>
                </c:pt>
                <c:pt idx="1238">
                  <c:v>1402-06-08</c:v>
                </c:pt>
                <c:pt idx="1239">
                  <c:v>1402-06-11</c:v>
                </c:pt>
                <c:pt idx="1240">
                  <c:v>1402-06-12</c:v>
                </c:pt>
                <c:pt idx="1241">
                  <c:v>1402-06-13</c:v>
                </c:pt>
                <c:pt idx="1242">
                  <c:v>1402-06-14</c:v>
                </c:pt>
                <c:pt idx="1243">
                  <c:v>1402-06-18</c:v>
                </c:pt>
                <c:pt idx="1244">
                  <c:v>1402-06-19</c:v>
                </c:pt>
                <c:pt idx="1245">
                  <c:v>1402-06-20</c:v>
                </c:pt>
                <c:pt idx="1246">
                  <c:v>1402-06-21</c:v>
                </c:pt>
                <c:pt idx="1247">
                  <c:v>1402-06-22</c:v>
                </c:pt>
                <c:pt idx="1248">
                  <c:v>1402-06-26</c:v>
                </c:pt>
                <c:pt idx="1249">
                  <c:v>1402-06-27</c:v>
                </c:pt>
                <c:pt idx="1250">
                  <c:v>1402-06-28</c:v>
                </c:pt>
                <c:pt idx="1251">
                  <c:v>1402-06-29</c:v>
                </c:pt>
                <c:pt idx="1252">
                  <c:v>1402-07-01</c:v>
                </c:pt>
                <c:pt idx="1253">
                  <c:v>1402-07-03</c:v>
                </c:pt>
                <c:pt idx="1254">
                  <c:v>1402-07-04</c:v>
                </c:pt>
                <c:pt idx="1255">
                  <c:v>1402-07-05</c:v>
                </c:pt>
                <c:pt idx="1256">
                  <c:v>1402-07-08</c:v>
                </c:pt>
                <c:pt idx="1257">
                  <c:v>1402-07-09</c:v>
                </c:pt>
                <c:pt idx="1258">
                  <c:v>1402-07-10</c:v>
                </c:pt>
                <c:pt idx="1259">
                  <c:v>1402-07-12</c:v>
                </c:pt>
                <c:pt idx="1260">
                  <c:v>1402-07-15</c:v>
                </c:pt>
                <c:pt idx="1261">
                  <c:v>1402-07-16</c:v>
                </c:pt>
                <c:pt idx="1262">
                  <c:v>1402-07-17</c:v>
                </c:pt>
                <c:pt idx="1263">
                  <c:v>1402-07-18</c:v>
                </c:pt>
                <c:pt idx="1264">
                  <c:v>1402-07-19</c:v>
                </c:pt>
                <c:pt idx="1265">
                  <c:v>1402-07-22</c:v>
                </c:pt>
                <c:pt idx="1266">
                  <c:v>1402-07-23</c:v>
                </c:pt>
                <c:pt idx="1267">
                  <c:v>1402-07-24</c:v>
                </c:pt>
                <c:pt idx="1268">
                  <c:v>1402-07-25</c:v>
                </c:pt>
                <c:pt idx="1269">
                  <c:v>1402-07-26</c:v>
                </c:pt>
                <c:pt idx="1270">
                  <c:v>1402-07-29</c:v>
                </c:pt>
                <c:pt idx="1271">
                  <c:v>1402-07-30</c:v>
                </c:pt>
                <c:pt idx="1272">
                  <c:v>1402-08-01</c:v>
                </c:pt>
                <c:pt idx="1273">
                  <c:v>1402-08-02</c:v>
                </c:pt>
                <c:pt idx="1274">
                  <c:v>1402-08-03</c:v>
                </c:pt>
                <c:pt idx="1275">
                  <c:v>1402-08-06</c:v>
                </c:pt>
                <c:pt idx="1276">
                  <c:v>1402-08-07</c:v>
                </c:pt>
                <c:pt idx="1277">
                  <c:v>1402-08-08</c:v>
                </c:pt>
                <c:pt idx="1278">
                  <c:v>1402-08-09</c:v>
                </c:pt>
                <c:pt idx="1279">
                  <c:v>1402-08-10</c:v>
                </c:pt>
                <c:pt idx="1280">
                  <c:v>1402-08-13</c:v>
                </c:pt>
                <c:pt idx="1281">
                  <c:v>1402-08-14</c:v>
                </c:pt>
                <c:pt idx="1282">
                  <c:v>1402-08-15</c:v>
                </c:pt>
                <c:pt idx="1283">
                  <c:v>1402-08-16</c:v>
                </c:pt>
                <c:pt idx="1284">
                  <c:v>1402-08-17</c:v>
                </c:pt>
                <c:pt idx="1285">
                  <c:v>1402-08-20</c:v>
                </c:pt>
                <c:pt idx="1286">
                  <c:v>1402-08-21</c:v>
                </c:pt>
                <c:pt idx="1287">
                  <c:v>1402-08-22</c:v>
                </c:pt>
                <c:pt idx="1288">
                  <c:v>1402-08-23</c:v>
                </c:pt>
                <c:pt idx="1289">
                  <c:v>1402-08-24</c:v>
                </c:pt>
                <c:pt idx="1290">
                  <c:v>1402-08-27</c:v>
                </c:pt>
                <c:pt idx="1291">
                  <c:v>1402-08-28</c:v>
                </c:pt>
                <c:pt idx="1292">
                  <c:v>1402-08-29</c:v>
                </c:pt>
                <c:pt idx="1293">
                  <c:v>1402-08-30</c:v>
                </c:pt>
                <c:pt idx="1294">
                  <c:v>1402-09-01</c:v>
                </c:pt>
                <c:pt idx="1295">
                  <c:v>1402-09-04</c:v>
                </c:pt>
                <c:pt idx="1296">
                  <c:v>1402-09-05</c:v>
                </c:pt>
                <c:pt idx="1297">
                  <c:v>1402-09-06</c:v>
                </c:pt>
                <c:pt idx="1298">
                  <c:v>1402-09-07</c:v>
                </c:pt>
                <c:pt idx="1299">
                  <c:v>1402-09-08</c:v>
                </c:pt>
                <c:pt idx="1300">
                  <c:v>1402-09-11</c:v>
                </c:pt>
                <c:pt idx="1301">
                  <c:v>1402-09-12</c:v>
                </c:pt>
                <c:pt idx="1302">
                  <c:v>1402-09-13</c:v>
                </c:pt>
                <c:pt idx="1303">
                  <c:v>1402-09-14</c:v>
                </c:pt>
                <c:pt idx="1304">
                  <c:v>1402-09-15</c:v>
                </c:pt>
                <c:pt idx="1305">
                  <c:v>1402-09-18</c:v>
                </c:pt>
                <c:pt idx="1306">
                  <c:v>1402-09-19</c:v>
                </c:pt>
                <c:pt idx="1307">
                  <c:v>1402-09-20</c:v>
                </c:pt>
                <c:pt idx="1308">
                  <c:v>1402-09-21</c:v>
                </c:pt>
                <c:pt idx="1309">
                  <c:v>1402-09-22</c:v>
                </c:pt>
                <c:pt idx="1310">
                  <c:v>1402-09-25</c:v>
                </c:pt>
                <c:pt idx="1311">
                  <c:v>1402-09-27</c:v>
                </c:pt>
                <c:pt idx="1312">
                  <c:v>1402-09-28</c:v>
                </c:pt>
                <c:pt idx="1313">
                  <c:v>1402-09-29</c:v>
                </c:pt>
                <c:pt idx="1314">
                  <c:v>1402-10-02</c:v>
                </c:pt>
                <c:pt idx="1315">
                  <c:v>1402-10-03</c:v>
                </c:pt>
                <c:pt idx="1316">
                  <c:v>1402-10-04</c:v>
                </c:pt>
                <c:pt idx="1317">
                  <c:v>1402-10-05</c:v>
                </c:pt>
                <c:pt idx="1318">
                  <c:v>1402-10-06</c:v>
                </c:pt>
                <c:pt idx="1319">
                  <c:v>1402-10-09</c:v>
                </c:pt>
                <c:pt idx="1320">
                  <c:v>1402-10-10</c:v>
                </c:pt>
                <c:pt idx="1321">
                  <c:v>1402-10-11</c:v>
                </c:pt>
                <c:pt idx="1322">
                  <c:v>1402-10-12</c:v>
                </c:pt>
                <c:pt idx="1323">
                  <c:v>1402-10-13</c:v>
                </c:pt>
                <c:pt idx="1324">
                  <c:v>1402-10-16</c:v>
                </c:pt>
                <c:pt idx="1325">
                  <c:v>1402-10-17</c:v>
                </c:pt>
                <c:pt idx="1326">
                  <c:v>1402-10-18</c:v>
                </c:pt>
                <c:pt idx="1327">
                  <c:v>1402-10-19</c:v>
                </c:pt>
                <c:pt idx="1328">
                  <c:v>1402-10-20</c:v>
                </c:pt>
                <c:pt idx="1329">
                  <c:v>1402-10-23</c:v>
                </c:pt>
                <c:pt idx="1330">
                  <c:v>1402-10-24</c:v>
                </c:pt>
                <c:pt idx="1331">
                  <c:v>1402-10-25</c:v>
                </c:pt>
                <c:pt idx="1332">
                  <c:v>1402-10-26</c:v>
                </c:pt>
                <c:pt idx="1333">
                  <c:v>1402-10-27</c:v>
                </c:pt>
                <c:pt idx="1334">
                  <c:v>1402-10-30</c:v>
                </c:pt>
                <c:pt idx="1335">
                  <c:v>1402-11-01</c:v>
                </c:pt>
                <c:pt idx="1336">
                  <c:v>1402-11-02</c:v>
                </c:pt>
                <c:pt idx="1337">
                  <c:v>1402-11-03</c:v>
                </c:pt>
                <c:pt idx="1338">
                  <c:v>1402-11-04</c:v>
                </c:pt>
                <c:pt idx="1339">
                  <c:v>1402-11-07</c:v>
                </c:pt>
                <c:pt idx="1340">
                  <c:v>1402-11-08</c:v>
                </c:pt>
                <c:pt idx="1341">
                  <c:v>1402-11-09</c:v>
                </c:pt>
                <c:pt idx="1342">
                  <c:v>1402-11-10</c:v>
                </c:pt>
                <c:pt idx="1343">
                  <c:v>1402-11-11</c:v>
                </c:pt>
                <c:pt idx="1344">
                  <c:v>1402-11-14</c:v>
                </c:pt>
                <c:pt idx="1345">
                  <c:v>1402-11-15</c:v>
                </c:pt>
                <c:pt idx="1346">
                  <c:v>1402-11-16</c:v>
                </c:pt>
                <c:pt idx="1347">
                  <c:v>1402-11-17</c:v>
                </c:pt>
                <c:pt idx="1348">
                  <c:v>1402-11-18</c:v>
                </c:pt>
                <c:pt idx="1349">
                  <c:v>1402-11-21</c:v>
                </c:pt>
                <c:pt idx="1350">
                  <c:v>1402-12-09</c:v>
                </c:pt>
                <c:pt idx="1351">
                  <c:v>1402-12-13</c:v>
                </c:pt>
                <c:pt idx="1352">
                  <c:v>1402-12-14</c:v>
                </c:pt>
                <c:pt idx="1353">
                  <c:v>1402-12-15</c:v>
                </c:pt>
                <c:pt idx="1354">
                  <c:v>1402-12-16</c:v>
                </c:pt>
                <c:pt idx="1355">
                  <c:v>1402-12-19</c:v>
                </c:pt>
                <c:pt idx="1356">
                  <c:v>1402-12-20</c:v>
                </c:pt>
                <c:pt idx="1357">
                  <c:v>1402-12-21</c:v>
                </c:pt>
                <c:pt idx="1358">
                  <c:v>1402-12-22</c:v>
                </c:pt>
                <c:pt idx="1359">
                  <c:v>1402-12-23</c:v>
                </c:pt>
                <c:pt idx="1360">
                  <c:v>1402-12-26</c:v>
                </c:pt>
                <c:pt idx="1361">
                  <c:v>1402-12-27</c:v>
                </c:pt>
                <c:pt idx="1362">
                  <c:v>1402-12-28</c:v>
                </c:pt>
                <c:pt idx="1363">
                  <c:v>1403-01-05</c:v>
                </c:pt>
                <c:pt idx="1364">
                  <c:v>1403-01-06</c:v>
                </c:pt>
                <c:pt idx="1365">
                  <c:v>1403-01-07</c:v>
                </c:pt>
                <c:pt idx="1366">
                  <c:v>1403-01-08</c:v>
                </c:pt>
                <c:pt idx="1367">
                  <c:v>1403-01-11</c:v>
                </c:pt>
                <c:pt idx="1368">
                  <c:v>1403-01-14</c:v>
                </c:pt>
                <c:pt idx="1369">
                  <c:v>1403-01-15</c:v>
                </c:pt>
                <c:pt idx="1370">
                  <c:v>1403-01-18</c:v>
                </c:pt>
                <c:pt idx="1371">
                  <c:v>1403-01-19</c:v>
                </c:pt>
                <c:pt idx="1372">
                  <c:v>1403-01-20</c:v>
                </c:pt>
                <c:pt idx="1373">
                  <c:v>1403-01-21</c:v>
                </c:pt>
                <c:pt idx="1374">
                  <c:v>1403-01-25</c:v>
                </c:pt>
                <c:pt idx="1375">
                  <c:v>1403-01-26</c:v>
                </c:pt>
                <c:pt idx="1376">
                  <c:v>1403-01-27</c:v>
                </c:pt>
                <c:pt idx="1377">
                  <c:v>1403-01-28</c:v>
                </c:pt>
                <c:pt idx="1378">
                  <c:v>1403-01-29</c:v>
                </c:pt>
                <c:pt idx="1379">
                  <c:v>1403-02-01</c:v>
                </c:pt>
                <c:pt idx="1380">
                  <c:v>1403-02-02</c:v>
                </c:pt>
                <c:pt idx="1381">
                  <c:v>1403-02-03</c:v>
                </c:pt>
                <c:pt idx="1382">
                  <c:v>1403-02-04</c:v>
                </c:pt>
                <c:pt idx="1383">
                  <c:v>1403-02-05</c:v>
                </c:pt>
                <c:pt idx="1384">
                  <c:v>1403-02-08</c:v>
                </c:pt>
                <c:pt idx="1385">
                  <c:v>1403-02-09</c:v>
                </c:pt>
                <c:pt idx="1386">
                  <c:v>1403-02-10</c:v>
                </c:pt>
                <c:pt idx="1387">
                  <c:v>1403-02-11</c:v>
                </c:pt>
                <c:pt idx="1388">
                  <c:v>1403-02-12</c:v>
                </c:pt>
                <c:pt idx="1389">
                  <c:v>1403-02-16</c:v>
                </c:pt>
                <c:pt idx="1390">
                  <c:v>1403-02-17</c:v>
                </c:pt>
                <c:pt idx="1391">
                  <c:v>1403-02-18</c:v>
                </c:pt>
                <c:pt idx="1392">
                  <c:v>1403-02-19</c:v>
                </c:pt>
                <c:pt idx="1393">
                  <c:v>1403-02-22</c:v>
                </c:pt>
                <c:pt idx="1394">
                  <c:v>1403-02-23</c:v>
                </c:pt>
                <c:pt idx="1395">
                  <c:v>1403-02-24</c:v>
                </c:pt>
                <c:pt idx="1396">
                  <c:v>1403-02-25</c:v>
                </c:pt>
                <c:pt idx="1397">
                  <c:v>1403-02-26</c:v>
                </c:pt>
                <c:pt idx="1398">
                  <c:v>1403-02-29</c:v>
                </c:pt>
                <c:pt idx="1399">
                  <c:v>1403-02-30</c:v>
                </c:pt>
                <c:pt idx="1400">
                  <c:v>1403-03-01</c:v>
                </c:pt>
                <c:pt idx="1401">
                  <c:v>1403-03-05</c:v>
                </c:pt>
                <c:pt idx="1402">
                  <c:v>1403-03-06</c:v>
                </c:pt>
                <c:pt idx="1403">
                  <c:v>1403-03-07</c:v>
                </c:pt>
                <c:pt idx="1404">
                  <c:v>1403-03-08</c:v>
                </c:pt>
                <c:pt idx="1405">
                  <c:v>1403-03-09</c:v>
                </c:pt>
                <c:pt idx="1406">
                  <c:v>1403-03-12</c:v>
                </c:pt>
                <c:pt idx="1407">
                  <c:v>1403-03-13</c:v>
                </c:pt>
                <c:pt idx="1408">
                  <c:v>1403-03-16</c:v>
                </c:pt>
                <c:pt idx="1409">
                  <c:v>1403-03-19</c:v>
                </c:pt>
                <c:pt idx="1410">
                  <c:v>1403-03-20</c:v>
                </c:pt>
                <c:pt idx="1411">
                  <c:v>1403-03-21</c:v>
                </c:pt>
                <c:pt idx="1412">
                  <c:v>1403-03-22</c:v>
                </c:pt>
                <c:pt idx="1413">
                  <c:v>1403-03-23</c:v>
                </c:pt>
                <c:pt idx="1414">
                  <c:v>1403-03-26</c:v>
                </c:pt>
                <c:pt idx="1415">
                  <c:v>1403-03-27</c:v>
                </c:pt>
                <c:pt idx="1416">
                  <c:v>1403-03-29</c:v>
                </c:pt>
                <c:pt idx="1417">
                  <c:v>1403-03-30</c:v>
                </c:pt>
                <c:pt idx="1418">
                  <c:v>1403-04-02</c:v>
                </c:pt>
                <c:pt idx="1419">
                  <c:v>1403-04-03</c:v>
                </c:pt>
                <c:pt idx="1420">
                  <c:v>1403-04-04</c:v>
                </c:pt>
                <c:pt idx="1421">
                  <c:v>1403-04-06</c:v>
                </c:pt>
                <c:pt idx="1422">
                  <c:v>1403-04-09</c:v>
                </c:pt>
                <c:pt idx="1423">
                  <c:v>1403-04-10</c:v>
                </c:pt>
                <c:pt idx="1424">
                  <c:v>1403-04-11</c:v>
                </c:pt>
                <c:pt idx="1425">
                  <c:v>1403-04-12</c:v>
                </c:pt>
                <c:pt idx="1426">
                  <c:v>1403-04-13</c:v>
                </c:pt>
                <c:pt idx="1427">
                  <c:v>1403-04-16</c:v>
                </c:pt>
                <c:pt idx="1428">
                  <c:v>1403-04-17</c:v>
                </c:pt>
                <c:pt idx="1429">
                  <c:v>1403-04-18</c:v>
                </c:pt>
                <c:pt idx="1430">
                  <c:v>1403-04-19</c:v>
                </c:pt>
                <c:pt idx="1431">
                  <c:v>1403-04-20</c:v>
                </c:pt>
                <c:pt idx="1432">
                  <c:v>1403-04-23</c:v>
                </c:pt>
                <c:pt idx="1433">
                  <c:v>1403-04-24</c:v>
                </c:pt>
                <c:pt idx="1434">
                  <c:v>1403-04-27</c:v>
                </c:pt>
                <c:pt idx="1435">
                  <c:v>1403-05-03</c:v>
                </c:pt>
                <c:pt idx="1436">
                  <c:v>1403-05-06</c:v>
                </c:pt>
                <c:pt idx="1437">
                  <c:v>1403-05-08</c:v>
                </c:pt>
                <c:pt idx="1438">
                  <c:v>1403-05-09</c:v>
                </c:pt>
                <c:pt idx="1439">
                  <c:v>1403-05-10</c:v>
                </c:pt>
                <c:pt idx="1440">
                  <c:v>1403-05-13</c:v>
                </c:pt>
                <c:pt idx="1441">
                  <c:v>1403-05-14</c:v>
                </c:pt>
                <c:pt idx="1442">
                  <c:v>1403-05-15</c:v>
                </c:pt>
                <c:pt idx="1443">
                  <c:v>1403-05-16</c:v>
                </c:pt>
                <c:pt idx="1444">
                  <c:v>1403-05-20</c:v>
                </c:pt>
                <c:pt idx="1445">
                  <c:v>1403-05-21</c:v>
                </c:pt>
                <c:pt idx="1446">
                  <c:v>1403-05-22</c:v>
                </c:pt>
                <c:pt idx="1447">
                  <c:v>1403-05-23</c:v>
                </c:pt>
                <c:pt idx="1448">
                  <c:v>1403-05-24</c:v>
                </c:pt>
                <c:pt idx="1449">
                  <c:v>1403-05-27</c:v>
                </c:pt>
                <c:pt idx="1450">
                  <c:v>1403-05-28</c:v>
                </c:pt>
                <c:pt idx="1451">
                  <c:v>1403-05-29</c:v>
                </c:pt>
                <c:pt idx="1452">
                  <c:v>1403-05-30</c:v>
                </c:pt>
                <c:pt idx="1453">
                  <c:v>1403-05-31</c:v>
                </c:pt>
                <c:pt idx="1454">
                  <c:v>1403-06-03</c:v>
                </c:pt>
                <c:pt idx="1455">
                  <c:v>1403-06-05</c:v>
                </c:pt>
                <c:pt idx="1456">
                  <c:v>1403-06-06</c:v>
                </c:pt>
                <c:pt idx="1457">
                  <c:v>1403-06-07</c:v>
                </c:pt>
                <c:pt idx="1458">
                  <c:v>1403-06-10</c:v>
                </c:pt>
                <c:pt idx="1459">
                  <c:v>1403-06-11</c:v>
                </c:pt>
                <c:pt idx="1460">
                  <c:v>1403-06-13</c:v>
                </c:pt>
                <c:pt idx="1461">
                  <c:v>1403-06-17</c:v>
                </c:pt>
                <c:pt idx="1462">
                  <c:v>1403-06-18</c:v>
                </c:pt>
                <c:pt idx="1463">
                  <c:v>1403-06-19</c:v>
                </c:pt>
                <c:pt idx="1464">
                  <c:v>1403-06-20</c:v>
                </c:pt>
                <c:pt idx="1465">
                  <c:v>1403-06-21</c:v>
                </c:pt>
                <c:pt idx="1466">
                  <c:v>1403-06-24</c:v>
                </c:pt>
                <c:pt idx="1467">
                  <c:v>1403-06-25</c:v>
                </c:pt>
                <c:pt idx="1468">
                  <c:v>1403-06-26</c:v>
                </c:pt>
                <c:pt idx="1469">
                  <c:v>1403-06-27</c:v>
                </c:pt>
                <c:pt idx="1470">
                  <c:v>1403-06-28</c:v>
                </c:pt>
                <c:pt idx="1471">
                  <c:v>1403-07-01</c:v>
                </c:pt>
                <c:pt idx="1472">
                  <c:v>1403-07-02</c:v>
                </c:pt>
                <c:pt idx="1473">
                  <c:v>1403-07-03</c:v>
                </c:pt>
                <c:pt idx="1474">
                  <c:v>1403-07-04</c:v>
                </c:pt>
                <c:pt idx="1475">
                  <c:v>1403-07-07</c:v>
                </c:pt>
                <c:pt idx="1476">
                  <c:v>1403-07-08</c:v>
                </c:pt>
                <c:pt idx="1477">
                  <c:v>1403-07-09</c:v>
                </c:pt>
                <c:pt idx="1478">
                  <c:v>1403-07-10</c:v>
                </c:pt>
                <c:pt idx="1479">
                  <c:v>1403-07-11</c:v>
                </c:pt>
                <c:pt idx="1480">
                  <c:v>1403-07-14</c:v>
                </c:pt>
                <c:pt idx="1481">
                  <c:v>1403-07-15</c:v>
                </c:pt>
                <c:pt idx="1482">
                  <c:v>1403-07-16</c:v>
                </c:pt>
                <c:pt idx="1483">
                  <c:v>1403-07-17</c:v>
                </c:pt>
                <c:pt idx="1484">
                  <c:v>1403-07-17</c:v>
                </c:pt>
                <c:pt idx="1485">
                  <c:v>1403-07-18</c:v>
                </c:pt>
                <c:pt idx="1486">
                  <c:v>1403-07-21</c:v>
                </c:pt>
                <c:pt idx="1487">
                  <c:v>1403-07-22</c:v>
                </c:pt>
                <c:pt idx="1488">
                  <c:v>1403-07-23</c:v>
                </c:pt>
                <c:pt idx="1489">
                  <c:v>1403-07-24</c:v>
                </c:pt>
                <c:pt idx="1490">
                  <c:v>1403-07-25</c:v>
                </c:pt>
                <c:pt idx="1491">
                  <c:v>1403-07-28</c:v>
                </c:pt>
                <c:pt idx="1492">
                  <c:v>1403-07-29</c:v>
                </c:pt>
                <c:pt idx="1493">
                  <c:v>1403-07-30</c:v>
                </c:pt>
                <c:pt idx="1494">
                  <c:v>1403-08-01</c:v>
                </c:pt>
                <c:pt idx="1495">
                  <c:v>1403-08-02</c:v>
                </c:pt>
                <c:pt idx="1496">
                  <c:v>1403-08-05</c:v>
                </c:pt>
                <c:pt idx="1497">
                  <c:v>1403-08-06</c:v>
                </c:pt>
                <c:pt idx="1498">
                  <c:v>1403-08-07</c:v>
                </c:pt>
                <c:pt idx="1499">
                  <c:v>1403-08-08</c:v>
                </c:pt>
                <c:pt idx="1500">
                  <c:v>1403-08-09</c:v>
                </c:pt>
                <c:pt idx="1501">
                  <c:v>1403-08-12</c:v>
                </c:pt>
                <c:pt idx="1502">
                  <c:v>1403-08-13</c:v>
                </c:pt>
                <c:pt idx="1503">
                  <c:v>1403-08-14</c:v>
                </c:pt>
                <c:pt idx="1504">
                  <c:v>1403-08-15</c:v>
                </c:pt>
                <c:pt idx="1505">
                  <c:v>1403-08-16</c:v>
                </c:pt>
                <c:pt idx="1506">
                  <c:v>1403-08-19</c:v>
                </c:pt>
                <c:pt idx="1507">
                  <c:v>1403-08-20</c:v>
                </c:pt>
                <c:pt idx="1508">
                  <c:v>1403-08-21</c:v>
                </c:pt>
                <c:pt idx="1509">
                  <c:v>1403-08-22</c:v>
                </c:pt>
                <c:pt idx="1510">
                  <c:v>1403-08-23</c:v>
                </c:pt>
                <c:pt idx="1511">
                  <c:v>1403-08-26</c:v>
                </c:pt>
                <c:pt idx="1512">
                  <c:v>1403-08-27</c:v>
                </c:pt>
                <c:pt idx="1513">
                  <c:v>1403-08-28</c:v>
                </c:pt>
                <c:pt idx="1514">
                  <c:v>1403-08-29</c:v>
                </c:pt>
                <c:pt idx="1515">
                  <c:v>1403-08-30</c:v>
                </c:pt>
                <c:pt idx="1516">
                  <c:v>1403-09-03</c:v>
                </c:pt>
                <c:pt idx="1517">
                  <c:v>1403-09-04</c:v>
                </c:pt>
                <c:pt idx="1518">
                  <c:v>1403-09-05</c:v>
                </c:pt>
                <c:pt idx="1519">
                  <c:v>1403-09-06</c:v>
                </c:pt>
                <c:pt idx="1520">
                  <c:v>1403-09-07</c:v>
                </c:pt>
                <c:pt idx="1521">
                  <c:v>1403-09-10</c:v>
                </c:pt>
                <c:pt idx="1522">
                  <c:v>1403-09-11</c:v>
                </c:pt>
                <c:pt idx="1523">
                  <c:v>1403-09-12</c:v>
                </c:pt>
                <c:pt idx="1524">
                  <c:v>1403-09-13</c:v>
                </c:pt>
                <c:pt idx="1525">
                  <c:v>1403-09-14</c:v>
                </c:pt>
                <c:pt idx="1526">
                  <c:v>1403-09-17</c:v>
                </c:pt>
                <c:pt idx="1527">
                  <c:v>1403-09-18</c:v>
                </c:pt>
                <c:pt idx="1528">
                  <c:v>1403-09-19</c:v>
                </c:pt>
                <c:pt idx="1529">
                  <c:v>1403-09-20</c:v>
                </c:pt>
                <c:pt idx="1530">
                  <c:v>1403-09-21</c:v>
                </c:pt>
                <c:pt idx="1531">
                  <c:v>1403-09-24</c:v>
                </c:pt>
                <c:pt idx="1532">
                  <c:v>1403-09-25</c:v>
                </c:pt>
                <c:pt idx="1533">
                  <c:v>1403-09-26</c:v>
                </c:pt>
                <c:pt idx="1534">
                  <c:v>1403-09-27</c:v>
                </c:pt>
                <c:pt idx="1535">
                  <c:v>1403-09-28</c:v>
                </c:pt>
                <c:pt idx="1536">
                  <c:v>1403-10-01</c:v>
                </c:pt>
                <c:pt idx="1537">
                  <c:v>1403-10-02</c:v>
                </c:pt>
                <c:pt idx="1538">
                  <c:v>1403-10-03</c:v>
                </c:pt>
                <c:pt idx="1539">
                  <c:v>1403-10-04</c:v>
                </c:pt>
                <c:pt idx="1540">
                  <c:v>1403-10-05</c:v>
                </c:pt>
                <c:pt idx="1541">
                  <c:v>1403-10-08</c:v>
                </c:pt>
                <c:pt idx="1542">
                  <c:v>1403-10-09</c:v>
                </c:pt>
                <c:pt idx="1543">
                  <c:v>1403-10-10</c:v>
                </c:pt>
                <c:pt idx="1544">
                  <c:v>1403-10-11</c:v>
                </c:pt>
                <c:pt idx="1545">
                  <c:v>1403-10-12</c:v>
                </c:pt>
                <c:pt idx="1546">
                  <c:v>1403-10-15</c:v>
                </c:pt>
                <c:pt idx="1547">
                  <c:v>1403-10-16</c:v>
                </c:pt>
                <c:pt idx="1548">
                  <c:v>1403-10-17</c:v>
                </c:pt>
                <c:pt idx="1549">
                  <c:v>1403-10-18</c:v>
                </c:pt>
                <c:pt idx="1550">
                  <c:v>1403-10-19</c:v>
                </c:pt>
                <c:pt idx="1551">
                  <c:v>1403-10-23</c:v>
                </c:pt>
                <c:pt idx="1552">
                  <c:v>1403-10-24</c:v>
                </c:pt>
                <c:pt idx="1553">
                  <c:v>1403-10-26</c:v>
                </c:pt>
                <c:pt idx="1554">
                  <c:v>1403-10-29</c:v>
                </c:pt>
                <c:pt idx="1555">
                  <c:v>1403-10-30</c:v>
                </c:pt>
                <c:pt idx="1556">
                  <c:v>1403-11-01</c:v>
                </c:pt>
                <c:pt idx="1557">
                  <c:v>1403-11-02</c:v>
                </c:pt>
                <c:pt idx="1558">
                  <c:v>1403-11-03</c:v>
                </c:pt>
                <c:pt idx="1559">
                  <c:v>1403-11-03</c:v>
                </c:pt>
                <c:pt idx="1560">
                  <c:v>1403-11-06</c:v>
                </c:pt>
                <c:pt idx="1561">
                  <c:v>1403-11-07</c:v>
                </c:pt>
                <c:pt idx="1562">
                  <c:v>1403-11-08</c:v>
                </c:pt>
                <c:pt idx="1563">
                  <c:v>1403-11-10</c:v>
                </c:pt>
                <c:pt idx="1564">
                  <c:v>1403-11-13</c:v>
                </c:pt>
                <c:pt idx="1565">
                  <c:v>1403-11-14</c:v>
                </c:pt>
                <c:pt idx="1566">
                  <c:v>1403-11-15</c:v>
                </c:pt>
                <c:pt idx="1567">
                  <c:v>1403-11-16</c:v>
                </c:pt>
                <c:pt idx="1568">
                  <c:v>1403-11-17</c:v>
                </c:pt>
                <c:pt idx="1569">
                  <c:v>1403-11-21</c:v>
                </c:pt>
                <c:pt idx="1570">
                  <c:v>1403-11-23</c:v>
                </c:pt>
                <c:pt idx="1571">
                  <c:v>1403-11-27</c:v>
                </c:pt>
                <c:pt idx="1572">
                  <c:v>1403-11-28</c:v>
                </c:pt>
                <c:pt idx="1573">
                  <c:v>1403-11-29</c:v>
                </c:pt>
                <c:pt idx="1574">
                  <c:v>1403-11-30</c:v>
                </c:pt>
                <c:pt idx="1575">
                  <c:v>1403-12-01</c:v>
                </c:pt>
                <c:pt idx="1576">
                  <c:v>1403-12-01</c:v>
                </c:pt>
                <c:pt idx="1577">
                  <c:v>1403-12-04</c:v>
                </c:pt>
                <c:pt idx="1578">
                  <c:v>1403-12-05</c:v>
                </c:pt>
                <c:pt idx="1579">
                  <c:v>1403-12-06</c:v>
                </c:pt>
                <c:pt idx="1580">
                  <c:v>1403-12-07</c:v>
                </c:pt>
                <c:pt idx="1581">
                  <c:v>1403-12-08</c:v>
                </c:pt>
                <c:pt idx="1582">
                  <c:v>1403-12-11</c:v>
                </c:pt>
                <c:pt idx="1583">
                  <c:v>1403-12-12</c:v>
                </c:pt>
                <c:pt idx="1584">
                  <c:v>1403-12-13</c:v>
                </c:pt>
                <c:pt idx="1585">
                  <c:v>1403-12-14</c:v>
                </c:pt>
                <c:pt idx="1586">
                  <c:v>1403-12-15</c:v>
                </c:pt>
                <c:pt idx="1587">
                  <c:v>1403-12-18</c:v>
                </c:pt>
                <c:pt idx="1588">
                  <c:v>1403-12-19</c:v>
                </c:pt>
                <c:pt idx="1589">
                  <c:v>1403-12-20</c:v>
                </c:pt>
                <c:pt idx="1590">
                  <c:v>1403-12-21</c:v>
                </c:pt>
                <c:pt idx="1591">
                  <c:v>1403-12-22</c:v>
                </c:pt>
              </c:strCache>
            </c:strRef>
          </c:cat>
          <c:val>
            <c:numRef>
              <c:f>Overall!$B$2:$B$1596</c:f>
              <c:numCache>
                <c:formatCode>#,##0</c:formatCode>
                <c:ptCount val="1595"/>
                <c:pt idx="0">
                  <c:v>141.73126681433715</c:v>
                </c:pt>
                <c:pt idx="1">
                  <c:v>139.08157888076121</c:v>
                </c:pt>
                <c:pt idx="2">
                  <c:v>140.59568627137602</c:v>
                </c:pt>
                <c:pt idx="3">
                  <c:v>141.13643891088134</c:v>
                </c:pt>
                <c:pt idx="4">
                  <c:v>142.05571839804031</c:v>
                </c:pt>
                <c:pt idx="5">
                  <c:v>143.29944946890251</c:v>
                </c:pt>
                <c:pt idx="6">
                  <c:v>144.27280422001203</c:v>
                </c:pt>
                <c:pt idx="7">
                  <c:v>144.27280422001203</c:v>
                </c:pt>
                <c:pt idx="8">
                  <c:v>149.51810482321335</c:v>
                </c:pt>
                <c:pt idx="9">
                  <c:v>145.08393317926996</c:v>
                </c:pt>
                <c:pt idx="10">
                  <c:v>142.86684735729827</c:v>
                </c:pt>
                <c:pt idx="11">
                  <c:v>142.75869682939719</c:v>
                </c:pt>
                <c:pt idx="12">
                  <c:v>142.32609471779298</c:v>
                </c:pt>
                <c:pt idx="13">
                  <c:v>141.94756787013927</c:v>
                </c:pt>
                <c:pt idx="14">
                  <c:v>144.7594815955668</c:v>
                </c:pt>
                <c:pt idx="15">
                  <c:v>142.75869682939719</c:v>
                </c:pt>
                <c:pt idx="16">
                  <c:v>141.13643891088134</c:v>
                </c:pt>
                <c:pt idx="17">
                  <c:v>139.02750361681069</c:v>
                </c:pt>
                <c:pt idx="18">
                  <c:v>139.94678310396969</c:v>
                </c:pt>
                <c:pt idx="19">
                  <c:v>137.62154675409693</c:v>
                </c:pt>
                <c:pt idx="20">
                  <c:v>134.10665459731251</c:v>
                </c:pt>
                <c:pt idx="21">
                  <c:v>134.91778355657047</c:v>
                </c:pt>
                <c:pt idx="22">
                  <c:v>135.18815987632311</c:v>
                </c:pt>
                <c:pt idx="23">
                  <c:v>135.7289125158284</c:v>
                </c:pt>
                <c:pt idx="24">
                  <c:v>133.56590195780723</c:v>
                </c:pt>
                <c:pt idx="25">
                  <c:v>132.48439667879666</c:v>
                </c:pt>
                <c:pt idx="26">
                  <c:v>133.02514931830194</c:v>
                </c:pt>
                <c:pt idx="27">
                  <c:v>134.59333197286728</c:v>
                </c:pt>
                <c:pt idx="28">
                  <c:v>134.10665459731251</c:v>
                </c:pt>
                <c:pt idx="29">
                  <c:v>135.18815987632311</c:v>
                </c:pt>
                <c:pt idx="30">
                  <c:v>136.54004147508635</c:v>
                </c:pt>
                <c:pt idx="31">
                  <c:v>136.21558989138316</c:v>
                </c:pt>
                <c:pt idx="32">
                  <c:v>135.99928883558104</c:v>
                </c:pt>
                <c:pt idx="33">
                  <c:v>135.7289125158284</c:v>
                </c:pt>
                <c:pt idx="34">
                  <c:v>135.78298777977892</c:v>
                </c:pt>
                <c:pt idx="35">
                  <c:v>135.29631040422416</c:v>
                </c:pt>
                <c:pt idx="36">
                  <c:v>136.10743936348211</c:v>
                </c:pt>
                <c:pt idx="37">
                  <c:v>135.18815987632311</c:v>
                </c:pt>
                <c:pt idx="38">
                  <c:v>135.18815987632311</c:v>
                </c:pt>
                <c:pt idx="39">
                  <c:v>138.97342835286017</c:v>
                </c:pt>
                <c:pt idx="40">
                  <c:v>138.86527782495909</c:v>
                </c:pt>
                <c:pt idx="41">
                  <c:v>139.51418099236545</c:v>
                </c:pt>
                <c:pt idx="42">
                  <c:v>140.5416110074255</c:v>
                </c:pt>
                <c:pt idx="43">
                  <c:v>140.59568627137602</c:v>
                </c:pt>
                <c:pt idx="44">
                  <c:v>140.59568627137602</c:v>
                </c:pt>
                <c:pt idx="45">
                  <c:v>142.38016998174351</c:v>
                </c:pt>
                <c:pt idx="46">
                  <c:v>146.16543845828053</c:v>
                </c:pt>
                <c:pt idx="47">
                  <c:v>146.38173951408265</c:v>
                </c:pt>
                <c:pt idx="48">
                  <c:v>146.59804056988477</c:v>
                </c:pt>
                <c:pt idx="49">
                  <c:v>153.3033732997504</c:v>
                </c:pt>
                <c:pt idx="50">
                  <c:v>156.81826545653482</c:v>
                </c:pt>
                <c:pt idx="51">
                  <c:v>186.28928430957325</c:v>
                </c:pt>
                <c:pt idx="52">
                  <c:v>184.93740271081001</c:v>
                </c:pt>
                <c:pt idx="53">
                  <c:v>181.69288687377826</c:v>
                </c:pt>
                <c:pt idx="54">
                  <c:v>186.55966062932589</c:v>
                </c:pt>
                <c:pt idx="55">
                  <c:v>196.07690708461905</c:v>
                </c:pt>
                <c:pt idx="56">
                  <c:v>187.10041326883118</c:v>
                </c:pt>
                <c:pt idx="57">
                  <c:v>178.77282262044969</c:v>
                </c:pt>
                <c:pt idx="58">
                  <c:v>173.20307043354518</c:v>
                </c:pt>
                <c:pt idx="59">
                  <c:v>169.79632880466184</c:v>
                </c:pt>
                <c:pt idx="60">
                  <c:v>174.50087676835787</c:v>
                </c:pt>
                <c:pt idx="61">
                  <c:v>178.44837103674649</c:v>
                </c:pt>
                <c:pt idx="62">
                  <c:v>175.74460783922004</c:v>
                </c:pt>
                <c:pt idx="63">
                  <c:v>156.64760835441416</c:v>
                </c:pt>
                <c:pt idx="64">
                  <c:v>148.31649459605711</c:v>
                </c:pt>
                <c:pt idx="65">
                  <c:v>147.3530324607369</c:v>
                </c:pt>
                <c:pt idx="66">
                  <c:v>145.65280516311302</c:v>
                </c:pt>
                <c:pt idx="67">
                  <c:v>142.81909300040653</c:v>
                </c:pt>
                <c:pt idx="68">
                  <c:v>139.41863840515876</c:v>
                </c:pt>
                <c:pt idx="69">
                  <c:v>140.60879751349549</c:v>
                </c:pt>
                <c:pt idx="70">
                  <c:v>148.76988854209014</c:v>
                </c:pt>
                <c:pt idx="71">
                  <c:v>150.24341886669751</c:v>
                </c:pt>
                <c:pt idx="72">
                  <c:v>149.62000219090208</c:v>
                </c:pt>
                <c:pt idx="73">
                  <c:v>156.64760835441416</c:v>
                </c:pt>
                <c:pt idx="74">
                  <c:v>163.39184330165557</c:v>
                </c:pt>
                <c:pt idx="75">
                  <c:v>171.55293433025022</c:v>
                </c:pt>
                <c:pt idx="76">
                  <c:v>179.60067687233663</c:v>
                </c:pt>
                <c:pt idx="77">
                  <c:v>188.27183609021844</c:v>
                </c:pt>
                <c:pt idx="78">
                  <c:v>187.02500273862762</c:v>
                </c:pt>
                <c:pt idx="79">
                  <c:v>188.7252300362515</c:v>
                </c:pt>
                <c:pt idx="80">
                  <c:v>197.5664119838957</c:v>
                </c:pt>
                <c:pt idx="81">
                  <c:v>207.20103333709773</c:v>
                </c:pt>
                <c:pt idx="82">
                  <c:v>208.27784395892618</c:v>
                </c:pt>
                <c:pt idx="83">
                  <c:v>207.99447274265555</c:v>
                </c:pt>
                <c:pt idx="84">
                  <c:v>202.78044236327563</c:v>
                </c:pt>
                <c:pt idx="85">
                  <c:v>210.26144247282073</c:v>
                </c:pt>
                <c:pt idx="86">
                  <c:v>210.65816217559964</c:v>
                </c:pt>
                <c:pt idx="87">
                  <c:v>210.82818490536204</c:v>
                </c:pt>
                <c:pt idx="88">
                  <c:v>214.90873041965935</c:v>
                </c:pt>
                <c:pt idx="89">
                  <c:v>225.79018512445225</c:v>
                </c:pt>
                <c:pt idx="90">
                  <c:v>231.91100339589823</c:v>
                </c:pt>
                <c:pt idx="91">
                  <c:v>220.97287444785121</c:v>
                </c:pt>
                <c:pt idx="92">
                  <c:v>237.57842772131119</c:v>
                </c:pt>
                <c:pt idx="93">
                  <c:v>234.06462463955515</c:v>
                </c:pt>
                <c:pt idx="94">
                  <c:v>230.66417004430738</c:v>
                </c:pt>
                <c:pt idx="95">
                  <c:v>223.86326085381182</c:v>
                </c:pt>
                <c:pt idx="96">
                  <c:v>218.02581379863648</c:v>
                </c:pt>
                <c:pt idx="97">
                  <c:v>211.96166977044462</c:v>
                </c:pt>
                <c:pt idx="98">
                  <c:v>221.76631385340903</c:v>
                </c:pt>
                <c:pt idx="99">
                  <c:v>226.3002533137394</c:v>
                </c:pt>
                <c:pt idx="100">
                  <c:v>222.72977598872924</c:v>
                </c:pt>
                <c:pt idx="101">
                  <c:v>222.16303355618794</c:v>
                </c:pt>
                <c:pt idx="102">
                  <c:v>227.26371544905962</c:v>
                </c:pt>
                <c:pt idx="103">
                  <c:v>231.11756399034041</c:v>
                </c:pt>
                <c:pt idx="104">
                  <c:v>234.06462463955515</c:v>
                </c:pt>
                <c:pt idx="105">
                  <c:v>237.12503377527815</c:v>
                </c:pt>
                <c:pt idx="106">
                  <c:v>227.37706393556786</c:v>
                </c:pt>
                <c:pt idx="107">
                  <c:v>225.62016239468986</c:v>
                </c:pt>
                <c:pt idx="108">
                  <c:v>221.02954869110536</c:v>
                </c:pt>
                <c:pt idx="109">
                  <c:v>219.83938958276863</c:v>
                </c:pt>
                <c:pt idx="110">
                  <c:v>227.77378363834677</c:v>
                </c:pt>
                <c:pt idx="111">
                  <c:v>230.66417004430738</c:v>
                </c:pt>
                <c:pt idx="112">
                  <c:v>243.35920053323241</c:v>
                </c:pt>
                <c:pt idx="113">
                  <c:v>251.63364004833534</c:v>
                </c:pt>
                <c:pt idx="114">
                  <c:v>258.43454923883087</c:v>
                </c:pt>
                <c:pt idx="115">
                  <c:v>260.58817048248778</c:v>
                </c:pt>
                <c:pt idx="116">
                  <c:v>271.18625397101005</c:v>
                </c:pt>
                <c:pt idx="117">
                  <c:v>265.2354584293264</c:v>
                </c:pt>
                <c:pt idx="118">
                  <c:v>257.24439013049414</c:v>
                </c:pt>
                <c:pt idx="119">
                  <c:v>248.45988242610406</c:v>
                </c:pt>
                <c:pt idx="120">
                  <c:v>234.23464736931754</c:v>
                </c:pt>
                <c:pt idx="121">
                  <c:v>226.4702760435018</c:v>
                </c:pt>
                <c:pt idx="122">
                  <c:v>236.33159436972034</c:v>
                </c:pt>
                <c:pt idx="123">
                  <c:v>239.16530653242683</c:v>
                </c:pt>
                <c:pt idx="124">
                  <c:v>245.39947329038108</c:v>
                </c:pt>
                <c:pt idx="125">
                  <c:v>232.36439734193127</c:v>
                </c:pt>
                <c:pt idx="126">
                  <c:v>240.86553383005071</c:v>
                </c:pt>
                <c:pt idx="127">
                  <c:v>248.34653393959582</c:v>
                </c:pt>
                <c:pt idx="128">
                  <c:v>245.96621572292236</c:v>
                </c:pt>
                <c:pt idx="129">
                  <c:v>243.47254901974065</c:v>
                </c:pt>
                <c:pt idx="130">
                  <c:v>258.09450377930608</c:v>
                </c:pt>
                <c:pt idx="131">
                  <c:v>258.8879431848639</c:v>
                </c:pt>
                <c:pt idx="132">
                  <c:v>257.81113256303547</c:v>
                </c:pt>
                <c:pt idx="133">
                  <c:v>255.0340946435831</c:v>
                </c:pt>
                <c:pt idx="134">
                  <c:v>244.60603388482326</c:v>
                </c:pt>
                <c:pt idx="135">
                  <c:v>242.62243537092871</c:v>
                </c:pt>
                <c:pt idx="136">
                  <c:v>244.43601115506087</c:v>
                </c:pt>
                <c:pt idx="137">
                  <c:v>243.13250356021589</c:v>
                </c:pt>
                <c:pt idx="138">
                  <c:v>240.86553383005071</c:v>
                </c:pt>
                <c:pt idx="139">
                  <c:v>240.69551110028831</c:v>
                </c:pt>
                <c:pt idx="140">
                  <c:v>237.74845045107358</c:v>
                </c:pt>
                <c:pt idx="141">
                  <c:v>240.18544291100116</c:v>
                </c:pt>
                <c:pt idx="142">
                  <c:v>240.4688141272718</c:v>
                </c:pt>
                <c:pt idx="143">
                  <c:v>238.31519288361488</c:v>
                </c:pt>
                <c:pt idx="144">
                  <c:v>230.66417004430738</c:v>
                </c:pt>
                <c:pt idx="145">
                  <c:v>232.47774582843954</c:v>
                </c:pt>
                <c:pt idx="146">
                  <c:v>230.09742761176608</c:v>
                </c:pt>
                <c:pt idx="147">
                  <c:v>233.49788220701387</c:v>
                </c:pt>
                <c:pt idx="148">
                  <c:v>225.96020785421462</c:v>
                </c:pt>
                <c:pt idx="149">
                  <c:v>225.56348815143571</c:v>
                </c:pt>
                <c:pt idx="150">
                  <c:v>226.69697301651831</c:v>
                </c:pt>
                <c:pt idx="151">
                  <c:v>228.9639427466835</c:v>
                </c:pt>
                <c:pt idx="152">
                  <c:v>223.9766093403201</c:v>
                </c:pt>
                <c:pt idx="153">
                  <c:v>215.07875314942174</c:v>
                </c:pt>
                <c:pt idx="154">
                  <c:v>211.96166977044462</c:v>
                </c:pt>
                <c:pt idx="155">
                  <c:v>214.05861677084741</c:v>
                </c:pt>
                <c:pt idx="156">
                  <c:v>211.1682303648868</c:v>
                </c:pt>
                <c:pt idx="157">
                  <c:v>209.69470004027943</c:v>
                </c:pt>
                <c:pt idx="158">
                  <c:v>219.27264715022733</c:v>
                </c:pt>
                <c:pt idx="159">
                  <c:v>228.00048061136329</c:v>
                </c:pt>
                <c:pt idx="160">
                  <c:v>226.69697301651831</c:v>
                </c:pt>
                <c:pt idx="161">
                  <c:v>228.68057153041283</c:v>
                </c:pt>
                <c:pt idx="162">
                  <c:v>226.69697301651831</c:v>
                </c:pt>
                <c:pt idx="163">
                  <c:v>226.07355634072289</c:v>
                </c:pt>
                <c:pt idx="164">
                  <c:v>223.63656388079531</c:v>
                </c:pt>
                <c:pt idx="165">
                  <c:v>222.67310174547512</c:v>
                </c:pt>
                <c:pt idx="166">
                  <c:v>221.02954869110536</c:v>
                </c:pt>
                <c:pt idx="167">
                  <c:v>219.32932139348148</c:v>
                </c:pt>
                <c:pt idx="168">
                  <c:v>217.96913955538236</c:v>
                </c:pt>
                <c:pt idx="169">
                  <c:v>211.96166977044462</c:v>
                </c:pt>
                <c:pt idx="170">
                  <c:v>217.19848230303657</c:v>
                </c:pt>
                <c:pt idx="171">
                  <c:v>211.30435795288633</c:v>
                </c:pt>
                <c:pt idx="172">
                  <c:v>214.39877323671519</c:v>
                </c:pt>
                <c:pt idx="173">
                  <c:v>215.06186222610711</c:v>
                </c:pt>
                <c:pt idx="174">
                  <c:v>210.71494551787129</c:v>
                </c:pt>
                <c:pt idx="175">
                  <c:v>211.45171106164008</c:v>
                </c:pt>
                <c:pt idx="176">
                  <c:v>208.7256785496956</c:v>
                </c:pt>
                <c:pt idx="177">
                  <c:v>205.41023360273607</c:v>
                </c:pt>
                <c:pt idx="178">
                  <c:v>198.92669681757081</c:v>
                </c:pt>
                <c:pt idx="179">
                  <c:v>197.9689016106714</c:v>
                </c:pt>
                <c:pt idx="180">
                  <c:v>200.76861067699275</c:v>
                </c:pt>
                <c:pt idx="181">
                  <c:v>206.22067570088174</c:v>
                </c:pt>
                <c:pt idx="182">
                  <c:v>208.06258956030368</c:v>
                </c:pt>
                <c:pt idx="183">
                  <c:v>206.29435225525862</c:v>
                </c:pt>
                <c:pt idx="184">
                  <c:v>205.92596948337422</c:v>
                </c:pt>
                <c:pt idx="185">
                  <c:v>205.26288049398232</c:v>
                </c:pt>
                <c:pt idx="186">
                  <c:v>204.23140873270603</c:v>
                </c:pt>
                <c:pt idx="187">
                  <c:v>202.90523075392221</c:v>
                </c:pt>
                <c:pt idx="188">
                  <c:v>204.08405562395228</c:v>
                </c:pt>
                <c:pt idx="189">
                  <c:v>203.27361352580661</c:v>
                </c:pt>
                <c:pt idx="190">
                  <c:v>200.32655135073148</c:v>
                </c:pt>
                <c:pt idx="191">
                  <c:v>201.50537622076155</c:v>
                </c:pt>
                <c:pt idx="192">
                  <c:v>199.44243269820896</c:v>
                </c:pt>
                <c:pt idx="193">
                  <c:v>202.53684798203784</c:v>
                </c:pt>
                <c:pt idx="194">
                  <c:v>199.22140303507831</c:v>
                </c:pt>
                <c:pt idx="195">
                  <c:v>196.05331119687256</c:v>
                </c:pt>
                <c:pt idx="196">
                  <c:v>197.37948917565637</c:v>
                </c:pt>
                <c:pt idx="197">
                  <c:v>199.14772648070144</c:v>
                </c:pt>
                <c:pt idx="198">
                  <c:v>195.24286909872691</c:v>
                </c:pt>
                <c:pt idx="199">
                  <c:v>195.24286909872691</c:v>
                </c:pt>
                <c:pt idx="200">
                  <c:v>197.600518838787</c:v>
                </c:pt>
                <c:pt idx="201">
                  <c:v>207.17847090778116</c:v>
                </c:pt>
                <c:pt idx="202">
                  <c:v>207.62053023404241</c:v>
                </c:pt>
                <c:pt idx="203">
                  <c:v>208.50464888656495</c:v>
                </c:pt>
                <c:pt idx="204">
                  <c:v>205.55758671148982</c:v>
                </c:pt>
                <c:pt idx="205">
                  <c:v>205.63080917308434</c:v>
                </c:pt>
                <c:pt idx="206">
                  <c:v>202.01937202273268</c:v>
                </c:pt>
                <c:pt idx="207">
                  <c:v>203.56713080145482</c:v>
                </c:pt>
                <c:pt idx="208">
                  <c:v>206.81005395687265</c:v>
                </c:pt>
                <c:pt idx="209">
                  <c:v>218.16028500083502</c:v>
                </c:pt>
                <c:pt idx="210">
                  <c:v>228.62608245695614</c:v>
                </c:pt>
                <c:pt idx="211">
                  <c:v>239.09187991307729</c:v>
                </c:pt>
                <c:pt idx="212">
                  <c:v>244.6932926360717</c:v>
                </c:pt>
                <c:pt idx="213">
                  <c:v>250.66321935399995</c:v>
                </c:pt>
                <c:pt idx="214">
                  <c:v>246.16734861580707</c:v>
                </c:pt>
                <c:pt idx="215">
                  <c:v>244.10367024417755</c:v>
                </c:pt>
                <c:pt idx="216">
                  <c:v>241.3766666816671</c:v>
                </c:pt>
                <c:pt idx="217">
                  <c:v>246.16734861580707</c:v>
                </c:pt>
                <c:pt idx="218">
                  <c:v>246.68326820871445</c:v>
                </c:pt>
                <c:pt idx="219">
                  <c:v>243.956264646204</c:v>
                </c:pt>
                <c:pt idx="220">
                  <c:v>246.16734861580707</c:v>
                </c:pt>
                <c:pt idx="221">
                  <c:v>243.73515624924372</c:v>
                </c:pt>
                <c:pt idx="222">
                  <c:v>255.74871248408698</c:v>
                </c:pt>
                <c:pt idx="223">
                  <c:v>259.43385243342539</c:v>
                </c:pt>
                <c:pt idx="224">
                  <c:v>266.73042953311551</c:v>
                </c:pt>
                <c:pt idx="225">
                  <c:v>265.33007635236692</c:v>
                </c:pt>
                <c:pt idx="226">
                  <c:v>267.54116032196998</c:v>
                </c:pt>
                <c:pt idx="227">
                  <c:v>266.28821273919488</c:v>
                </c:pt>
                <c:pt idx="228">
                  <c:v>276.38549620038219</c:v>
                </c:pt>
                <c:pt idx="229">
                  <c:v>284.93502088284737</c:v>
                </c:pt>
                <c:pt idx="230">
                  <c:v>280.36544734566769</c:v>
                </c:pt>
                <c:pt idx="231">
                  <c:v>278.30176897403817</c:v>
                </c:pt>
                <c:pt idx="232">
                  <c:v>281.544692129456</c:v>
                </c:pt>
                <c:pt idx="233">
                  <c:v>293.33713996733894</c:v>
                </c:pt>
                <c:pt idx="234">
                  <c:v>285.96686006866213</c:v>
                </c:pt>
                <c:pt idx="235">
                  <c:v>283.68207330007226</c:v>
                </c:pt>
                <c:pt idx="236">
                  <c:v>283.23985650615168</c:v>
                </c:pt>
                <c:pt idx="237">
                  <c:v>294.4426819521405</c:v>
                </c:pt>
                <c:pt idx="238">
                  <c:v>297.24338831363769</c:v>
                </c:pt>
                <c:pt idx="239">
                  <c:v>308.07769976469268</c:v>
                </c:pt>
                <c:pt idx="240">
                  <c:v>302.47628704169824</c:v>
                </c:pt>
                <c:pt idx="241">
                  <c:v>304.17145141839393</c:v>
                </c:pt>
                <c:pt idx="242">
                  <c:v>304.39255981535428</c:v>
                </c:pt>
                <c:pt idx="243">
                  <c:v>294.59008755011405</c:v>
                </c:pt>
                <c:pt idx="244">
                  <c:v>296.28525192680968</c:v>
                </c:pt>
                <c:pt idx="245">
                  <c:v>297.02227991667741</c:v>
                </c:pt>
                <c:pt idx="246">
                  <c:v>292.23159798253744</c:v>
                </c:pt>
                <c:pt idx="247">
                  <c:v>291.34716439469622</c:v>
                </c:pt>
                <c:pt idx="248">
                  <c:v>291.05235319874913</c:v>
                </c:pt>
                <c:pt idx="249">
                  <c:v>290.46273080685501</c:v>
                </c:pt>
                <c:pt idx="250">
                  <c:v>297.61190230857153</c:v>
                </c:pt>
                <c:pt idx="251">
                  <c:v>312.49986770389881</c:v>
                </c:pt>
                <c:pt idx="252">
                  <c:v>308.07769976469268</c:v>
                </c:pt>
                <c:pt idx="253">
                  <c:v>319.35422800966825</c:v>
                </c:pt>
                <c:pt idx="254">
                  <c:v>319.35422800966825</c:v>
                </c:pt>
                <c:pt idx="255">
                  <c:v>315.30057406539601</c:v>
                </c:pt>
                <c:pt idx="256">
                  <c:v>302.77109823764533</c:v>
                </c:pt>
                <c:pt idx="257">
                  <c:v>297.39079391161124</c:v>
                </c:pt>
                <c:pt idx="258">
                  <c:v>305.86661579508961</c:v>
                </c:pt>
                <c:pt idx="259">
                  <c:v>290.46273080685501</c:v>
                </c:pt>
                <c:pt idx="260">
                  <c:v>294.81119594707434</c:v>
                </c:pt>
                <c:pt idx="261">
                  <c:v>297.90671350451862</c:v>
                </c:pt>
                <c:pt idx="262">
                  <c:v>294.81119594707434</c:v>
                </c:pt>
                <c:pt idx="263">
                  <c:v>293.2634371683522</c:v>
                </c:pt>
                <c:pt idx="264">
                  <c:v>288.98867482711961</c:v>
                </c:pt>
                <c:pt idx="265">
                  <c:v>288.76756643015932</c:v>
                </c:pt>
                <c:pt idx="266">
                  <c:v>288.17794403826514</c:v>
                </c:pt>
                <c:pt idx="267">
                  <c:v>294.81119594707434</c:v>
                </c:pt>
                <c:pt idx="268">
                  <c:v>297.61190230857153</c:v>
                </c:pt>
                <c:pt idx="269">
                  <c:v>291.12605599773593</c:v>
                </c:pt>
                <c:pt idx="270">
                  <c:v>294.59008755011405</c:v>
                </c:pt>
                <c:pt idx="271">
                  <c:v>309.40435014645453</c:v>
                </c:pt>
                <c:pt idx="272">
                  <c:v>307.34067177482501</c:v>
                </c:pt>
                <c:pt idx="273">
                  <c:v>301.37074505689674</c:v>
                </c:pt>
                <c:pt idx="274">
                  <c:v>297.75930790654508</c:v>
                </c:pt>
                <c:pt idx="275">
                  <c:v>301.29704225790999</c:v>
                </c:pt>
                <c:pt idx="276">
                  <c:v>299.23336388628047</c:v>
                </c:pt>
                <c:pt idx="277">
                  <c:v>297.75930790654508</c:v>
                </c:pt>
                <c:pt idx="278">
                  <c:v>295.91673793187584</c:v>
                </c:pt>
                <c:pt idx="279">
                  <c:v>301.44444785588348</c:v>
                </c:pt>
                <c:pt idx="280">
                  <c:v>304.24515421738073</c:v>
                </c:pt>
                <c:pt idx="281">
                  <c:v>298.3489302984392</c:v>
                </c:pt>
                <c:pt idx="282">
                  <c:v>300.63371706702907</c:v>
                </c:pt>
                <c:pt idx="283">
                  <c:v>300.48631146905552</c:v>
                </c:pt>
                <c:pt idx="284">
                  <c:v>300.48631146905552</c:v>
                </c:pt>
                <c:pt idx="285">
                  <c:v>311.17321732213696</c:v>
                </c:pt>
                <c:pt idx="286">
                  <c:v>313.23689569376648</c:v>
                </c:pt>
                <c:pt idx="287">
                  <c:v>314.19503208059444</c:v>
                </c:pt>
                <c:pt idx="288">
                  <c:v>329.52521426984231</c:v>
                </c:pt>
                <c:pt idx="289">
                  <c:v>340.87544531380468</c:v>
                </c:pt>
                <c:pt idx="290">
                  <c:v>348.31942801146835</c:v>
                </c:pt>
                <c:pt idx="291">
                  <c:v>343.08652928340774</c:v>
                </c:pt>
                <c:pt idx="292">
                  <c:v>346.40315523781231</c:v>
                </c:pt>
                <c:pt idx="293">
                  <c:v>339.25398373609579</c:v>
                </c:pt>
                <c:pt idx="294">
                  <c:v>334.02108500803524</c:v>
                </c:pt>
                <c:pt idx="295">
                  <c:v>329.45151147085556</c:v>
                </c:pt>
                <c:pt idx="296">
                  <c:v>329.8200254657894</c:v>
                </c:pt>
                <c:pt idx="297">
                  <c:v>327.83004989314668</c:v>
                </c:pt>
                <c:pt idx="298">
                  <c:v>330.18853946072323</c:v>
                </c:pt>
                <c:pt idx="299">
                  <c:v>328.56707788301435</c:v>
                </c:pt>
                <c:pt idx="300">
                  <c:v>324.95564073266269</c:v>
                </c:pt>
                <c:pt idx="301">
                  <c:v>314.85902620338749</c:v>
                </c:pt>
                <c:pt idx="302">
                  <c:v>320.35208408723622</c:v>
                </c:pt>
                <c:pt idx="303">
                  <c:v>338.43339962157177</c:v>
                </c:pt>
                <c:pt idx="304">
                  <c:v>344.68938221151069</c:v>
                </c:pt>
                <c:pt idx="305">
                  <c:v>350.18244009535942</c:v>
                </c:pt>
                <c:pt idx="306">
                  <c:v>343.31611774054846</c:v>
                </c:pt>
                <c:pt idx="307">
                  <c:v>346.36781656490894</c:v>
                </c:pt>
                <c:pt idx="308">
                  <c:v>344.91825962333769</c:v>
                </c:pt>
                <c:pt idx="309">
                  <c:v>343.92645750542056</c:v>
                </c:pt>
                <c:pt idx="310">
                  <c:v>344.84196715272867</c:v>
                </c:pt>
                <c:pt idx="311">
                  <c:v>331.5670772667608</c:v>
                </c:pt>
                <c:pt idx="312">
                  <c:v>330.65156761945269</c:v>
                </c:pt>
                <c:pt idx="313">
                  <c:v>321.42017867576237</c:v>
                </c:pt>
                <c:pt idx="314">
                  <c:v>319.66545185175517</c:v>
                </c:pt>
                <c:pt idx="315">
                  <c:v>318.67364973383798</c:v>
                </c:pt>
                <c:pt idx="316">
                  <c:v>315.31678102704154</c:v>
                </c:pt>
                <c:pt idx="317">
                  <c:v>318.90252714566503</c:v>
                </c:pt>
                <c:pt idx="318">
                  <c:v>318.97881961627405</c:v>
                </c:pt>
                <c:pt idx="319">
                  <c:v>322.48827326428852</c:v>
                </c:pt>
                <c:pt idx="320">
                  <c:v>318.21589491018392</c:v>
                </c:pt>
                <c:pt idx="321">
                  <c:v>317.22409279226679</c:v>
                </c:pt>
                <c:pt idx="322">
                  <c:v>317.98701749835692</c:v>
                </c:pt>
                <c:pt idx="323">
                  <c:v>319.13140455749209</c:v>
                </c:pt>
                <c:pt idx="324">
                  <c:v>315.85082832130462</c:v>
                </c:pt>
                <c:pt idx="325">
                  <c:v>313.6383466736433</c:v>
                </c:pt>
                <c:pt idx="326">
                  <c:v>325.00592479438592</c:v>
                </c:pt>
                <c:pt idx="327">
                  <c:v>320.42837655784524</c:v>
                </c:pt>
                <c:pt idx="328">
                  <c:v>334.9239459735573</c:v>
                </c:pt>
                <c:pt idx="329">
                  <c:v>342.55319303445839</c:v>
                </c:pt>
                <c:pt idx="330">
                  <c:v>355.52291303799018</c:v>
                </c:pt>
                <c:pt idx="331">
                  <c:v>350.18244009535942</c:v>
                </c:pt>
                <c:pt idx="332">
                  <c:v>353.99706362580997</c:v>
                </c:pt>
                <c:pt idx="333">
                  <c:v>358.57461186235065</c:v>
                </c:pt>
                <c:pt idx="334">
                  <c:v>372.30725657197257</c:v>
                </c:pt>
                <c:pt idx="335">
                  <c:v>372.23096410136355</c:v>
                </c:pt>
                <c:pt idx="336">
                  <c:v>379.47874880921961</c:v>
                </c:pt>
                <c:pt idx="337">
                  <c:v>388.32867539986484</c:v>
                </c:pt>
                <c:pt idx="338">
                  <c:v>385.27697657550442</c:v>
                </c:pt>
                <c:pt idx="339">
                  <c:v>381.08089069200884</c:v>
                </c:pt>
                <c:pt idx="340">
                  <c:v>377.64772951460333</c:v>
                </c:pt>
                <c:pt idx="341">
                  <c:v>381.38606057444485</c:v>
                </c:pt>
                <c:pt idx="342">
                  <c:v>381.38606057444485</c:v>
                </c:pt>
                <c:pt idx="343">
                  <c:v>400.15400834426151</c:v>
                </c:pt>
                <c:pt idx="344">
                  <c:v>415.48879493667266</c:v>
                </c:pt>
                <c:pt idx="345">
                  <c:v>411.14012411195904</c:v>
                </c:pt>
                <c:pt idx="346">
                  <c:v>418.84566364346915</c:v>
                </c:pt>
                <c:pt idx="347">
                  <c:v>415.18362505423664</c:v>
                </c:pt>
                <c:pt idx="348">
                  <c:v>410.52978434708695</c:v>
                </c:pt>
                <c:pt idx="349">
                  <c:v>415.10733258362762</c:v>
                </c:pt>
                <c:pt idx="350">
                  <c:v>405.8759436399373</c:v>
                </c:pt>
                <c:pt idx="351">
                  <c:v>396.64455469624698</c:v>
                </c:pt>
                <c:pt idx="352">
                  <c:v>392.90622363640546</c:v>
                </c:pt>
                <c:pt idx="353">
                  <c:v>382.91190998662506</c:v>
                </c:pt>
                <c:pt idx="354">
                  <c:v>382.14898528053499</c:v>
                </c:pt>
                <c:pt idx="355">
                  <c:v>379.86021116226465</c:v>
                </c:pt>
                <c:pt idx="356">
                  <c:v>387.48945822316574</c:v>
                </c:pt>
                <c:pt idx="357">
                  <c:v>400.15400834426151</c:v>
                </c:pt>
                <c:pt idx="358">
                  <c:v>409.69056717038785</c:v>
                </c:pt>
                <c:pt idx="359">
                  <c:v>412.81855846535728</c:v>
                </c:pt>
                <c:pt idx="360">
                  <c:v>405.03672646323821</c:v>
                </c:pt>
                <c:pt idx="361">
                  <c:v>404.3500942277571</c:v>
                </c:pt>
                <c:pt idx="362">
                  <c:v>395.34758269589383</c:v>
                </c:pt>
                <c:pt idx="363">
                  <c:v>411.97934128865819</c:v>
                </c:pt>
                <c:pt idx="364">
                  <c:v>411.21641658256806</c:v>
                </c:pt>
                <c:pt idx="365">
                  <c:v>408.92764246429772</c:v>
                </c:pt>
                <c:pt idx="366">
                  <c:v>410.45349187647798</c:v>
                </c:pt>
                <c:pt idx="367">
                  <c:v>411.44529399439512</c:v>
                </c:pt>
                <c:pt idx="368">
                  <c:v>410.45349187647798</c:v>
                </c:pt>
                <c:pt idx="369">
                  <c:v>408.92764246429772</c:v>
                </c:pt>
                <c:pt idx="370">
                  <c:v>406.40999093420038</c:v>
                </c:pt>
                <c:pt idx="371">
                  <c:v>404.27380175714808</c:v>
                </c:pt>
                <c:pt idx="372">
                  <c:v>406.63886834602744</c:v>
                </c:pt>
                <c:pt idx="373">
                  <c:v>404.27380175714808</c:v>
                </c:pt>
                <c:pt idx="374">
                  <c:v>407.02033069907247</c:v>
                </c:pt>
                <c:pt idx="375">
                  <c:v>403.96863187471206</c:v>
                </c:pt>
                <c:pt idx="376">
                  <c:v>404.3500942277571</c:v>
                </c:pt>
                <c:pt idx="377">
                  <c:v>403.66346199227598</c:v>
                </c:pt>
                <c:pt idx="378">
                  <c:v>400.53547069730655</c:v>
                </c:pt>
                <c:pt idx="379">
                  <c:v>400.15400834426151</c:v>
                </c:pt>
                <c:pt idx="380">
                  <c:v>400.53547069730655</c:v>
                </c:pt>
                <c:pt idx="381">
                  <c:v>402.67165987435885</c:v>
                </c:pt>
                <c:pt idx="382">
                  <c:v>401.67985775644172</c:v>
                </c:pt>
                <c:pt idx="383">
                  <c:v>398.09411163781823</c:v>
                </c:pt>
                <c:pt idx="384">
                  <c:v>396.64455469624698</c:v>
                </c:pt>
                <c:pt idx="385">
                  <c:v>400.84064057974263</c:v>
                </c:pt>
                <c:pt idx="386">
                  <c:v>402.74795234496787</c:v>
                </c:pt>
                <c:pt idx="387">
                  <c:v>407.17291564029051</c:v>
                </c:pt>
                <c:pt idx="388">
                  <c:v>405.8759436399373</c:v>
                </c:pt>
                <c:pt idx="389">
                  <c:v>426.39861823376123</c:v>
                </c:pt>
                <c:pt idx="390">
                  <c:v>438.68170600181196</c:v>
                </c:pt>
                <c:pt idx="391">
                  <c:v>442.03857470860839</c:v>
                </c:pt>
                <c:pt idx="392">
                  <c:v>442.19115964982643</c:v>
                </c:pt>
                <c:pt idx="393">
                  <c:v>463.47675894974043</c:v>
                </c:pt>
                <c:pt idx="394">
                  <c:v>468.43576953932615</c:v>
                </c:pt>
                <c:pt idx="395">
                  <c:v>463.85822130278552</c:v>
                </c:pt>
                <c:pt idx="396">
                  <c:v>463.01900412608637</c:v>
                </c:pt>
                <c:pt idx="397">
                  <c:v>466.90992012714594</c:v>
                </c:pt>
                <c:pt idx="398">
                  <c:v>488.65327425071399</c:v>
                </c:pt>
                <c:pt idx="399">
                  <c:v>488.27181189766895</c:v>
                </c:pt>
                <c:pt idx="400">
                  <c:v>487.12742483853378</c:v>
                </c:pt>
                <c:pt idx="401">
                  <c:v>495.67218154674299</c:v>
                </c:pt>
                <c:pt idx="402">
                  <c:v>495.90105895857005</c:v>
                </c:pt>
                <c:pt idx="403">
                  <c:v>498.18983307684033</c:v>
                </c:pt>
                <c:pt idx="404">
                  <c:v>504.75098554921527</c:v>
                </c:pt>
                <c:pt idx="405">
                  <c:v>511.15955308037218</c:v>
                </c:pt>
                <c:pt idx="406">
                  <c:v>508.56560907966582</c:v>
                </c:pt>
                <c:pt idx="407">
                  <c:v>511.15955308037218</c:v>
                </c:pt>
                <c:pt idx="408">
                  <c:v>514.97417661082272</c:v>
                </c:pt>
                <c:pt idx="409">
                  <c:v>516.72890343482993</c:v>
                </c:pt>
                <c:pt idx="410">
                  <c:v>517.26295072909306</c:v>
                </c:pt>
                <c:pt idx="411">
                  <c:v>522.60342367172382</c:v>
                </c:pt>
                <c:pt idx="412">
                  <c:v>538.47225755839804</c:v>
                </c:pt>
                <c:pt idx="413">
                  <c:v>515.66080884630378</c:v>
                </c:pt>
                <c:pt idx="414">
                  <c:v>531.83481261541408</c:v>
                </c:pt>
                <c:pt idx="415">
                  <c:v>530.08008579140687</c:v>
                </c:pt>
                <c:pt idx="416">
                  <c:v>527.56243426130948</c:v>
                </c:pt>
                <c:pt idx="417">
                  <c:v>528.09648155557261</c:v>
                </c:pt>
                <c:pt idx="418">
                  <c:v>554.4936763862903</c:v>
                </c:pt>
                <c:pt idx="419">
                  <c:v>563.26731050632657</c:v>
                </c:pt>
                <c:pt idx="420">
                  <c:v>579.36502180482785</c:v>
                </c:pt>
                <c:pt idx="421">
                  <c:v>579.82277662848185</c:v>
                </c:pt>
                <c:pt idx="422">
                  <c:v>608.99824799896317</c:v>
                </c:pt>
                <c:pt idx="423">
                  <c:v>602.15445661265562</c:v>
                </c:pt>
                <c:pt idx="424">
                  <c:v>598.8813389931172</c:v>
                </c:pt>
                <c:pt idx="425">
                  <c:v>608.99824799896317</c:v>
                </c:pt>
                <c:pt idx="426">
                  <c:v>603.04712505434782</c:v>
                </c:pt>
                <c:pt idx="427">
                  <c:v>582.21819474819438</c:v>
                </c:pt>
                <c:pt idx="428">
                  <c:v>614.65181479634759</c:v>
                </c:pt>
                <c:pt idx="429">
                  <c:v>634.78644742562938</c:v>
                </c:pt>
                <c:pt idx="430">
                  <c:v>626.85161683280899</c:v>
                </c:pt>
                <c:pt idx="431">
                  <c:v>627.84347065691156</c:v>
                </c:pt>
                <c:pt idx="432">
                  <c:v>619.90864006409117</c:v>
                </c:pt>
                <c:pt idx="433">
                  <c:v>620.30538159373214</c:v>
                </c:pt>
                <c:pt idx="434">
                  <c:v>616.93307859178356</c:v>
                </c:pt>
                <c:pt idx="435">
                  <c:v>629.62880754029607</c:v>
                </c:pt>
                <c:pt idx="436">
                  <c:v>624.86790918460383</c:v>
                </c:pt>
                <c:pt idx="437">
                  <c:v>655.61537773178281</c:v>
                </c:pt>
                <c:pt idx="438">
                  <c:v>662.55835450050063</c:v>
                </c:pt>
                <c:pt idx="439">
                  <c:v>669.50133126921844</c:v>
                </c:pt>
                <c:pt idx="440">
                  <c:v>674.65897115455164</c:v>
                </c:pt>
                <c:pt idx="441">
                  <c:v>687.94981239752576</c:v>
                </c:pt>
                <c:pt idx="442">
                  <c:v>704.01784434798708</c:v>
                </c:pt>
                <c:pt idx="443">
                  <c:v>702.72843437665369</c:v>
                </c:pt>
                <c:pt idx="444">
                  <c:v>730.50034145152495</c:v>
                </c:pt>
                <c:pt idx="445">
                  <c:v>732.78160524696091</c:v>
                </c:pt>
                <c:pt idx="446">
                  <c:v>702.72843437665369</c:v>
                </c:pt>
                <c:pt idx="447">
                  <c:v>704.11702973039723</c:v>
                </c:pt>
                <c:pt idx="448">
                  <c:v>731.8889368052686</c:v>
                </c:pt>
                <c:pt idx="449">
                  <c:v>744.28710960655042</c:v>
                </c:pt>
                <c:pt idx="450">
                  <c:v>763.72744455896031</c:v>
                </c:pt>
                <c:pt idx="451">
                  <c:v>774.63783662408832</c:v>
                </c:pt>
                <c:pt idx="452">
                  <c:v>738.33598666193507</c:v>
                </c:pt>
                <c:pt idx="453">
                  <c:v>703.621102818346</c:v>
                </c:pt>
                <c:pt idx="454">
                  <c:v>718.2013540326534</c:v>
                </c:pt>
                <c:pt idx="455">
                  <c:v>672.57607812393633</c:v>
                </c:pt>
                <c:pt idx="456">
                  <c:v>700.05042905157688</c:v>
                </c:pt>
                <c:pt idx="457">
                  <c:v>708.08444502680743</c:v>
                </c:pt>
                <c:pt idx="458">
                  <c:v>711.15919188152532</c:v>
                </c:pt>
                <c:pt idx="459">
                  <c:v>703.22436128870504</c:v>
                </c:pt>
                <c:pt idx="460">
                  <c:v>668.1127359154749</c:v>
                </c:pt>
                <c:pt idx="461">
                  <c:v>680.21335256952591</c:v>
                </c:pt>
                <c:pt idx="462">
                  <c:v>689.3384077512693</c:v>
                </c:pt>
                <c:pt idx="463">
                  <c:v>698.06672140337173</c:v>
                </c:pt>
                <c:pt idx="464">
                  <c:v>699.45531675711527</c:v>
                </c:pt>
                <c:pt idx="465">
                  <c:v>730.00441453947371</c:v>
                </c:pt>
                <c:pt idx="466">
                  <c:v>716.11846100203809</c:v>
                </c:pt>
                <c:pt idx="467">
                  <c:v>714.13475335383305</c:v>
                </c:pt>
                <c:pt idx="468">
                  <c:v>740.81562122219145</c:v>
                </c:pt>
                <c:pt idx="469">
                  <c:v>763.72744455896031</c:v>
                </c:pt>
                <c:pt idx="470">
                  <c:v>781.58081339280614</c:v>
                </c:pt>
                <c:pt idx="471">
                  <c:v>821.05659559208743</c:v>
                </c:pt>
                <c:pt idx="472">
                  <c:v>827.60283083116428</c:v>
                </c:pt>
                <c:pt idx="473">
                  <c:v>831.37187536275394</c:v>
                </c:pt>
                <c:pt idx="474">
                  <c:v>872.23625291577878</c:v>
                </c:pt>
                <c:pt idx="475">
                  <c:v>909.92669823167557</c:v>
                </c:pt>
                <c:pt idx="476">
                  <c:v>908.73647364275246</c:v>
                </c:pt>
                <c:pt idx="477">
                  <c:v>980.74506127259735</c:v>
                </c:pt>
                <c:pt idx="478">
                  <c:v>1004.6487384334687</c:v>
                </c:pt>
                <c:pt idx="479">
                  <c:v>1008.7153391122891</c:v>
                </c:pt>
                <c:pt idx="480">
                  <c:v>1056.1259519043908</c:v>
                </c:pt>
                <c:pt idx="481">
                  <c:v>1107.3056092280822</c:v>
                </c:pt>
                <c:pt idx="482">
                  <c:v>1220.7736867054134</c:v>
                </c:pt>
                <c:pt idx="483">
                  <c:v>1274.333793206951</c:v>
                </c:pt>
                <c:pt idx="484">
                  <c:v>1338.0108087143344</c:v>
                </c:pt>
                <c:pt idx="485">
                  <c:v>1404.861756458846</c:v>
                </c:pt>
                <c:pt idx="486">
                  <c:v>1367.7664234374106</c:v>
                </c:pt>
                <c:pt idx="487">
                  <c:v>1498.0960159244853</c:v>
                </c:pt>
                <c:pt idx="488">
                  <c:v>1524.1817714983822</c:v>
                </c:pt>
                <c:pt idx="489">
                  <c:v>1600.3561451894577</c:v>
                </c:pt>
                <c:pt idx="490">
                  <c:v>1679.8036365000717</c:v>
                </c:pt>
                <c:pt idx="491">
                  <c:v>1596.0911737458168</c:v>
                </c:pt>
                <c:pt idx="492">
                  <c:v>1532.8108997680743</c:v>
                </c:pt>
                <c:pt idx="493">
                  <c:v>1490.657112243716</c:v>
                </c:pt>
                <c:pt idx="494">
                  <c:v>1419.9379345852046</c:v>
                </c:pt>
                <c:pt idx="495">
                  <c:v>1492.1448929798698</c:v>
                </c:pt>
                <c:pt idx="496">
                  <c:v>1397.522038160487</c:v>
                </c:pt>
                <c:pt idx="497">
                  <c:v>1366.0802719364365</c:v>
                </c:pt>
                <c:pt idx="498">
                  <c:v>1301.6097733697709</c:v>
                </c:pt>
                <c:pt idx="499">
                  <c:v>1237.6352017151567</c:v>
                </c:pt>
                <c:pt idx="500">
                  <c:v>1305.2796325189504</c:v>
                </c:pt>
                <c:pt idx="501">
                  <c:v>1341.5814824811034</c:v>
                </c:pt>
                <c:pt idx="502">
                  <c:v>1348.8220153970522</c:v>
                </c:pt>
                <c:pt idx="503">
                  <c:v>1405.4568687533074</c:v>
                </c:pt>
                <c:pt idx="504">
                  <c:v>1465.6623958763319</c:v>
                </c:pt>
                <c:pt idx="505">
                  <c:v>1534.8937927986897</c:v>
                </c:pt>
                <c:pt idx="506">
                  <c:v>1611.5640934018165</c:v>
                </c:pt>
                <c:pt idx="507">
                  <c:v>1675.2411089092</c:v>
                </c:pt>
                <c:pt idx="508">
                  <c:v>1769.6655929637623</c:v>
                </c:pt>
                <c:pt idx="509">
                  <c:v>1852.7829434235557</c:v>
                </c:pt>
                <c:pt idx="510">
                  <c:v>1944.0334952409899</c:v>
                </c:pt>
                <c:pt idx="511">
                  <c:v>2041.2351700030392</c:v>
                </c:pt>
                <c:pt idx="512">
                  <c:v>1982.7157943809891</c:v>
                </c:pt>
                <c:pt idx="513">
                  <c:v>2143.3961138856016</c:v>
                </c:pt>
                <c:pt idx="514">
                  <c:v>2250.5163268886763</c:v>
                </c:pt>
                <c:pt idx="515">
                  <c:v>2362.595809012264</c:v>
                </c:pt>
                <c:pt idx="516">
                  <c:v>2480.6264140804669</c:v>
                </c:pt>
                <c:pt idx="517">
                  <c:v>2604.6081420932856</c:v>
                </c:pt>
                <c:pt idx="518">
                  <c:v>2710.7365012722576</c:v>
                </c:pt>
                <c:pt idx="519">
                  <c:v>2727.598016282001</c:v>
                </c:pt>
                <c:pt idx="520">
                  <c:v>2856.5390134153322</c:v>
                </c:pt>
                <c:pt idx="521">
                  <c:v>2891.2538972589209</c:v>
                </c:pt>
                <c:pt idx="522">
                  <c:v>3034.0808479296875</c:v>
                </c:pt>
                <c:pt idx="523">
                  <c:v>2999.3659640860988</c:v>
                </c:pt>
                <c:pt idx="524">
                  <c:v>3209.6389747958383</c:v>
                </c:pt>
                <c:pt idx="525">
                  <c:v>3315.7673339748108</c:v>
                </c:pt>
                <c:pt idx="526">
                  <c:v>3150.1277453496855</c:v>
                </c:pt>
                <c:pt idx="527">
                  <c:v>3372.3030019486559</c:v>
                </c:pt>
                <c:pt idx="528">
                  <c:v>3355.4414869389125</c:v>
                </c:pt>
                <c:pt idx="529">
                  <c:v>3522.0729293881404</c:v>
                </c:pt>
                <c:pt idx="530">
                  <c:v>3654.9813418178815</c:v>
                </c:pt>
                <c:pt idx="531">
                  <c:v>3511.1625373230122</c:v>
                </c:pt>
                <c:pt idx="532">
                  <c:v>3686.720664189163</c:v>
                </c:pt>
                <c:pt idx="533">
                  <c:v>3619.6355811858375</c:v>
                </c:pt>
                <c:pt idx="534">
                  <c:v>3549.7198828737487</c:v>
                </c:pt>
                <c:pt idx="535">
                  <c:v>3406.8920991790537</c:v>
                </c:pt>
                <c:pt idx="536">
                  <c:v>3243.0896059907323</c:v>
                </c:pt>
                <c:pt idx="537">
                  <c:v>3170.1775206081256</c:v>
                </c:pt>
                <c:pt idx="538">
                  <c:v>3322.9932612045477</c:v>
                </c:pt>
                <c:pt idx="539">
                  <c:v>3208.1317568346881</c:v>
                </c:pt>
                <c:pt idx="540">
                  <c:v>3164.1847464670896</c:v>
                </c:pt>
                <c:pt idx="541">
                  <c:v>3021.3569627723946</c:v>
                </c:pt>
                <c:pt idx="542">
                  <c:v>3185.1594559607161</c:v>
                </c:pt>
                <c:pt idx="543">
                  <c:v>3298.0233689502302</c:v>
                </c:pt>
                <c:pt idx="544">
                  <c:v>3151.2004024948446</c:v>
                </c:pt>
                <c:pt idx="545">
                  <c:v>3137.217262832427</c:v>
                </c:pt>
                <c:pt idx="546">
                  <c:v>2992.3918877573865</c:v>
                </c:pt>
                <c:pt idx="547">
                  <c:v>2786.639975581812</c:v>
                </c:pt>
                <c:pt idx="548">
                  <c:v>2930.4665549666797</c:v>
                </c:pt>
                <c:pt idx="549">
                  <c:v>2836.5797600904466</c:v>
                </c:pt>
                <c:pt idx="550">
                  <c:v>2699.7447505367877</c:v>
                </c:pt>
                <c:pt idx="551">
                  <c:v>2813.6074592164746</c:v>
                </c:pt>
                <c:pt idx="552">
                  <c:v>2718.7218686500687</c:v>
                </c:pt>
                <c:pt idx="553">
                  <c:v>2837.5785557806194</c:v>
                </c:pt>
                <c:pt idx="554">
                  <c:v>2908.4930497828805</c:v>
                </c:pt>
                <c:pt idx="555">
                  <c:v>3053.3184248579209</c:v>
                </c:pt>
                <c:pt idx="556">
                  <c:v>3205.1353697641698</c:v>
                </c:pt>
                <c:pt idx="557">
                  <c:v>3319.9968741340294</c:v>
                </c:pt>
                <c:pt idx="558">
                  <c:v>3191.1522301017521</c:v>
                </c:pt>
                <c:pt idx="559">
                  <c:v>3348.9619491490375</c:v>
                </c:pt>
                <c:pt idx="560">
                  <c:v>3433.8595828137168</c:v>
                </c:pt>
                <c:pt idx="561">
                  <c:v>3310.0089172323028</c:v>
                </c:pt>
                <c:pt idx="562">
                  <c:v>3166.1823378474351</c:v>
                </c:pt>
                <c:pt idx="563">
                  <c:v>3274.0522723860859</c:v>
                </c:pt>
                <c:pt idx="564">
                  <c:v>3286.037820668158</c:v>
                </c:pt>
                <c:pt idx="565">
                  <c:v>3306.0137344716118</c:v>
                </c:pt>
                <c:pt idx="566">
                  <c:v>3397.9029379674998</c:v>
                </c:pt>
                <c:pt idx="567">
                  <c:v>3538.7331302818493</c:v>
                </c:pt>
                <c:pt idx="568">
                  <c:v>3708.5283976112069</c:v>
                </c:pt>
                <c:pt idx="569">
                  <c:v>3640.610290679464</c:v>
                </c:pt>
                <c:pt idx="570">
                  <c:v>3522.7523992390861</c:v>
                </c:pt>
                <c:pt idx="571">
                  <c:v>3374.9306370935278</c:v>
                </c:pt>
                <c:pt idx="572">
                  <c:v>3339.9727879374836</c:v>
                </c:pt>
                <c:pt idx="573">
                  <c:v>3320.9956698242022</c:v>
                </c:pt>
                <c:pt idx="574">
                  <c:v>3261.0679284138409</c:v>
                </c:pt>
                <c:pt idx="575">
                  <c:v>3054.3172205480932</c:v>
                </c:pt>
                <c:pt idx="576">
                  <c:v>2916.4834153042621</c:v>
                </c:pt>
                <c:pt idx="577">
                  <c:v>2855.5568782037276</c:v>
                </c:pt>
                <c:pt idx="578">
                  <c:v>2931.4653506568525</c:v>
                </c:pt>
                <c:pt idx="579">
                  <c:v>3012.3678015608402</c:v>
                </c:pt>
                <c:pt idx="580">
                  <c:v>2851.561695443037</c:v>
                </c:pt>
                <c:pt idx="581">
                  <c:v>2795.6291367933659</c:v>
                </c:pt>
                <c:pt idx="582">
                  <c:v>2873.5352006268363</c:v>
                </c:pt>
                <c:pt idx="583">
                  <c:v>2848.5653083725188</c:v>
                </c:pt>
                <c:pt idx="584">
                  <c:v>2776.6520186800849</c:v>
                </c:pt>
                <c:pt idx="585">
                  <c:v>2871.5376092464908</c:v>
                </c:pt>
                <c:pt idx="586">
                  <c:v>2836.5797600904466</c:v>
                </c:pt>
                <c:pt idx="587">
                  <c:v>2838.5773514707921</c:v>
                </c:pt>
                <c:pt idx="588">
                  <c:v>2722.7170514107597</c:v>
                </c:pt>
                <c:pt idx="589">
                  <c:v>2606.8567513507273</c:v>
                </c:pt>
                <c:pt idx="590">
                  <c:v>2482.0072900791406</c:v>
                </c:pt>
                <c:pt idx="591">
                  <c:v>2358.1566244977266</c:v>
                </c:pt>
                <c:pt idx="592">
                  <c:v>2370.1421727797992</c:v>
                </c:pt>
                <c:pt idx="593">
                  <c:v>2277.2541735937389</c:v>
                </c:pt>
                <c:pt idx="594">
                  <c:v>2174.3782175059514</c:v>
                </c:pt>
                <c:pt idx="595">
                  <c:v>2073.4998527985094</c:v>
                </c:pt>
                <c:pt idx="596">
                  <c:v>2126.4360243776623</c:v>
                </c:pt>
                <c:pt idx="597">
                  <c:v>2157.3986907730155</c:v>
                </c:pt>
                <c:pt idx="598">
                  <c:v>2046.5323691638469</c:v>
                </c:pt>
                <c:pt idx="599">
                  <c:v>2085.4854010805816</c:v>
                </c:pt>
                <c:pt idx="600">
                  <c:v>2187.3625614781963</c:v>
                </c:pt>
                <c:pt idx="601">
                  <c:v>2078.4938312493728</c:v>
                </c:pt>
                <c:pt idx="602">
                  <c:v>1974.619079471413</c:v>
                </c:pt>
                <c:pt idx="603">
                  <c:v>1932.6696604841597</c:v>
                </c:pt>
                <c:pt idx="604">
                  <c:v>1947.6515958367502</c:v>
                </c:pt>
                <c:pt idx="605">
                  <c:v>2029.5528424309109</c:v>
                </c:pt>
                <c:pt idx="606">
                  <c:v>2085.4854010805816</c:v>
                </c:pt>
                <c:pt idx="607">
                  <c:v>2189.3601528585418</c:v>
                </c:pt>
                <c:pt idx="608">
                  <c:v>2297.2300873971926</c:v>
                </c:pt>
                <c:pt idx="609">
                  <c:v>2395.1120650341163</c:v>
                </c:pt>
                <c:pt idx="610">
                  <c:v>2513.968752164667</c:v>
                </c:pt>
                <c:pt idx="611">
                  <c:v>2596.8687944490002</c:v>
                </c:pt>
                <c:pt idx="612">
                  <c:v>2760.6712876373217</c:v>
                </c:pt>
                <c:pt idx="613">
                  <c:v>2669.7808798316069</c:v>
                </c:pt>
                <c:pt idx="614">
                  <c:v>2586.8808375472736</c:v>
                </c:pt>
                <c:pt idx="615">
                  <c:v>2734.7025996928319</c:v>
                </c:pt>
                <c:pt idx="616">
                  <c:v>2761.6700833274945</c:v>
                </c:pt>
                <c:pt idx="617">
                  <c:v>3192.3358563111033</c:v>
                </c:pt>
                <c:pt idx="618">
                  <c:v>3176.5712347984559</c:v>
                </c:pt>
                <c:pt idx="619">
                  <c:v>3217.9533662691551</c:v>
                </c:pt>
                <c:pt idx="620">
                  <c:v>3119.4244818151087</c:v>
                </c:pt>
                <c:pt idx="621">
                  <c:v>2997.2486650920914</c:v>
                </c:pt>
                <c:pt idx="622">
                  <c:v>2877.0434260581546</c:v>
                </c:pt>
                <c:pt idx="623">
                  <c:v>3020.8955973610623</c:v>
                </c:pt>
                <c:pt idx="624">
                  <c:v>3095.7775495461378</c:v>
                </c:pt>
                <c:pt idx="625">
                  <c:v>3137.1596810168371</c:v>
                </c:pt>
                <c:pt idx="626">
                  <c:v>3133.2185256386751</c:v>
                </c:pt>
                <c:pt idx="627">
                  <c:v>3107.6010156806233</c:v>
                </c:pt>
                <c:pt idx="628">
                  <c:v>3054.3954180754381</c:v>
                </c:pt>
                <c:pt idx="629">
                  <c:v>2918.4255575288544</c:v>
                </c:pt>
                <c:pt idx="630">
                  <c:v>2938.1313344196633</c:v>
                </c:pt>
                <c:pt idx="631">
                  <c:v>2961.7782666886346</c:v>
                </c:pt>
                <c:pt idx="632">
                  <c:v>2888.8668921926401</c:v>
                </c:pt>
                <c:pt idx="633">
                  <c:v>2762.7499200914608</c:v>
                </c:pt>
                <c:pt idx="634">
                  <c:v>2658.3093025701719</c:v>
                </c:pt>
                <c:pt idx="635">
                  <c:v>2699.6914340408712</c:v>
                </c:pt>
                <c:pt idx="636">
                  <c:v>2703.6325894190331</c:v>
                </c:pt>
                <c:pt idx="637">
                  <c:v>2614.9565934103912</c:v>
                </c:pt>
                <c:pt idx="638">
                  <c:v>2522.3394420235877</c:v>
                </c:pt>
                <c:pt idx="639">
                  <c:v>2410.0165137459749</c:v>
                </c:pt>
                <c:pt idx="640">
                  <c:v>2461.2515336620791</c:v>
                </c:pt>
                <c:pt idx="641">
                  <c:v>2331.1934061827378</c:v>
                </c:pt>
                <c:pt idx="642">
                  <c:v>2244.4879878631768</c:v>
                </c:pt>
                <c:pt idx="643">
                  <c:v>2142.0179480309685</c:v>
                </c:pt>
                <c:pt idx="644">
                  <c:v>2051.371374333246</c:v>
                </c:pt>
                <c:pt idx="645">
                  <c:v>1948.9013345010376</c:v>
                </c:pt>
                <c:pt idx="646">
                  <c:v>2027.7244420642749</c:v>
                </c:pt>
                <c:pt idx="647">
                  <c:v>2049.400796644165</c:v>
                </c:pt>
                <c:pt idx="648">
                  <c:v>2145.9591034091304</c:v>
                </c:pt>
                <c:pt idx="649">
                  <c:v>2252.3702986195008</c:v>
                </c:pt>
                <c:pt idx="650">
                  <c:v>2236.6056771068534</c:v>
                </c:pt>
                <c:pt idx="651">
                  <c:v>2100.6358165602692</c:v>
                </c:pt>
                <c:pt idx="652">
                  <c:v>2163.6943026108588</c:v>
                </c:pt>
                <c:pt idx="653">
                  <c:v>2228.7233663505294</c:v>
                </c:pt>
                <c:pt idx="654">
                  <c:v>2153.8414141654544</c:v>
                </c:pt>
                <c:pt idx="655">
                  <c:v>2100.6358165602692</c:v>
                </c:pt>
                <c:pt idx="656">
                  <c:v>2043.4890635769223</c:v>
                </c:pt>
                <c:pt idx="657">
                  <c:v>1931.1661352993094</c:v>
                </c:pt>
                <c:pt idx="658">
                  <c:v>1862.1959161814768</c:v>
                </c:pt>
                <c:pt idx="659">
                  <c:v>1958.7542229464423</c:v>
                </c:pt>
                <c:pt idx="660">
                  <c:v>2053.341952022327</c:v>
                </c:pt>
                <c:pt idx="661">
                  <c:v>2151.8708364763734</c:v>
                </c:pt>
                <c:pt idx="662">
                  <c:v>2270.1054978212287</c:v>
                </c:pt>
                <c:pt idx="663">
                  <c:v>2404.1047806787319</c:v>
                </c:pt>
                <c:pt idx="664">
                  <c:v>2447.4574898385126</c:v>
                </c:pt>
                <c:pt idx="665">
                  <c:v>2408.0459360568939</c:v>
                </c:pt>
                <c:pt idx="666">
                  <c:v>2384.3990037879225</c:v>
                </c:pt>
                <c:pt idx="667">
                  <c:v>2532.1923304689922</c:v>
                </c:pt>
                <c:pt idx="668">
                  <c:v>2469.1338444184025</c:v>
                </c:pt>
                <c:pt idx="669">
                  <c:v>2475.0455774856455</c:v>
                </c:pt>
                <c:pt idx="670">
                  <c:v>2646.485836435686</c:v>
                </c:pt>
                <c:pt idx="671">
                  <c:v>2555.8392627379635</c:v>
                </c:pt>
                <c:pt idx="672">
                  <c:v>2555.8392627379635</c:v>
                </c:pt>
                <c:pt idx="673">
                  <c:v>2506.5748205109403</c:v>
                </c:pt>
                <c:pt idx="674">
                  <c:v>2504.6042428218593</c:v>
                </c:pt>
                <c:pt idx="675">
                  <c:v>2445.4869121494316</c:v>
                </c:pt>
                <c:pt idx="676">
                  <c:v>2425.7811352586223</c:v>
                </c:pt>
                <c:pt idx="677">
                  <c:v>2380.457848409761</c:v>
                </c:pt>
                <c:pt idx="678">
                  <c:v>2380.457848409761</c:v>
                </c:pt>
                <c:pt idx="679">
                  <c:v>2463.22211135116</c:v>
                </c:pt>
                <c:pt idx="680">
                  <c:v>2398.1930476114894</c:v>
                </c:pt>
                <c:pt idx="681">
                  <c:v>2413.9576691241368</c:v>
                </c:pt>
                <c:pt idx="682">
                  <c:v>2471.1044221074835</c:v>
                </c:pt>
                <c:pt idx="683">
                  <c:v>2449.4280675275932</c:v>
                </c:pt>
                <c:pt idx="684">
                  <c:v>2477.0161551747265</c:v>
                </c:pt>
                <c:pt idx="685">
                  <c:v>2632.6917926121196</c:v>
                </c:pt>
                <c:pt idx="686">
                  <c:v>2658.3093025701719</c:v>
                </c:pt>
                <c:pt idx="687">
                  <c:v>2630.7212149230386</c:v>
                </c:pt>
                <c:pt idx="688">
                  <c:v>2595.2508165195823</c:v>
                </c:pt>
                <c:pt idx="689">
                  <c:v>2563.721573494287</c:v>
                </c:pt>
                <c:pt idx="690">
                  <c:v>2518.3982866454257</c:v>
                </c:pt>
                <c:pt idx="691">
                  <c:v>2475.0455774856455</c:v>
                </c:pt>
                <c:pt idx="692">
                  <c:v>2425.7811352586223</c:v>
                </c:pt>
                <c:pt idx="693">
                  <c:v>2435.6340237040267</c:v>
                </c:pt>
                <c:pt idx="694">
                  <c:v>2370.6049599643561</c:v>
                </c:pt>
                <c:pt idx="695">
                  <c:v>2344.9874500063042</c:v>
                </c:pt>
                <c:pt idx="696">
                  <c:v>2301.634740846524</c:v>
                </c:pt>
                <c:pt idx="697">
                  <c:v>2268.1349201321482</c:v>
                </c:pt>
                <c:pt idx="698">
                  <c:v>2244.4879878631768</c:v>
                </c:pt>
                <c:pt idx="699">
                  <c:v>2313.4582069810094</c:v>
                </c:pt>
                <c:pt idx="700">
                  <c:v>2266.1643424430672</c:v>
                </c:pt>
                <c:pt idx="701">
                  <c:v>2240.5468324850149</c:v>
                </c:pt>
                <c:pt idx="702">
                  <c:v>2199.1647010143156</c:v>
                </c:pt>
                <c:pt idx="703">
                  <c:v>2238.5762547959339</c:v>
                </c:pt>
                <c:pt idx="704">
                  <c:v>2195.2235456361536</c:v>
                </c:pt>
                <c:pt idx="705">
                  <c:v>2167.6354579890208</c:v>
                </c:pt>
                <c:pt idx="706">
                  <c:v>2201.1352787033966</c:v>
                </c:pt>
                <c:pt idx="707">
                  <c:v>2161.7237249217778</c:v>
                </c:pt>
                <c:pt idx="708">
                  <c:v>2287.8406970229571</c:v>
                </c:pt>
                <c:pt idx="709">
                  <c:v>2386.3695814770035</c:v>
                </c:pt>
                <c:pt idx="710">
                  <c:v>2390.3107368551655</c:v>
                </c:pt>
                <c:pt idx="711">
                  <c:v>2335.1345615608998</c:v>
                </c:pt>
                <c:pt idx="712">
                  <c:v>2279.9583862666336</c:v>
                </c:pt>
                <c:pt idx="713">
                  <c:v>2212.958744837882</c:v>
                </c:pt>
                <c:pt idx="714">
                  <c:v>2344.9874500063042</c:v>
                </c:pt>
                <c:pt idx="715">
                  <c:v>2364.6932268971136</c:v>
                </c:pt>
                <c:pt idx="716">
                  <c:v>2329.2228284936568</c:v>
                </c:pt>
                <c:pt idx="717">
                  <c:v>2475.0455774856455</c:v>
                </c:pt>
                <c:pt idx="718">
                  <c:v>2579.4861950069344</c:v>
                </c:pt>
                <c:pt idx="719">
                  <c:v>2551.8981073598015</c:v>
                </c:pt>
                <c:pt idx="720">
                  <c:v>2581.4567726960154</c:v>
                </c:pt>
                <c:pt idx="721">
                  <c:v>2536.1334858471541</c:v>
                </c:pt>
                <c:pt idx="722">
                  <c:v>2498.6925097546164</c:v>
                </c:pt>
                <c:pt idx="723">
                  <c:v>2557.8098404270445</c:v>
                </c:pt>
                <c:pt idx="724">
                  <c:v>2429.7222906367842</c:v>
                </c:pt>
                <c:pt idx="725">
                  <c:v>2333.1639838718188</c:v>
                </c:pt>
                <c:pt idx="726">
                  <c:v>2224.7822109723675</c:v>
                </c:pt>
                <c:pt idx="727">
                  <c:v>2256.3114539976623</c:v>
                </c:pt>
                <c:pt idx="728">
                  <c:v>2313.4582069810094</c:v>
                </c:pt>
                <c:pt idx="729">
                  <c:v>2339.0757169390613</c:v>
                </c:pt>
                <c:pt idx="730">
                  <c:v>2447.4574898385126</c:v>
                </c:pt>
                <c:pt idx="731">
                  <c:v>2459.2809559729981</c:v>
                </c:pt>
                <c:pt idx="732">
                  <c:v>2421.8399798804603</c:v>
                </c:pt>
                <c:pt idx="733">
                  <c:v>2413.9576691241368</c:v>
                </c:pt>
                <c:pt idx="734">
                  <c:v>2459.2809559729981</c:v>
                </c:pt>
                <c:pt idx="735">
                  <c:v>2447.4574898385126</c:v>
                </c:pt>
                <c:pt idx="736">
                  <c:v>2402.1342029896509</c:v>
                </c:pt>
                <c:pt idx="737">
                  <c:v>2386.3695814770035</c:v>
                </c:pt>
                <c:pt idx="738">
                  <c:v>2364.6932268971136</c:v>
                </c:pt>
                <c:pt idx="739">
                  <c:v>2380.457848409761</c:v>
                </c:pt>
                <c:pt idx="740">
                  <c:v>2415.9282468132178</c:v>
                </c:pt>
                <c:pt idx="741">
                  <c:v>2366.6638045861946</c:v>
                </c:pt>
                <c:pt idx="742">
                  <c:v>2354.8403384517087</c:v>
                </c:pt>
                <c:pt idx="743">
                  <c:v>2344.9874500063042</c:v>
                </c:pt>
                <c:pt idx="744">
                  <c:v>2276.0172308884717</c:v>
                </c:pt>
                <c:pt idx="745">
                  <c:v>2266.1643424430672</c:v>
                </c:pt>
                <c:pt idx="746">
                  <c:v>2372.5755376534371</c:v>
                </c:pt>
                <c:pt idx="747">
                  <c:v>2447.4574898385126</c:v>
                </c:pt>
                <c:pt idx="748">
                  <c:v>2396.2224699224084</c:v>
                </c:pt>
                <c:pt idx="749">
                  <c:v>2390.3107368551655</c:v>
                </c:pt>
                <c:pt idx="750">
                  <c:v>2400.1636253005704</c:v>
                </c:pt>
                <c:pt idx="751">
                  <c:v>2411.9870914350558</c:v>
                </c:pt>
                <c:pt idx="752">
                  <c:v>2413.9576691241368</c:v>
                </c:pt>
                <c:pt idx="753">
                  <c:v>2337.1051392499803</c:v>
                </c:pt>
                <c:pt idx="754">
                  <c:v>2376.5166930315991</c:v>
                </c:pt>
                <c:pt idx="755">
                  <c:v>2413.9576691241368</c:v>
                </c:pt>
                <c:pt idx="756">
                  <c:v>2526.2805974017497</c:v>
                </c:pt>
                <c:pt idx="757">
                  <c:v>2528.2511750908307</c:v>
                </c:pt>
                <c:pt idx="758">
                  <c:v>2496.7219320655358</c:v>
                </c:pt>
                <c:pt idx="759">
                  <c:v>2559.7804181161255</c:v>
                </c:pt>
                <c:pt idx="760">
                  <c:v>2534.1629081580732</c:v>
                </c:pt>
                <c:pt idx="761">
                  <c:v>2498.6925097546164</c:v>
                </c:pt>
                <c:pt idx="762">
                  <c:v>2500.6630874436973</c:v>
                </c:pt>
                <c:pt idx="763">
                  <c:v>2490.8101989982929</c:v>
                </c:pt>
                <c:pt idx="764">
                  <c:v>2488.8396213092119</c:v>
                </c:pt>
                <c:pt idx="765">
                  <c:v>2514.9477844024595</c:v>
                </c:pt>
                <c:pt idx="766">
                  <c:v>2619.7372754192284</c:v>
                </c:pt>
                <c:pt idx="767">
                  <c:v>2738.6330440728702</c:v>
                </c:pt>
                <c:pt idx="768">
                  <c:v>2704.374941240465</c:v>
                </c:pt>
                <c:pt idx="769">
                  <c:v>2682.2079335253793</c:v>
                </c:pt>
                <c:pt idx="770">
                  <c:v>2732.5874965142107</c:v>
                </c:pt>
                <c:pt idx="771">
                  <c:v>2851.4832651678526</c:v>
                </c:pt>
                <c:pt idx="772">
                  <c:v>2791.0277895812551</c:v>
                </c:pt>
                <c:pt idx="773">
                  <c:v>2801.1037021790212</c:v>
                </c:pt>
                <c:pt idx="774">
                  <c:v>2801.1037021790212</c:v>
                </c:pt>
                <c:pt idx="775">
                  <c:v>2853.498447687406</c:v>
                </c:pt>
                <c:pt idx="776">
                  <c:v>2938.1361135086427</c:v>
                </c:pt>
                <c:pt idx="777">
                  <c:v>2895.8172805980244</c:v>
                </c:pt>
                <c:pt idx="778">
                  <c:v>2907.9083757153435</c:v>
                </c:pt>
                <c:pt idx="779">
                  <c:v>2899.8476456371309</c:v>
                </c:pt>
                <c:pt idx="780">
                  <c:v>2857.5288127265126</c:v>
                </c:pt>
                <c:pt idx="781">
                  <c:v>2901.8628281566839</c:v>
                </c:pt>
                <c:pt idx="782">
                  <c:v>2909.923558234897</c:v>
                </c:pt>
                <c:pt idx="783">
                  <c:v>2932.0905659499826</c:v>
                </c:pt>
                <c:pt idx="784">
                  <c:v>2865.5895428047252</c:v>
                </c:pt>
                <c:pt idx="785">
                  <c:v>2803.1188846985747</c:v>
                </c:pt>
                <c:pt idx="786">
                  <c:v>2795.0581546203616</c:v>
                </c:pt>
                <c:pt idx="787">
                  <c:v>2815.2099798158943</c:v>
                </c:pt>
                <c:pt idx="788">
                  <c:v>2793.0429721008081</c:v>
                </c:pt>
                <c:pt idx="789">
                  <c:v>2791.0277895812551</c:v>
                </c:pt>
                <c:pt idx="790">
                  <c:v>2730.5723139946576</c:v>
                </c:pt>
                <c:pt idx="791">
                  <c:v>2728.5571314751041</c:v>
                </c:pt>
                <c:pt idx="792">
                  <c:v>2754.7545042292963</c:v>
                </c:pt>
                <c:pt idx="793">
                  <c:v>2780.9518769834885</c:v>
                </c:pt>
                <c:pt idx="794">
                  <c:v>2700.3445762013584</c:v>
                </c:pt>
                <c:pt idx="795">
                  <c:v>2641.9042831343145</c:v>
                </c:pt>
                <c:pt idx="796">
                  <c:v>2672.1320209276132</c:v>
                </c:pt>
                <c:pt idx="797">
                  <c:v>2631.8283705365479</c:v>
                </c:pt>
                <c:pt idx="798">
                  <c:v>2512.9326018829061</c:v>
                </c:pt>
                <c:pt idx="799">
                  <c:v>2438.370848659436</c:v>
                </c:pt>
                <c:pt idx="800">
                  <c:v>2498.8263242460334</c:v>
                </c:pt>
                <c:pt idx="801">
                  <c:v>2430.3101185812229</c:v>
                </c:pt>
                <c:pt idx="802">
                  <c:v>2496.8111417264799</c:v>
                </c:pt>
                <c:pt idx="803">
                  <c:v>2549.2058872348648</c:v>
                </c:pt>
                <c:pt idx="804">
                  <c:v>2621.7524579387818</c:v>
                </c:pt>
                <c:pt idx="805">
                  <c:v>2619.7372754192284</c:v>
                </c:pt>
                <c:pt idx="806">
                  <c:v>2633.8435530561014</c:v>
                </c:pt>
                <c:pt idx="807">
                  <c:v>2653.9953782516341</c:v>
                </c:pt>
                <c:pt idx="808">
                  <c:v>2639.889100614761</c:v>
                </c:pt>
                <c:pt idx="809">
                  <c:v>2621.7524579387818</c:v>
                </c:pt>
                <c:pt idx="810">
                  <c:v>2619.7372754192284</c:v>
                </c:pt>
                <c:pt idx="811">
                  <c:v>2587.4943551063766</c:v>
                </c:pt>
                <c:pt idx="812">
                  <c:v>2593.5399026650362</c:v>
                </c:pt>
                <c:pt idx="813">
                  <c:v>2579.4336250281635</c:v>
                </c:pt>
                <c:pt idx="814">
                  <c:v>2498.8263242460334</c:v>
                </c:pt>
                <c:pt idx="815">
                  <c:v>2498.8263242460334</c:v>
                </c:pt>
                <c:pt idx="816">
                  <c:v>2595.5550851845896</c:v>
                </c:pt>
                <c:pt idx="817">
                  <c:v>2684.2231160449328</c:v>
                </c:pt>
                <c:pt idx="818">
                  <c:v>2762.8152343075094</c:v>
                </c:pt>
                <c:pt idx="819">
                  <c:v>2760.8000517879564</c:v>
                </c:pt>
                <c:pt idx="820">
                  <c:v>2714.4508538382315</c:v>
                </c:pt>
                <c:pt idx="821">
                  <c:v>2678.1775684862728</c:v>
                </c:pt>
                <c:pt idx="822">
                  <c:v>2619.7372754192284</c:v>
                </c:pt>
                <c:pt idx="823">
                  <c:v>2649.9650132125275</c:v>
                </c:pt>
                <c:pt idx="824">
                  <c:v>2680.1927510058263</c:v>
                </c:pt>
                <c:pt idx="825">
                  <c:v>2637.873918095208</c:v>
                </c:pt>
                <c:pt idx="826">
                  <c:v>2559.2817998326309</c:v>
                </c:pt>
                <c:pt idx="827">
                  <c:v>2641.9042831343145</c:v>
                </c:pt>
                <c:pt idx="828">
                  <c:v>2680.1927510058263</c:v>
                </c:pt>
                <c:pt idx="829">
                  <c:v>2748.7089566706368</c:v>
                </c:pt>
                <c:pt idx="830">
                  <c:v>2766.8455993466159</c:v>
                </c:pt>
                <c:pt idx="831">
                  <c:v>2682.2079335253793</c:v>
                </c:pt>
                <c:pt idx="832">
                  <c:v>2754.7545042292963</c:v>
                </c:pt>
                <c:pt idx="833">
                  <c:v>2752.7393217097433</c:v>
                </c:pt>
                <c:pt idx="834">
                  <c:v>2801.1037021790212</c:v>
                </c:pt>
                <c:pt idx="835">
                  <c:v>2760.8000517879564</c:v>
                </c:pt>
                <c:pt idx="836">
                  <c:v>2750.7241391901898</c:v>
                </c:pt>
                <c:pt idx="837">
                  <c:v>2668.1016558885067</c:v>
                </c:pt>
                <c:pt idx="838">
                  <c:v>2666.0864733689532</c:v>
                </c:pt>
                <c:pt idx="839">
                  <c:v>2649.9650132125275</c:v>
                </c:pt>
                <c:pt idx="840">
                  <c:v>2666.0864733689532</c:v>
                </c:pt>
                <c:pt idx="841">
                  <c:v>2617.7675481444771</c:v>
                </c:pt>
                <c:pt idx="842">
                  <c:v>2621.7948828339304</c:v>
                </c:pt>
                <c:pt idx="843">
                  <c:v>2674.15023379682</c:v>
                </c:pt>
                <c:pt idx="844">
                  <c:v>2641.9315562811958</c:v>
                </c:pt>
                <c:pt idx="845">
                  <c:v>2593.603540007759</c:v>
                </c:pt>
                <c:pt idx="846">
                  <c:v>2468.7561646347149</c:v>
                </c:pt>
                <c:pt idx="847">
                  <c:v>2517.0841809081512</c:v>
                </c:pt>
                <c:pt idx="848">
                  <c:v>2513.0568462186984</c:v>
                </c:pt>
                <c:pt idx="849">
                  <c:v>2553.3301931132287</c:v>
                </c:pt>
                <c:pt idx="850">
                  <c:v>2476.8108340136209</c:v>
                </c:pt>
                <c:pt idx="851">
                  <c:v>2537.2208543554166</c:v>
                </c:pt>
                <c:pt idx="852">
                  <c:v>2625.8222175233836</c:v>
                </c:pt>
                <c:pt idx="853">
                  <c:v>2722.4782500702563</c:v>
                </c:pt>
                <c:pt idx="854">
                  <c:v>2831.2162866854887</c:v>
                </c:pt>
                <c:pt idx="855">
                  <c:v>2883.5716376483783</c:v>
                </c:pt>
                <c:pt idx="856">
                  <c:v>2923.8449845429086</c:v>
                </c:pt>
                <c:pt idx="857">
                  <c:v>2968.1456661268921</c:v>
                </c:pt>
                <c:pt idx="858">
                  <c:v>2935.9269886112675</c:v>
                </c:pt>
                <c:pt idx="859">
                  <c:v>2915.7903151640025</c:v>
                </c:pt>
                <c:pt idx="860">
                  <c:v>2923.8449845429086</c:v>
                </c:pt>
                <c:pt idx="861">
                  <c:v>2939.9543233007207</c:v>
                </c:pt>
                <c:pt idx="862">
                  <c:v>2923.8449845429086</c:v>
                </c:pt>
                <c:pt idx="863">
                  <c:v>2915.7903151640025</c:v>
                </c:pt>
                <c:pt idx="864">
                  <c:v>2919.8176498534554</c:v>
                </c:pt>
                <c:pt idx="865">
                  <c:v>2879.5443029589251</c:v>
                </c:pt>
                <c:pt idx="866">
                  <c:v>2871.489633580019</c:v>
                </c:pt>
                <c:pt idx="867">
                  <c:v>2839.2709560643948</c:v>
                </c:pt>
                <c:pt idx="868">
                  <c:v>2863.434964201113</c:v>
                </c:pt>
                <c:pt idx="869">
                  <c:v>2855.3802948222069</c:v>
                </c:pt>
                <c:pt idx="870">
                  <c:v>2851.3529601327537</c:v>
                </c:pt>
                <c:pt idx="871">
                  <c:v>2811.0796132382234</c:v>
                </c:pt>
                <c:pt idx="872">
                  <c:v>2734.5602541386156</c:v>
                </c:pt>
                <c:pt idx="873">
                  <c:v>2714.4235806913503</c:v>
                </c:pt>
                <c:pt idx="874">
                  <c:v>2718.4509153808035</c:v>
                </c:pt>
                <c:pt idx="875">
                  <c:v>2613.7402134550243</c:v>
                </c:pt>
                <c:pt idx="876">
                  <c:v>2533.1935196659633</c:v>
                </c:pt>
                <c:pt idx="877">
                  <c:v>2573.4668665604941</c:v>
                </c:pt>
                <c:pt idx="878">
                  <c:v>2658.0408950390079</c:v>
                </c:pt>
                <c:pt idx="879">
                  <c:v>2770.8062663436931</c:v>
                </c:pt>
                <c:pt idx="880">
                  <c:v>2843.2982907538476</c:v>
                </c:pt>
                <c:pt idx="881">
                  <c:v>2847.3256254433009</c:v>
                </c:pt>
                <c:pt idx="882">
                  <c:v>2851.3529601327537</c:v>
                </c:pt>
                <c:pt idx="883">
                  <c:v>2863.434964201113</c:v>
                </c:pt>
                <c:pt idx="884">
                  <c:v>2875.5169682694718</c:v>
                </c:pt>
                <c:pt idx="885">
                  <c:v>2819.1342826171294</c:v>
                </c:pt>
                <c:pt idx="886">
                  <c:v>2803.0249438593173</c:v>
                </c:pt>
                <c:pt idx="887">
                  <c:v>2754.696927585881</c:v>
                </c:pt>
                <c:pt idx="888">
                  <c:v>2823.1616173065827</c:v>
                </c:pt>
                <c:pt idx="889">
                  <c:v>2803.0249438593173</c:v>
                </c:pt>
                <c:pt idx="890">
                  <c:v>2782.888270412052</c:v>
                </c:pt>
                <c:pt idx="891">
                  <c:v>2827.1889519960355</c:v>
                </c:pt>
                <c:pt idx="892">
                  <c:v>2827.1889519960355</c:v>
                </c:pt>
                <c:pt idx="893">
                  <c:v>2827.1889519960355</c:v>
                </c:pt>
                <c:pt idx="894">
                  <c:v>2831.2162866854887</c:v>
                </c:pt>
                <c:pt idx="895">
                  <c:v>2807.0522785487701</c:v>
                </c:pt>
                <c:pt idx="896">
                  <c:v>2859.4076295116597</c:v>
                </c:pt>
                <c:pt idx="897">
                  <c:v>2839.2709560643948</c:v>
                </c:pt>
                <c:pt idx="898">
                  <c:v>2750.6695928964277</c:v>
                </c:pt>
                <c:pt idx="899">
                  <c:v>2718.4509153808035</c:v>
                </c:pt>
                <c:pt idx="900">
                  <c:v>2702.3415766229914</c:v>
                </c:pt>
                <c:pt idx="901">
                  <c:v>2682.204903175726</c:v>
                </c:pt>
                <c:pt idx="902">
                  <c:v>2827.1889519960355</c:v>
                </c:pt>
                <c:pt idx="903">
                  <c:v>2875.5169682694718</c:v>
                </c:pt>
                <c:pt idx="904">
                  <c:v>2871.489633580019</c:v>
                </c:pt>
                <c:pt idx="905">
                  <c:v>2899.6809764061904</c:v>
                </c:pt>
                <c:pt idx="906">
                  <c:v>2871.489633580019</c:v>
                </c:pt>
                <c:pt idx="907">
                  <c:v>2786.9156051015052</c:v>
                </c:pt>
                <c:pt idx="908">
                  <c:v>2794.9702744804113</c:v>
                </c:pt>
                <c:pt idx="909">
                  <c:v>2803.0249438593173</c:v>
                </c:pt>
                <c:pt idx="910">
                  <c:v>2831.2162866854887</c:v>
                </c:pt>
                <c:pt idx="911">
                  <c:v>2867.4622988905658</c:v>
                </c:pt>
                <c:pt idx="912">
                  <c:v>2980.227670195251</c:v>
                </c:pt>
                <c:pt idx="913">
                  <c:v>3060.774363984312</c:v>
                </c:pt>
                <c:pt idx="914">
                  <c:v>3036.6103558475938</c:v>
                </c:pt>
                <c:pt idx="915">
                  <c:v>3036.6103558475938</c:v>
                </c:pt>
                <c:pt idx="916">
                  <c:v>2960.0909967479861</c:v>
                </c:pt>
                <c:pt idx="917">
                  <c:v>3157.4303965311851</c:v>
                </c:pt>
                <c:pt idx="918">
                  <c:v>3153.4030618417319</c:v>
                </c:pt>
                <c:pt idx="919">
                  <c:v>3141.321057773373</c:v>
                </c:pt>
                <c:pt idx="920">
                  <c:v>3044.6650252264999</c:v>
                </c:pt>
                <c:pt idx="921">
                  <c:v>3092.9930414999362</c:v>
                </c:pt>
                <c:pt idx="922">
                  <c:v>3044.6650252264999</c:v>
                </c:pt>
                <c:pt idx="923">
                  <c:v>3088.9657068104834</c:v>
                </c:pt>
                <c:pt idx="924">
                  <c:v>2915.7903151640025</c:v>
                </c:pt>
                <c:pt idx="925">
                  <c:v>2988.282339574157</c:v>
                </c:pt>
                <c:pt idx="926">
                  <c:v>3012.4463477108757</c:v>
                </c:pt>
                <c:pt idx="927">
                  <c:v>3012.4463477108757</c:v>
                </c:pt>
                <c:pt idx="928">
                  <c:v>3024.5283517792345</c:v>
                </c:pt>
                <c:pt idx="929">
                  <c:v>3048.6923599159527</c:v>
                </c:pt>
                <c:pt idx="930">
                  <c:v>3056.7470292948587</c:v>
                </c:pt>
                <c:pt idx="931">
                  <c:v>3044.6650252264999</c:v>
                </c:pt>
                <c:pt idx="932">
                  <c:v>3064.8016986737648</c:v>
                </c:pt>
                <c:pt idx="933">
                  <c:v>3052.7196946054059</c:v>
                </c:pt>
                <c:pt idx="934">
                  <c:v>3056.7470292948587</c:v>
                </c:pt>
                <c:pt idx="935">
                  <c:v>3036.6103558475938</c:v>
                </c:pt>
                <c:pt idx="936">
                  <c:v>3020.5010170897817</c:v>
                </c:pt>
                <c:pt idx="937">
                  <c:v>3056.7470292948587</c:v>
                </c:pt>
                <c:pt idx="938">
                  <c:v>3016.4736824003285</c:v>
                </c:pt>
                <c:pt idx="939">
                  <c:v>3020.5010170897817</c:v>
                </c:pt>
                <c:pt idx="940">
                  <c:v>2980.227670195251</c:v>
                </c:pt>
                <c:pt idx="941">
                  <c:v>2943.981657990174</c:v>
                </c:pt>
                <c:pt idx="942">
                  <c:v>2960.0909967479861</c:v>
                </c:pt>
                <c:pt idx="943">
                  <c:v>2968.1456661268921</c:v>
                </c:pt>
                <c:pt idx="944">
                  <c:v>2960.0909967479861</c:v>
                </c:pt>
                <c:pt idx="945">
                  <c:v>3016.4736824003285</c:v>
                </c:pt>
                <c:pt idx="946">
                  <c:v>3048.6923599159527</c:v>
                </c:pt>
                <c:pt idx="947">
                  <c:v>3068.8290333632181</c:v>
                </c:pt>
                <c:pt idx="948">
                  <c:v>3036.6103558475938</c:v>
                </c:pt>
                <c:pt idx="949">
                  <c:v>3040.6376905370466</c:v>
                </c:pt>
                <c:pt idx="950">
                  <c:v>3016.4736824003285</c:v>
                </c:pt>
                <c:pt idx="951">
                  <c:v>3004.3916783319692</c:v>
                </c:pt>
                <c:pt idx="952">
                  <c:v>2984.2550048847042</c:v>
                </c:pt>
                <c:pt idx="953">
                  <c:v>2980.227670195251</c:v>
                </c:pt>
                <c:pt idx="954">
                  <c:v>2972.1730008163449</c:v>
                </c:pt>
                <c:pt idx="955">
                  <c:v>2952.03632736908</c:v>
                </c:pt>
                <c:pt idx="956">
                  <c:v>2992.3096742636103</c:v>
                </c:pt>
                <c:pt idx="957">
                  <c:v>2984.2550048847042</c:v>
                </c:pt>
                <c:pt idx="958">
                  <c:v>2919.8176498534554</c:v>
                </c:pt>
                <c:pt idx="959">
                  <c:v>2952.03632736908</c:v>
                </c:pt>
                <c:pt idx="960">
                  <c:v>3000.3643436425164</c:v>
                </c:pt>
                <c:pt idx="961">
                  <c:v>2988.282339574157</c:v>
                </c:pt>
                <c:pt idx="962">
                  <c:v>3036.6103558475938</c:v>
                </c:pt>
                <c:pt idx="963">
                  <c:v>3109.1023802577483</c:v>
                </c:pt>
                <c:pt idx="964">
                  <c:v>3084.9383721210302</c:v>
                </c:pt>
                <c:pt idx="965">
                  <c:v>3024.5283517792345</c:v>
                </c:pt>
                <c:pt idx="966">
                  <c:v>3020.5010170897817</c:v>
                </c:pt>
                <c:pt idx="967">
                  <c:v>2992.3096742636103</c:v>
                </c:pt>
                <c:pt idx="968">
                  <c:v>2964.1183314374389</c:v>
                </c:pt>
                <c:pt idx="969">
                  <c:v>2935.9269886112675</c:v>
                </c:pt>
                <c:pt idx="970">
                  <c:v>2891.6263070272844</c:v>
                </c:pt>
                <c:pt idx="971">
                  <c:v>2794.9702744804113</c:v>
                </c:pt>
                <c:pt idx="972">
                  <c:v>2702.3415766229914</c:v>
                </c:pt>
                <c:pt idx="973">
                  <c:v>2714.4235806913503</c:v>
                </c:pt>
                <c:pt idx="974">
                  <c:v>2714.4235806913503</c:v>
                </c:pt>
                <c:pt idx="975">
                  <c:v>2718.4509153808035</c:v>
                </c:pt>
                <c:pt idx="976">
                  <c:v>2649.9862256601018</c:v>
                </c:pt>
                <c:pt idx="977">
                  <c:v>2654.0135603495546</c:v>
                </c:pt>
                <c:pt idx="978">
                  <c:v>2694.2869072440853</c:v>
                </c:pt>
                <c:pt idx="979">
                  <c:v>2585.5488706288529</c:v>
                </c:pt>
                <c:pt idx="980">
                  <c:v>2593.603540007759</c:v>
                </c:pt>
                <c:pt idx="981">
                  <c:v>2521.1115155976045</c:v>
                </c:pt>
                <c:pt idx="982">
                  <c:v>2496.9475074608863</c:v>
                </c:pt>
                <c:pt idx="983">
                  <c:v>2513.0568462186984</c:v>
                </c:pt>
                <c:pt idx="984">
                  <c:v>2452.6468258769028</c:v>
                </c:pt>
                <c:pt idx="985">
                  <c:v>2460.7014952558088</c:v>
                </c:pt>
                <c:pt idx="986">
                  <c:v>2418.3203844116579</c:v>
                </c:pt>
                <c:pt idx="987">
                  <c:v>2413.7661087347997</c:v>
                </c:pt>
                <c:pt idx="988">
                  <c:v>2454.754589826523</c:v>
                </c:pt>
                <c:pt idx="989">
                  <c:v>2463.8631411802389</c:v>
                </c:pt>
                <c:pt idx="990">
                  <c:v>2450.2003141496648</c:v>
                </c:pt>
                <c:pt idx="991">
                  <c:v>2486.6345195645295</c:v>
                </c:pt>
                <c:pt idx="992">
                  <c:v>2504.8516222719618</c:v>
                </c:pt>
                <c:pt idx="993">
                  <c:v>2559.5029303942592</c:v>
                </c:pt>
                <c:pt idx="994">
                  <c:v>2550.3943790405433</c:v>
                </c:pt>
                <c:pt idx="995">
                  <c:v>2527.6230006562528</c:v>
                </c:pt>
                <c:pt idx="996">
                  <c:v>2600.4914114859826</c:v>
                </c:pt>
                <c:pt idx="997">
                  <c:v>2545.8401033636851</c:v>
                </c:pt>
                <c:pt idx="998">
                  <c:v>2541.2858276868269</c:v>
                </c:pt>
                <c:pt idx="999">
                  <c:v>2486.6345195645295</c:v>
                </c:pt>
                <c:pt idx="1000">
                  <c:v>2477.5259682108135</c:v>
                </c:pt>
                <c:pt idx="1001">
                  <c:v>2441.0917627959484</c:v>
                </c:pt>
                <c:pt idx="1002">
                  <c:v>2427.4289357653743</c:v>
                </c:pt>
                <c:pt idx="1003">
                  <c:v>2427.4289357653743</c:v>
                </c:pt>
                <c:pt idx="1004">
                  <c:v>2486.6345195645295</c:v>
                </c:pt>
                <c:pt idx="1005">
                  <c:v>2504.8516222719618</c:v>
                </c:pt>
                <c:pt idx="1006">
                  <c:v>2482.0802438876713</c:v>
                </c:pt>
                <c:pt idx="1007">
                  <c:v>2459.3088655033807</c:v>
                </c:pt>
                <c:pt idx="1008">
                  <c:v>2436.5374871190902</c:v>
                </c:pt>
                <c:pt idx="1009">
                  <c:v>2436.5374871190902</c:v>
                </c:pt>
                <c:pt idx="1010">
                  <c:v>2386.4404546736509</c:v>
                </c:pt>
                <c:pt idx="1011">
                  <c:v>2381.8861789967928</c:v>
                </c:pt>
                <c:pt idx="1012">
                  <c:v>2381.8861789967928</c:v>
                </c:pt>
                <c:pt idx="1013">
                  <c:v>2363.6690762893604</c:v>
                </c:pt>
                <c:pt idx="1014">
                  <c:v>2354.5605249356445</c:v>
                </c:pt>
                <c:pt idx="1015">
                  <c:v>2299.909216813347</c:v>
                </c:pt>
                <c:pt idx="1016">
                  <c:v>2309.017768167063</c:v>
                </c:pt>
                <c:pt idx="1017">
                  <c:v>2313.5720438439212</c:v>
                </c:pt>
                <c:pt idx="1018">
                  <c:v>2322.6805951976376</c:v>
                </c:pt>
                <c:pt idx="1019">
                  <c:v>2318.1263195207794</c:v>
                </c:pt>
                <c:pt idx="1020">
                  <c:v>2299.909216813347</c:v>
                </c:pt>
                <c:pt idx="1021">
                  <c:v>2295.3549411364888</c:v>
                </c:pt>
                <c:pt idx="1022">
                  <c:v>2290.8006654596306</c:v>
                </c:pt>
                <c:pt idx="1023">
                  <c:v>2286.2463897827724</c:v>
                </c:pt>
                <c:pt idx="1024">
                  <c:v>2217.9322546299009</c:v>
                </c:pt>
                <c:pt idx="1025">
                  <c:v>2245.2579086910496</c:v>
                </c:pt>
                <c:pt idx="1026">
                  <c:v>2258.9207357216237</c:v>
                </c:pt>
                <c:pt idx="1027">
                  <c:v>2205.1802827346983</c:v>
                </c:pt>
                <c:pt idx="1028">
                  <c:v>2222.9419578744451</c:v>
                </c:pt>
                <c:pt idx="1029">
                  <c:v>2213.3779789530427</c:v>
                </c:pt>
                <c:pt idx="1030">
                  <c:v>2205.1802827346983</c:v>
                </c:pt>
                <c:pt idx="1031">
                  <c:v>2208.8237032761845</c:v>
                </c:pt>
                <c:pt idx="1032">
                  <c:v>2204.7248551670123</c:v>
                </c:pt>
                <c:pt idx="1033">
                  <c:v>2224.3082405775021</c:v>
                </c:pt>
                <c:pt idx="1034">
                  <c:v>2274.8607005906274</c:v>
                </c:pt>
                <c:pt idx="1035">
                  <c:v>2249.3567568002218</c:v>
                </c:pt>
                <c:pt idx="1036">
                  <c:v>2240.7036330141914</c:v>
                </c:pt>
                <c:pt idx="1037">
                  <c:v>2213.3779789530427</c:v>
                </c:pt>
                <c:pt idx="1038">
                  <c:v>2214.7442616561002</c:v>
                </c:pt>
                <c:pt idx="1039">
                  <c:v>2216.1105443591578</c:v>
                </c:pt>
                <c:pt idx="1040">
                  <c:v>2216.1105443591578</c:v>
                </c:pt>
                <c:pt idx="1041">
                  <c:v>2207.0019930054414</c:v>
                </c:pt>
                <c:pt idx="1042">
                  <c:v>2204.7248551670123</c:v>
                </c:pt>
                <c:pt idx="1043">
                  <c:v>2149.1626919093433</c:v>
                </c:pt>
                <c:pt idx="1044">
                  <c:v>2154.1723951538875</c:v>
                </c:pt>
                <c:pt idx="1045">
                  <c:v>2118.1936173067083</c:v>
                </c:pt>
                <c:pt idx="1046">
                  <c:v>2151.8952573154584</c:v>
                </c:pt>
                <c:pt idx="1047">
                  <c:v>2254.366460044766</c:v>
                </c:pt>
                <c:pt idx="1048">
                  <c:v>2241.6144881495629</c:v>
                </c:pt>
                <c:pt idx="1049">
                  <c:v>2250.7230395032793</c:v>
                </c:pt>
                <c:pt idx="1050">
                  <c:v>2294.8995135688028</c:v>
                </c:pt>
                <c:pt idx="1051">
                  <c:v>2428.3397909007458</c:v>
                </c:pt>
                <c:pt idx="1052">
                  <c:v>2559.5029303942592</c:v>
                </c:pt>
                <c:pt idx="1053">
                  <c:v>2723.4568547611516</c:v>
                </c:pt>
                <c:pt idx="1054">
                  <c:v>2675.1815325864554</c:v>
                </c:pt>
                <c:pt idx="1055">
                  <c:v>2741.6739574685839</c:v>
                </c:pt>
                <c:pt idx="1056">
                  <c:v>2850.9765737131784</c:v>
                </c:pt>
                <c:pt idx="1057">
                  <c:v>2796.3252655908814</c:v>
                </c:pt>
                <c:pt idx="1058">
                  <c:v>2782.6624385603068</c:v>
                </c:pt>
                <c:pt idx="1059">
                  <c:v>2796.3252655908814</c:v>
                </c:pt>
                <c:pt idx="1060">
                  <c:v>2773.5538872065908</c:v>
                </c:pt>
                <c:pt idx="1061">
                  <c:v>2709.794027730577</c:v>
                </c:pt>
                <c:pt idx="1062">
                  <c:v>2709.794027730577</c:v>
                </c:pt>
                <c:pt idx="1063">
                  <c:v>2723.4568547611516</c:v>
                </c:pt>
                <c:pt idx="1064">
                  <c:v>2723.4568547611516</c:v>
                </c:pt>
                <c:pt idx="1065">
                  <c:v>2705.2397520537188</c:v>
                </c:pt>
                <c:pt idx="1066">
                  <c:v>2709.794027730577</c:v>
                </c:pt>
                <c:pt idx="1067">
                  <c:v>2723.4568547611516</c:v>
                </c:pt>
                <c:pt idx="1068">
                  <c:v>2700.6854763768611</c:v>
                </c:pt>
                <c:pt idx="1069">
                  <c:v>2773.5538872065908</c:v>
                </c:pt>
                <c:pt idx="1070">
                  <c:v>2796.3252655908814</c:v>
                </c:pt>
                <c:pt idx="1071">
                  <c:v>2828.2051953288878</c:v>
                </c:pt>
                <c:pt idx="1072">
                  <c:v>2841.8680223594624</c:v>
                </c:pt>
                <c:pt idx="1073">
                  <c:v>2832.759471005746</c:v>
                </c:pt>
                <c:pt idx="1074">
                  <c:v>2809.9880926214555</c:v>
                </c:pt>
                <c:pt idx="1075">
                  <c:v>2759.8910601760163</c:v>
                </c:pt>
                <c:pt idx="1076">
                  <c:v>2750.7825088223003</c:v>
                </c:pt>
                <c:pt idx="1077">
                  <c:v>2846.4222980363206</c:v>
                </c:pt>
                <c:pt idx="1078">
                  <c:v>2978.4962926652056</c:v>
                </c:pt>
                <c:pt idx="1079">
                  <c:v>3133.3416656783816</c:v>
                </c:pt>
                <c:pt idx="1080">
                  <c:v>3137.8959413552398</c:v>
                </c:pt>
                <c:pt idx="1081">
                  <c:v>3133.3416656783816</c:v>
                </c:pt>
                <c:pt idx="1082">
                  <c:v>3238.0900062461183</c:v>
                </c:pt>
                <c:pt idx="1083">
                  <c:v>3178.8844224469626</c:v>
                </c:pt>
                <c:pt idx="1084">
                  <c:v>3156.1130440626721</c:v>
                </c:pt>
                <c:pt idx="1085">
                  <c:v>3169.7758710932467</c:v>
                </c:pt>
                <c:pt idx="1086">
                  <c:v>3329.1755197832804</c:v>
                </c:pt>
                <c:pt idx="1087">
                  <c:v>3283.6327630146993</c:v>
                </c:pt>
                <c:pt idx="1088">
                  <c:v>3274.5242116609829</c:v>
                </c:pt>
                <c:pt idx="1089">
                  <c:v>3502.2379955038887</c:v>
                </c:pt>
                <c:pt idx="1090">
                  <c:v>3329.1755197832804</c:v>
                </c:pt>
                <c:pt idx="1091">
                  <c:v>3347.3926224907127</c:v>
                </c:pt>
                <c:pt idx="1092">
                  <c:v>3397.489654936152</c:v>
                </c:pt>
                <c:pt idx="1093">
                  <c:v>3306.4041413989899</c:v>
                </c:pt>
                <c:pt idx="1094">
                  <c:v>3356.5011738444291</c:v>
                </c:pt>
                <c:pt idx="1095">
                  <c:v>3365.6097251981455</c:v>
                </c:pt>
                <c:pt idx="1096">
                  <c:v>3370.1640008750032</c:v>
                </c:pt>
                <c:pt idx="1097">
                  <c:v>3433.9238603510171</c:v>
                </c:pt>
                <c:pt idx="1098">
                  <c:v>3497.6837198270305</c:v>
                </c:pt>
                <c:pt idx="1099">
                  <c:v>3429.3695846741589</c:v>
                </c:pt>
                <c:pt idx="1100">
                  <c:v>3561.4435793030443</c:v>
                </c:pt>
                <c:pt idx="1101">
                  <c:v>3602.4320603947672</c:v>
                </c:pt>
                <c:pt idx="1102">
                  <c:v>3597.877784717909</c:v>
                </c:pt>
                <c:pt idx="1103">
                  <c:v>3597.877784717909</c:v>
                </c:pt>
                <c:pt idx="1104">
                  <c:v>3465.803790089024</c:v>
                </c:pt>
                <c:pt idx="1105">
                  <c:v>3534.1179252418956</c:v>
                </c:pt>
                <c:pt idx="1106">
                  <c:v>3565.9978549799021</c:v>
                </c:pt>
                <c:pt idx="1107">
                  <c:v>3525.0093738881792</c:v>
                </c:pt>
                <c:pt idx="1108">
                  <c:v>3465.803790089024</c:v>
                </c:pt>
                <c:pt idx="1109">
                  <c:v>3443.032411704733</c:v>
                </c:pt>
                <c:pt idx="1110">
                  <c:v>3411.1524819667266</c:v>
                </c:pt>
                <c:pt idx="1111">
                  <c:v>3415.7067576435848</c:v>
                </c:pt>
                <c:pt idx="1112">
                  <c:v>3397.489654936152</c:v>
                </c:pt>
                <c:pt idx="1113">
                  <c:v>3447.5866873815912</c:v>
                </c:pt>
                <c:pt idx="1114">
                  <c:v>3406.5982062898684</c:v>
                </c:pt>
                <c:pt idx="1115">
                  <c:v>3433.9238603510171</c:v>
                </c:pt>
                <c:pt idx="1116">
                  <c:v>3629.7577144559159</c:v>
                </c:pt>
                <c:pt idx="1117">
                  <c:v>3584.2149576873348</c:v>
                </c:pt>
                <c:pt idx="1118">
                  <c:v>3552.3350279493279</c:v>
                </c:pt>
                <c:pt idx="1119">
                  <c:v>3543.2264765956115</c:v>
                </c:pt>
                <c:pt idx="1120">
                  <c:v>3529.5636495650374</c:v>
                </c:pt>
                <c:pt idx="1121">
                  <c:v>3520.455098211321</c:v>
                </c:pt>
                <c:pt idx="1122">
                  <c:v>3606.9863360716254</c:v>
                </c:pt>
                <c:pt idx="1123">
                  <c:v>3834.7001199145311</c:v>
                </c:pt>
                <c:pt idx="1124">
                  <c:v>4098.8481091723015</c:v>
                </c:pt>
                <c:pt idx="1125">
                  <c:v>4167.1622443251736</c:v>
                </c:pt>
                <c:pt idx="1126">
                  <c:v>4399.430303844937</c:v>
                </c:pt>
                <c:pt idx="1127">
                  <c:v>4690.9039471638562</c:v>
                </c:pt>
                <c:pt idx="1128">
                  <c:v>4722.7838769018626</c:v>
                </c:pt>
                <c:pt idx="1129">
                  <c:v>4668.1325687795652</c:v>
                </c:pt>
                <c:pt idx="1130">
                  <c:v>4563.3842282118294</c:v>
                </c:pt>
                <c:pt idx="1131">
                  <c:v>4467.7444389978082</c:v>
                </c:pt>
                <c:pt idx="1132">
                  <c:v>4481.4072660283828</c:v>
                </c:pt>
                <c:pt idx="1133">
                  <c:v>4385.7674768143625</c:v>
                </c:pt>
                <c:pt idx="1134">
                  <c:v>4881.9363943536182</c:v>
                </c:pt>
                <c:pt idx="1135">
                  <c:v>5127.7401848385553</c:v>
                </c:pt>
                <c:pt idx="1136">
                  <c:v>5469.1343382898576</c:v>
                </c:pt>
                <c:pt idx="1137">
                  <c:v>5441.8228060137535</c:v>
                </c:pt>
                <c:pt idx="1138">
                  <c:v>5598.8641166013522</c:v>
                </c:pt>
                <c:pt idx="1139">
                  <c:v>5496.4458705659617</c:v>
                </c:pt>
                <c:pt idx="1140">
                  <c:v>5510.1016367040138</c:v>
                </c:pt>
                <c:pt idx="1141">
                  <c:v>5434.9949229447275</c:v>
                </c:pt>
                <c:pt idx="1142">
                  <c:v>5421.3391568066754</c:v>
                </c:pt>
                <c:pt idx="1143">
                  <c:v>5469.1343382898576</c:v>
                </c:pt>
                <c:pt idx="1144">
                  <c:v>5626.1756488774563</c:v>
                </c:pt>
                <c:pt idx="1145">
                  <c:v>5626.1756488774563</c:v>
                </c:pt>
                <c:pt idx="1146">
                  <c:v>5421.3391568066754</c:v>
                </c:pt>
                <c:pt idx="1147">
                  <c:v>5394.0276245305713</c:v>
                </c:pt>
                <c:pt idx="1148">
                  <c:v>5530.5852859110919</c:v>
                </c:pt>
                <c:pt idx="1149">
                  <c:v>5537.4131689801179</c:v>
                </c:pt>
                <c:pt idx="1150">
                  <c:v>5516.9295197730398</c:v>
                </c:pt>
                <c:pt idx="1151">
                  <c:v>5448.6506890827795</c:v>
                </c:pt>
                <c:pt idx="1152">
                  <c:v>5434.9949229447275</c:v>
                </c:pt>
                <c:pt idx="1153">
                  <c:v>5475.9622213588837</c:v>
                </c:pt>
                <c:pt idx="1154">
                  <c:v>5462.3064552208316</c:v>
                </c:pt>
                <c:pt idx="1155">
                  <c:v>5503.2737536349878</c:v>
                </c:pt>
                <c:pt idx="1156">
                  <c:v>5865.1515562933682</c:v>
                </c:pt>
                <c:pt idx="1157">
                  <c:v>5974.3976853977847</c:v>
                </c:pt>
                <c:pt idx="1158">
                  <c:v>5974.3976853977847</c:v>
                </c:pt>
                <c:pt idx="1159">
                  <c:v>5981.2255684668107</c:v>
                </c:pt>
                <c:pt idx="1160">
                  <c:v>5831.0121409482381</c:v>
                </c:pt>
                <c:pt idx="1161">
                  <c:v>5844.6679070862901</c:v>
                </c:pt>
                <c:pt idx="1162">
                  <c:v>5448.6506890827795</c:v>
                </c:pt>
                <c:pt idx="1163">
                  <c:v>5196.0190155288165</c:v>
                </c:pt>
                <c:pt idx="1164">
                  <c:v>5380.3718583925192</c:v>
                </c:pt>
                <c:pt idx="1165">
                  <c:v>5312.093027702259</c:v>
                </c:pt>
                <c:pt idx="1166">
                  <c:v>5243.8141970119987</c:v>
                </c:pt>
                <c:pt idx="1167">
                  <c:v>5510.1016367040138</c:v>
                </c:pt>
                <c:pt idx="1168">
                  <c:v>5394.0276245305713</c:v>
                </c:pt>
                <c:pt idx="1169">
                  <c:v>5394.0276245305713</c:v>
                </c:pt>
                <c:pt idx="1170">
                  <c:v>5339.4045599783631</c:v>
                </c:pt>
                <c:pt idx="1171">
                  <c:v>5407.6833906686234</c:v>
                </c:pt>
                <c:pt idx="1172">
                  <c:v>5312.093027702259</c:v>
                </c:pt>
                <c:pt idx="1173">
                  <c:v>5264.2978462190767</c:v>
                </c:pt>
                <c:pt idx="1174">
                  <c:v>5236.9863139429726</c:v>
                </c:pt>
                <c:pt idx="1175">
                  <c:v>5182.3632493907644</c:v>
                </c:pt>
                <c:pt idx="1176">
                  <c:v>5161.8796001836854</c:v>
                </c:pt>
                <c:pt idx="1177">
                  <c:v>5134.5680679075813</c:v>
                </c:pt>
                <c:pt idx="1178">
                  <c:v>5127.7401848385553</c:v>
                </c:pt>
                <c:pt idx="1179">
                  <c:v>5127.7401848385553</c:v>
                </c:pt>
                <c:pt idx="1180">
                  <c:v>5120.9123017695292</c:v>
                </c:pt>
                <c:pt idx="1181">
                  <c:v>5127.7401848385553</c:v>
                </c:pt>
                <c:pt idx="1182">
                  <c:v>5148.2238340456333</c:v>
                </c:pt>
                <c:pt idx="1183">
                  <c:v>4888.7642774226442</c:v>
                </c:pt>
                <c:pt idx="1184">
                  <c:v>4881.9363943536182</c:v>
                </c:pt>
                <c:pt idx="1185">
                  <c:v>4718.0672006969935</c:v>
                </c:pt>
                <c:pt idx="1186">
                  <c:v>4772.6902652492017</c:v>
                </c:pt>
                <c:pt idx="1187">
                  <c:v>4793.1739144562798</c:v>
                </c:pt>
                <c:pt idx="1188">
                  <c:v>4895.5921604916703</c:v>
                </c:pt>
                <c:pt idx="1189">
                  <c:v>4813.6575636633579</c:v>
                </c:pt>
                <c:pt idx="1190">
                  <c:v>4806.8296805943319</c:v>
                </c:pt>
                <c:pt idx="1191">
                  <c:v>4820.4854467323839</c:v>
                </c:pt>
                <c:pt idx="1192">
                  <c:v>4731.7229668350456</c:v>
                </c:pt>
                <c:pt idx="1193">
                  <c:v>4711.2393176279675</c:v>
                </c:pt>
                <c:pt idx="1194">
                  <c:v>4765.8623821801757</c:v>
                </c:pt>
                <c:pt idx="1195">
                  <c:v>4724.8950837660195</c:v>
                </c:pt>
                <c:pt idx="1196">
                  <c:v>4718.0672006969935</c:v>
                </c:pt>
                <c:pt idx="1197">
                  <c:v>4718.0672006969935</c:v>
                </c:pt>
                <c:pt idx="1198">
                  <c:v>4718.0672006969935</c:v>
                </c:pt>
                <c:pt idx="1199">
                  <c:v>4779.5181483182278</c:v>
                </c:pt>
                <c:pt idx="1200">
                  <c:v>4902.4200435606963</c:v>
                </c:pt>
                <c:pt idx="1201">
                  <c:v>4950.2152250438785</c:v>
                </c:pt>
                <c:pt idx="1202">
                  <c:v>4984.3546403890086</c:v>
                </c:pt>
                <c:pt idx="1203">
                  <c:v>4929.7315758368004</c:v>
                </c:pt>
                <c:pt idx="1204">
                  <c:v>4970.6988742509566</c:v>
                </c:pt>
                <c:pt idx="1205">
                  <c:v>4929.7315758368004</c:v>
                </c:pt>
                <c:pt idx="1206">
                  <c:v>4806.8296805943319</c:v>
                </c:pt>
                <c:pt idx="1207">
                  <c:v>4772.6902652492017</c:v>
                </c:pt>
                <c:pt idx="1208">
                  <c:v>4765.8623821801757</c:v>
                </c:pt>
                <c:pt idx="1209">
                  <c:v>4697.5835514899154</c:v>
                </c:pt>
                <c:pt idx="1210">
                  <c:v>4601.993188523551</c:v>
                </c:pt>
                <c:pt idx="1211">
                  <c:v>4868.2806282155661</c:v>
                </c:pt>
                <c:pt idx="1212">
                  <c:v>4871.2645892533192</c:v>
                </c:pt>
                <c:pt idx="1213">
                  <c:v>4871.2645892533192</c:v>
                </c:pt>
                <c:pt idx="1214">
                  <c:v>4878.5897991619704</c:v>
                </c:pt>
                <c:pt idx="1215">
                  <c:v>4900.5654288879259</c:v>
                </c:pt>
                <c:pt idx="1216">
                  <c:v>4878.5897991619704</c:v>
                </c:pt>
                <c:pt idx="1217">
                  <c:v>4885.9150090706225</c:v>
                </c:pt>
                <c:pt idx="1218">
                  <c:v>4995.7931577003965</c:v>
                </c:pt>
                <c:pt idx="1219">
                  <c:v>5171.5981955080351</c:v>
                </c:pt>
                <c:pt idx="1220">
                  <c:v>5200.899035142641</c:v>
                </c:pt>
                <c:pt idx="1221">
                  <c:v>5208.2242450512931</c:v>
                </c:pt>
                <c:pt idx="1222">
                  <c:v>5149.6225657820805</c:v>
                </c:pt>
                <c:pt idx="1223">
                  <c:v>5127.646936056125</c:v>
                </c:pt>
                <c:pt idx="1224">
                  <c:v>4871.2645892533192</c:v>
                </c:pt>
                <c:pt idx="1225">
                  <c:v>4966.4923180657897</c:v>
                </c:pt>
                <c:pt idx="1226">
                  <c:v>4951.8418982484864</c:v>
                </c:pt>
                <c:pt idx="1227">
                  <c:v>4922.5410586138805</c:v>
                </c:pt>
                <c:pt idx="1228">
                  <c:v>4915.2158487052284</c:v>
                </c:pt>
                <c:pt idx="1229">
                  <c:v>4863.939379344667</c:v>
                </c:pt>
                <c:pt idx="1230">
                  <c:v>4900.5654288879259</c:v>
                </c:pt>
                <c:pt idx="1231">
                  <c:v>4915.2158487052284</c:v>
                </c:pt>
                <c:pt idx="1232">
                  <c:v>4863.939379344667</c:v>
                </c:pt>
                <c:pt idx="1233">
                  <c:v>4944.5166883398351</c:v>
                </c:pt>
                <c:pt idx="1234">
                  <c:v>5054.3948369696091</c:v>
                </c:pt>
                <c:pt idx="1235">
                  <c:v>5288.8015540464603</c:v>
                </c:pt>
                <c:pt idx="1236">
                  <c:v>5354.728443224325</c:v>
                </c:pt>
                <c:pt idx="1237">
                  <c:v>5384.0292828589318</c:v>
                </c:pt>
                <c:pt idx="1238">
                  <c:v>5406.0049125848864</c:v>
                </c:pt>
                <c:pt idx="1239">
                  <c:v>5464.606591854099</c:v>
                </c:pt>
                <c:pt idx="1240">
                  <c:v>5471.9318017627511</c:v>
                </c:pt>
                <c:pt idx="1241">
                  <c:v>5486.5822215800545</c:v>
                </c:pt>
                <c:pt idx="1242">
                  <c:v>5486.5822215800545</c:v>
                </c:pt>
                <c:pt idx="1243">
                  <c:v>5406.0049125848864</c:v>
                </c:pt>
                <c:pt idx="1244">
                  <c:v>5427.980542310841</c:v>
                </c:pt>
                <c:pt idx="1245">
                  <c:v>5420.6553324021897</c:v>
                </c:pt>
                <c:pt idx="1246">
                  <c:v>5398.6797026762351</c:v>
                </c:pt>
                <c:pt idx="1247">
                  <c:v>5442.6309621281443</c:v>
                </c:pt>
                <c:pt idx="1248">
                  <c:v>5420.6553324021897</c:v>
                </c:pt>
                <c:pt idx="1249">
                  <c:v>5413.3301224935376</c:v>
                </c:pt>
                <c:pt idx="1250">
                  <c:v>5406.0049125848864</c:v>
                </c:pt>
                <c:pt idx="1251">
                  <c:v>5420.6553324021897</c:v>
                </c:pt>
                <c:pt idx="1252">
                  <c:v>5413.3301224935376</c:v>
                </c:pt>
                <c:pt idx="1253">
                  <c:v>5332.7528134983704</c:v>
                </c:pt>
                <c:pt idx="1254">
                  <c:v>5266.8259243205057</c:v>
                </c:pt>
                <c:pt idx="1255">
                  <c:v>5274.1511342291578</c:v>
                </c:pt>
                <c:pt idx="1256">
                  <c:v>5171.5981955080351</c:v>
                </c:pt>
                <c:pt idx="1257">
                  <c:v>5112.9965162388226</c:v>
                </c:pt>
                <c:pt idx="1258">
                  <c:v>5120.3217261474738</c:v>
                </c:pt>
                <c:pt idx="1259">
                  <c:v>5112.9965162388226</c:v>
                </c:pt>
                <c:pt idx="1260">
                  <c:v>5120.3217261474738</c:v>
                </c:pt>
                <c:pt idx="1261">
                  <c:v>5069.0452567869124</c:v>
                </c:pt>
                <c:pt idx="1262">
                  <c:v>5098.3460964215192</c:v>
                </c:pt>
                <c:pt idx="1263">
                  <c:v>5127.646936056125</c:v>
                </c:pt>
                <c:pt idx="1264">
                  <c:v>5127.646936056125</c:v>
                </c:pt>
                <c:pt idx="1265">
                  <c:v>5105.6713063301704</c:v>
                </c:pt>
                <c:pt idx="1266">
                  <c:v>5127.646936056125</c:v>
                </c:pt>
                <c:pt idx="1267">
                  <c:v>5127.646936056125</c:v>
                </c:pt>
                <c:pt idx="1268">
                  <c:v>5127.646936056125</c:v>
                </c:pt>
                <c:pt idx="1269">
                  <c:v>5142.2973558734284</c:v>
                </c:pt>
                <c:pt idx="1270">
                  <c:v>5098.3460964215192</c:v>
                </c:pt>
                <c:pt idx="1271">
                  <c:v>5112.9965162388226</c:v>
                </c:pt>
                <c:pt idx="1272">
                  <c:v>5098.3460964215192</c:v>
                </c:pt>
                <c:pt idx="1273">
                  <c:v>5069.0452567869124</c:v>
                </c:pt>
                <c:pt idx="1274">
                  <c:v>5076.3704666955637</c:v>
                </c:pt>
                <c:pt idx="1275">
                  <c:v>4951.8418982484864</c:v>
                </c:pt>
                <c:pt idx="1276">
                  <c:v>5091.020886512867</c:v>
                </c:pt>
                <c:pt idx="1277">
                  <c:v>5061.7200468782612</c:v>
                </c:pt>
                <c:pt idx="1278">
                  <c:v>5061.7200468782612</c:v>
                </c:pt>
                <c:pt idx="1279">
                  <c:v>5069.0452567869124</c:v>
                </c:pt>
                <c:pt idx="1280">
                  <c:v>5127.646936056125</c:v>
                </c:pt>
                <c:pt idx="1281">
                  <c:v>5127.646936056125</c:v>
                </c:pt>
                <c:pt idx="1282">
                  <c:v>5149.6225657820805</c:v>
                </c:pt>
                <c:pt idx="1283">
                  <c:v>5186.2486153253385</c:v>
                </c:pt>
                <c:pt idx="1284">
                  <c:v>5215.5494549599443</c:v>
                </c:pt>
                <c:pt idx="1285">
                  <c:v>5186.2486153253385</c:v>
                </c:pt>
                <c:pt idx="1286">
                  <c:v>5178.9234054166864</c:v>
                </c:pt>
                <c:pt idx="1287">
                  <c:v>5134.9721459647772</c:v>
                </c:pt>
                <c:pt idx="1288">
                  <c:v>5112.9965162388226</c:v>
                </c:pt>
                <c:pt idx="1289">
                  <c:v>5098.3460964215192</c:v>
                </c:pt>
                <c:pt idx="1290">
                  <c:v>5069.0452567869124</c:v>
                </c:pt>
                <c:pt idx="1291">
                  <c:v>5076.3704666955637</c:v>
                </c:pt>
                <c:pt idx="1292">
                  <c:v>5054.3948369696091</c:v>
                </c:pt>
                <c:pt idx="1293">
                  <c:v>5061.7200468782612</c:v>
                </c:pt>
                <c:pt idx="1294">
                  <c:v>5091.020886512867</c:v>
                </c:pt>
                <c:pt idx="1295">
                  <c:v>5061.7200468782612</c:v>
                </c:pt>
                <c:pt idx="1296">
                  <c:v>5076.3704666955637</c:v>
                </c:pt>
                <c:pt idx="1297">
                  <c:v>5076.3704666955637</c:v>
                </c:pt>
                <c:pt idx="1298">
                  <c:v>5083.6956766042158</c:v>
                </c:pt>
                <c:pt idx="1299">
                  <c:v>5156.9477756907318</c:v>
                </c:pt>
                <c:pt idx="1300">
                  <c:v>5208.2242450512931</c:v>
                </c:pt>
                <c:pt idx="1301">
                  <c:v>5581.809950392525</c:v>
                </c:pt>
                <c:pt idx="1302">
                  <c:v>5501.2326413973569</c:v>
                </c:pt>
                <c:pt idx="1303">
                  <c:v>5545.183900849267</c:v>
                </c:pt>
                <c:pt idx="1304">
                  <c:v>5523.2082711233124</c:v>
                </c:pt>
                <c:pt idx="1305">
                  <c:v>5479.2570116714023</c:v>
                </c:pt>
                <c:pt idx="1306">
                  <c:v>5508.5578513060091</c:v>
                </c:pt>
                <c:pt idx="1307">
                  <c:v>5486.5822215800545</c:v>
                </c:pt>
                <c:pt idx="1308">
                  <c:v>5479.2570116714023</c:v>
                </c:pt>
                <c:pt idx="1309">
                  <c:v>5471.9318017627511</c:v>
                </c:pt>
                <c:pt idx="1310">
                  <c:v>5486.5822215800545</c:v>
                </c:pt>
                <c:pt idx="1311">
                  <c:v>5603.7855801184796</c:v>
                </c:pt>
                <c:pt idx="1312">
                  <c:v>5647.7368395703897</c:v>
                </c:pt>
                <c:pt idx="1313">
                  <c:v>5699.0133089309511</c:v>
                </c:pt>
                <c:pt idx="1314">
                  <c:v>5640.4116296617376</c:v>
                </c:pt>
                <c:pt idx="1315">
                  <c:v>5581.809950392525</c:v>
                </c:pt>
                <c:pt idx="1316">
                  <c:v>5523.2082711233124</c:v>
                </c:pt>
                <c:pt idx="1317">
                  <c:v>5471.9318017627511</c:v>
                </c:pt>
                <c:pt idx="1318">
                  <c:v>5486.5822215800545</c:v>
                </c:pt>
                <c:pt idx="1319">
                  <c:v>5479.2570116714023</c:v>
                </c:pt>
                <c:pt idx="1320">
                  <c:v>5420.6553324021897</c:v>
                </c:pt>
                <c:pt idx="1321">
                  <c:v>5427.980542310841</c:v>
                </c:pt>
                <c:pt idx="1322">
                  <c:v>5347.4032333156738</c:v>
                </c:pt>
                <c:pt idx="1323">
                  <c:v>5420.6553324021897</c:v>
                </c:pt>
                <c:pt idx="1324">
                  <c:v>5354.728443224325</c:v>
                </c:pt>
                <c:pt idx="1325">
                  <c:v>5347.4032333156738</c:v>
                </c:pt>
                <c:pt idx="1326">
                  <c:v>5332.7528134983704</c:v>
                </c:pt>
                <c:pt idx="1327">
                  <c:v>5384.0292828589318</c:v>
                </c:pt>
                <c:pt idx="1328">
                  <c:v>5442.6309621281443</c:v>
                </c:pt>
                <c:pt idx="1329">
                  <c:v>5493.9074314887057</c:v>
                </c:pt>
                <c:pt idx="1330">
                  <c:v>5537.8586909406149</c:v>
                </c:pt>
                <c:pt idx="1331">
                  <c:v>5486.5822215800545</c:v>
                </c:pt>
                <c:pt idx="1332">
                  <c:v>5486.5822215800545</c:v>
                </c:pt>
                <c:pt idx="1333">
                  <c:v>5457.2813819454477</c:v>
                </c:pt>
                <c:pt idx="1334">
                  <c:v>5435.3057522194931</c:v>
                </c:pt>
                <c:pt idx="1335">
                  <c:v>5442.6309621281443</c:v>
                </c:pt>
                <c:pt idx="1336">
                  <c:v>5449.9561720367965</c:v>
                </c:pt>
                <c:pt idx="1337">
                  <c:v>5427.980542310841</c:v>
                </c:pt>
                <c:pt idx="1338">
                  <c:v>5464.606591854099</c:v>
                </c:pt>
                <c:pt idx="1339">
                  <c:v>5427.980542310841</c:v>
                </c:pt>
                <c:pt idx="1340">
                  <c:v>5464.606591854099</c:v>
                </c:pt>
                <c:pt idx="1341">
                  <c:v>5435.3057522194931</c:v>
                </c:pt>
                <c:pt idx="1342">
                  <c:v>5391.354492767583</c:v>
                </c:pt>
                <c:pt idx="1343">
                  <c:v>5406.0049125848864</c:v>
                </c:pt>
                <c:pt idx="1344">
                  <c:v>5413.3301224935376</c:v>
                </c:pt>
                <c:pt idx="1345">
                  <c:v>5376.7040729502796</c:v>
                </c:pt>
                <c:pt idx="1346">
                  <c:v>5332.7528134983704</c:v>
                </c:pt>
                <c:pt idx="1347">
                  <c:v>5303.4519738637637</c:v>
                </c:pt>
                <c:pt idx="1348">
                  <c:v>5325.4276035897183</c:v>
                </c:pt>
                <c:pt idx="1349">
                  <c:v>5325.4276035897183</c:v>
                </c:pt>
                <c:pt idx="1350">
                  <c:v>5340.0780234070226</c:v>
                </c:pt>
                <c:pt idx="1351">
                  <c:v>5730.3511053315997</c:v>
                </c:pt>
                <c:pt idx="1352">
                  <c:v>5663.7191157347206</c:v>
                </c:pt>
                <c:pt idx="1353">
                  <c:v>5711.3133940182061</c:v>
                </c:pt>
                <c:pt idx="1354">
                  <c:v>5720.8322496749024</c:v>
                </c:pt>
                <c:pt idx="1355">
                  <c:v>5739.869960988297</c:v>
                </c:pt>
                <c:pt idx="1356">
                  <c:v>5796.9830949284787</c:v>
                </c:pt>
                <c:pt idx="1357">
                  <c:v>5835.0585175552669</c:v>
                </c:pt>
                <c:pt idx="1358">
                  <c:v>5863.6150845253578</c:v>
                </c:pt>
                <c:pt idx="1359">
                  <c:v>5911.2093628088433</c:v>
                </c:pt>
                <c:pt idx="1360">
                  <c:v>6073.0299089726923</c:v>
                </c:pt>
                <c:pt idx="1361">
                  <c:v>6282.4447334200258</c:v>
                </c:pt>
                <c:pt idx="1362">
                  <c:v>6520.4161248374512</c:v>
                </c:pt>
                <c:pt idx="1363">
                  <c:v>6710.793237971392</c:v>
                </c:pt>
                <c:pt idx="1364">
                  <c:v>6625.1235370611184</c:v>
                </c:pt>
                <c:pt idx="1365">
                  <c:v>6596.5669700910275</c:v>
                </c:pt>
                <c:pt idx="1366">
                  <c:v>6606.0858257477248</c:v>
                </c:pt>
                <c:pt idx="1367">
                  <c:v>6577.5292587776339</c:v>
                </c:pt>
                <c:pt idx="1368">
                  <c:v>6587.0481144343303</c:v>
                </c:pt>
                <c:pt idx="1369">
                  <c:v>6615.6046814044212</c:v>
                </c:pt>
                <c:pt idx="1370">
                  <c:v>6663.1989596879066</c:v>
                </c:pt>
                <c:pt idx="1371">
                  <c:v>6729.8309492847857</c:v>
                </c:pt>
                <c:pt idx="1372">
                  <c:v>6767.9063719115738</c:v>
                </c:pt>
                <c:pt idx="1373">
                  <c:v>6872.6137841352411</c:v>
                </c:pt>
                <c:pt idx="1374">
                  <c:v>6634.6423927178157</c:v>
                </c:pt>
                <c:pt idx="1375">
                  <c:v>6644.161248374513</c:v>
                </c:pt>
                <c:pt idx="1376">
                  <c:v>6701.2743823146948</c:v>
                </c:pt>
                <c:pt idx="1377">
                  <c:v>6767.9063719115738</c:v>
                </c:pt>
                <c:pt idx="1378">
                  <c:v>6805.981794538362</c:v>
                </c:pt>
                <c:pt idx="1379">
                  <c:v>7281.9245773732118</c:v>
                </c:pt>
                <c:pt idx="1380">
                  <c:v>7377.1131339401827</c:v>
                </c:pt>
                <c:pt idx="1381">
                  <c:v>7424.7074122236672</c:v>
                </c:pt>
                <c:pt idx="1382">
                  <c:v>7377.1131339401827</c:v>
                </c:pt>
                <c:pt idx="1383">
                  <c:v>7377.1131339401827</c:v>
                </c:pt>
                <c:pt idx="1384">
                  <c:v>7443.7451235370618</c:v>
                </c:pt>
                <c:pt idx="1385">
                  <c:v>7396.1508452535763</c:v>
                </c:pt>
                <c:pt idx="1386">
                  <c:v>7320</c:v>
                </c:pt>
                <c:pt idx="1387">
                  <c:v>7234.3302990897273</c:v>
                </c:pt>
                <c:pt idx="1388">
                  <c:v>7139.1417425227573</c:v>
                </c:pt>
                <c:pt idx="1389">
                  <c:v>6986.8400520156047</c:v>
                </c:pt>
                <c:pt idx="1390">
                  <c:v>6825.0195058517556</c:v>
                </c:pt>
                <c:pt idx="1391">
                  <c:v>6825.0195058517556</c:v>
                </c:pt>
                <c:pt idx="1392">
                  <c:v>6767.9063719115738</c:v>
                </c:pt>
                <c:pt idx="1393">
                  <c:v>6710.793237971392</c:v>
                </c:pt>
                <c:pt idx="1394">
                  <c:v>6615.6046814044212</c:v>
                </c:pt>
                <c:pt idx="1395">
                  <c:v>6463.3029908972694</c:v>
                </c:pt>
                <c:pt idx="1396">
                  <c:v>6529.9349804941485</c:v>
                </c:pt>
                <c:pt idx="1397">
                  <c:v>6710.793237971392</c:v>
                </c:pt>
                <c:pt idx="1398">
                  <c:v>6748.8686605981793</c:v>
                </c:pt>
                <c:pt idx="1399">
                  <c:v>6615.6046814044212</c:v>
                </c:pt>
                <c:pt idx="1400">
                  <c:v>6691.7555266579975</c:v>
                </c:pt>
                <c:pt idx="1401">
                  <c:v>6587.0481144343303</c:v>
                </c:pt>
                <c:pt idx="1402">
                  <c:v>6539.4538361508457</c:v>
                </c:pt>
                <c:pt idx="1403">
                  <c:v>6548.9726918075421</c:v>
                </c:pt>
                <c:pt idx="1404">
                  <c:v>6577.5292587776339</c:v>
                </c:pt>
                <c:pt idx="1405">
                  <c:v>6701.2743823146948</c:v>
                </c:pt>
                <c:pt idx="1406">
                  <c:v>6805.981794538362</c:v>
                </c:pt>
                <c:pt idx="1407">
                  <c:v>6796.4629388816647</c:v>
                </c:pt>
                <c:pt idx="1408">
                  <c:v>6729.8309492847857</c:v>
                </c:pt>
                <c:pt idx="1409">
                  <c:v>6644.161248374513</c:v>
                </c:pt>
                <c:pt idx="1410">
                  <c:v>6701.2743823146948</c:v>
                </c:pt>
                <c:pt idx="1411">
                  <c:v>6834.5383615084529</c:v>
                </c:pt>
                <c:pt idx="1412">
                  <c:v>6825.0195058517556</c:v>
                </c:pt>
                <c:pt idx="1413">
                  <c:v>6825.0195058517556</c:v>
                </c:pt>
                <c:pt idx="1414">
                  <c:v>6653.6801040312093</c:v>
                </c:pt>
                <c:pt idx="1415">
                  <c:v>6596.5669700910275</c:v>
                </c:pt>
                <c:pt idx="1416">
                  <c:v>6463.3029908972694</c:v>
                </c:pt>
                <c:pt idx="1417">
                  <c:v>6548.9726918075421</c:v>
                </c:pt>
                <c:pt idx="1418">
                  <c:v>6558.4915474642394</c:v>
                </c:pt>
                <c:pt idx="1419">
                  <c:v>6596.5669700910275</c:v>
                </c:pt>
                <c:pt idx="1420">
                  <c:v>6720.3120936280884</c:v>
                </c:pt>
                <c:pt idx="1421">
                  <c:v>6805.981794538362</c:v>
                </c:pt>
                <c:pt idx="1422">
                  <c:v>6825.0195058517556</c:v>
                </c:pt>
                <c:pt idx="1423">
                  <c:v>6786.9440832249675</c:v>
                </c:pt>
                <c:pt idx="1424">
                  <c:v>6796.4629388816647</c:v>
                </c:pt>
                <c:pt idx="1425">
                  <c:v>6882.1326397919374</c:v>
                </c:pt>
                <c:pt idx="1426">
                  <c:v>6948.7646293888165</c:v>
                </c:pt>
                <c:pt idx="1427">
                  <c:v>7329.5188556566973</c:v>
                </c:pt>
                <c:pt idx="1428">
                  <c:v>7339.0377113133945</c:v>
                </c:pt>
                <c:pt idx="1429">
                  <c:v>7272.4057217165155</c:v>
                </c:pt>
                <c:pt idx="1430">
                  <c:v>7300.9622886866064</c:v>
                </c:pt>
                <c:pt idx="1431">
                  <c:v>7329.5188556566973</c:v>
                </c:pt>
                <c:pt idx="1432">
                  <c:v>7310.4811443433036</c:v>
                </c:pt>
                <c:pt idx="1433">
                  <c:v>7329.5188556566973</c:v>
                </c:pt>
                <c:pt idx="1434">
                  <c:v>7291.4434330299091</c:v>
                </c:pt>
                <c:pt idx="1435">
                  <c:v>7150</c:v>
                </c:pt>
                <c:pt idx="1436">
                  <c:v>6960</c:v>
                </c:pt>
                <c:pt idx="1437">
                  <c:v>6770</c:v>
                </c:pt>
                <c:pt idx="1438">
                  <c:v>6790</c:v>
                </c:pt>
                <c:pt idx="1439">
                  <c:v>6500</c:v>
                </c:pt>
                <c:pt idx="1440">
                  <c:v>6190</c:v>
                </c:pt>
                <c:pt idx="1441">
                  <c:v>6320</c:v>
                </c:pt>
                <c:pt idx="1442">
                  <c:v>6290</c:v>
                </c:pt>
                <c:pt idx="1443">
                  <c:v>6270</c:v>
                </c:pt>
                <c:pt idx="1444">
                  <c:v>6250</c:v>
                </c:pt>
                <c:pt idx="1445">
                  <c:v>6280</c:v>
                </c:pt>
                <c:pt idx="1446">
                  <c:v>6210</c:v>
                </c:pt>
                <c:pt idx="1447">
                  <c:v>6190</c:v>
                </c:pt>
                <c:pt idx="1448">
                  <c:v>6250</c:v>
                </c:pt>
                <c:pt idx="1449">
                  <c:v>6370</c:v>
                </c:pt>
                <c:pt idx="1450">
                  <c:v>6490</c:v>
                </c:pt>
                <c:pt idx="1451">
                  <c:v>6390</c:v>
                </c:pt>
                <c:pt idx="1452">
                  <c:v>6360</c:v>
                </c:pt>
                <c:pt idx="1453">
                  <c:v>6440</c:v>
                </c:pt>
                <c:pt idx="1454">
                  <c:v>6540</c:v>
                </c:pt>
                <c:pt idx="1455">
                  <c:v>6580</c:v>
                </c:pt>
                <c:pt idx="1456">
                  <c:v>6560</c:v>
                </c:pt>
                <c:pt idx="1457">
                  <c:v>6550</c:v>
                </c:pt>
                <c:pt idx="1458">
                  <c:v>6690</c:v>
                </c:pt>
                <c:pt idx="1459">
                  <c:v>6650</c:v>
                </c:pt>
                <c:pt idx="1460">
                  <c:v>6590</c:v>
                </c:pt>
                <c:pt idx="1461">
                  <c:v>6450</c:v>
                </c:pt>
                <c:pt idx="1462">
                  <c:v>6330</c:v>
                </c:pt>
                <c:pt idx="1463">
                  <c:v>6280</c:v>
                </c:pt>
                <c:pt idx="1464">
                  <c:v>6230</c:v>
                </c:pt>
                <c:pt idx="1465">
                  <c:v>6160</c:v>
                </c:pt>
                <c:pt idx="1466">
                  <c:v>6040</c:v>
                </c:pt>
                <c:pt idx="1467">
                  <c:v>6120</c:v>
                </c:pt>
                <c:pt idx="1468">
                  <c:v>6110</c:v>
                </c:pt>
                <c:pt idx="1469">
                  <c:v>6240</c:v>
                </c:pt>
                <c:pt idx="1470">
                  <c:v>6200</c:v>
                </c:pt>
                <c:pt idx="1471">
                  <c:v>6210</c:v>
                </c:pt>
                <c:pt idx="1472">
                  <c:v>6330</c:v>
                </c:pt>
                <c:pt idx="1473">
                  <c:v>6460</c:v>
                </c:pt>
                <c:pt idx="1474">
                  <c:v>6460</c:v>
                </c:pt>
                <c:pt idx="1475">
                  <c:v>6450</c:v>
                </c:pt>
                <c:pt idx="1476">
                  <c:v>6400</c:v>
                </c:pt>
                <c:pt idx="1477">
                  <c:v>6410</c:v>
                </c:pt>
                <c:pt idx="1478">
                  <c:v>6330</c:v>
                </c:pt>
                <c:pt idx="1479">
                  <c:v>6270</c:v>
                </c:pt>
                <c:pt idx="1480">
                  <c:v>6210</c:v>
                </c:pt>
                <c:pt idx="1481">
                  <c:v>6160</c:v>
                </c:pt>
                <c:pt idx="1482">
                  <c:v>6200</c:v>
                </c:pt>
                <c:pt idx="1483">
                  <c:v>6210</c:v>
                </c:pt>
                <c:pt idx="1484">
                  <c:v>6210</c:v>
                </c:pt>
                <c:pt idx="1485">
                  <c:v>6260</c:v>
                </c:pt>
                <c:pt idx="1486">
                  <c:v>6420</c:v>
                </c:pt>
                <c:pt idx="1487">
                  <c:v>6410</c:v>
                </c:pt>
                <c:pt idx="1488">
                  <c:v>6230</c:v>
                </c:pt>
                <c:pt idx="1489">
                  <c:v>6130</c:v>
                </c:pt>
                <c:pt idx="1490">
                  <c:v>6190</c:v>
                </c:pt>
                <c:pt idx="1491">
                  <c:v>6010</c:v>
                </c:pt>
                <c:pt idx="1492">
                  <c:v>5840</c:v>
                </c:pt>
                <c:pt idx="1493">
                  <c:v>5750</c:v>
                </c:pt>
                <c:pt idx="1494">
                  <c:v>5650</c:v>
                </c:pt>
                <c:pt idx="1495">
                  <c:v>5530</c:v>
                </c:pt>
                <c:pt idx="1496">
                  <c:v>5690</c:v>
                </c:pt>
                <c:pt idx="1497">
                  <c:v>5800</c:v>
                </c:pt>
                <c:pt idx="1498">
                  <c:v>5970</c:v>
                </c:pt>
                <c:pt idx="1499">
                  <c:v>5930</c:v>
                </c:pt>
                <c:pt idx="1500">
                  <c:v>6220</c:v>
                </c:pt>
                <c:pt idx="1501">
                  <c:v>6130</c:v>
                </c:pt>
                <c:pt idx="1502">
                  <c:v>6030</c:v>
                </c:pt>
                <c:pt idx="1503">
                  <c:v>6100</c:v>
                </c:pt>
                <c:pt idx="1504">
                  <c:v>6080</c:v>
                </c:pt>
                <c:pt idx="1505">
                  <c:v>6110</c:v>
                </c:pt>
                <c:pt idx="1506">
                  <c:v>6230</c:v>
                </c:pt>
                <c:pt idx="1507">
                  <c:v>6410</c:v>
                </c:pt>
                <c:pt idx="1508">
                  <c:v>6520</c:v>
                </c:pt>
                <c:pt idx="1509">
                  <c:v>6520</c:v>
                </c:pt>
                <c:pt idx="1510">
                  <c:v>6540</c:v>
                </c:pt>
                <c:pt idx="1511">
                  <c:v>6720</c:v>
                </c:pt>
                <c:pt idx="1512">
                  <c:v>6630</c:v>
                </c:pt>
                <c:pt idx="1513">
                  <c:v>6780</c:v>
                </c:pt>
                <c:pt idx="1514">
                  <c:v>6580</c:v>
                </c:pt>
                <c:pt idx="1515">
                  <c:v>6510</c:v>
                </c:pt>
                <c:pt idx="1516">
                  <c:v>6530</c:v>
                </c:pt>
                <c:pt idx="1517">
                  <c:v>6730</c:v>
                </c:pt>
                <c:pt idx="1518">
                  <c:v>6920</c:v>
                </c:pt>
                <c:pt idx="1519">
                  <c:v>6800</c:v>
                </c:pt>
                <c:pt idx="1520">
                  <c:v>7010</c:v>
                </c:pt>
                <c:pt idx="1521">
                  <c:v>6820</c:v>
                </c:pt>
                <c:pt idx="1522">
                  <c:v>6820</c:v>
                </c:pt>
                <c:pt idx="1523">
                  <c:v>7000</c:v>
                </c:pt>
                <c:pt idx="1524">
                  <c:v>6990</c:v>
                </c:pt>
                <c:pt idx="1525">
                  <c:v>6970</c:v>
                </c:pt>
                <c:pt idx="1526">
                  <c:v>6790</c:v>
                </c:pt>
                <c:pt idx="1527">
                  <c:v>6790</c:v>
                </c:pt>
                <c:pt idx="1528">
                  <c:v>6930</c:v>
                </c:pt>
                <c:pt idx="1529">
                  <c:v>6910</c:v>
                </c:pt>
                <c:pt idx="1530">
                  <c:v>7130</c:v>
                </c:pt>
                <c:pt idx="1531">
                  <c:v>7290</c:v>
                </c:pt>
                <c:pt idx="1532">
                  <c:v>7500</c:v>
                </c:pt>
                <c:pt idx="1533">
                  <c:v>7630</c:v>
                </c:pt>
                <c:pt idx="1534">
                  <c:v>7480</c:v>
                </c:pt>
                <c:pt idx="1535">
                  <c:v>7890</c:v>
                </c:pt>
                <c:pt idx="1536">
                  <c:v>7970</c:v>
                </c:pt>
                <c:pt idx="1537">
                  <c:v>8030</c:v>
                </c:pt>
                <c:pt idx="1538">
                  <c:v>8320</c:v>
                </c:pt>
                <c:pt idx="1539">
                  <c:v>8470</c:v>
                </c:pt>
                <c:pt idx="1540">
                  <c:v>8160</c:v>
                </c:pt>
                <c:pt idx="1541">
                  <c:v>7960</c:v>
                </c:pt>
                <c:pt idx="1542">
                  <c:v>7730</c:v>
                </c:pt>
                <c:pt idx="1543">
                  <c:v>7610</c:v>
                </c:pt>
                <c:pt idx="1544">
                  <c:v>7800</c:v>
                </c:pt>
                <c:pt idx="1545">
                  <c:v>8010</c:v>
                </c:pt>
                <c:pt idx="1546">
                  <c:v>8180</c:v>
                </c:pt>
                <c:pt idx="1547">
                  <c:v>8160</c:v>
                </c:pt>
                <c:pt idx="1548">
                  <c:v>8250</c:v>
                </c:pt>
                <c:pt idx="1549">
                  <c:v>8460</c:v>
                </c:pt>
                <c:pt idx="1550">
                  <c:v>8500</c:v>
                </c:pt>
                <c:pt idx="1551">
                  <c:v>8390</c:v>
                </c:pt>
                <c:pt idx="1552">
                  <c:v>8410</c:v>
                </c:pt>
                <c:pt idx="1553">
                  <c:v>8510</c:v>
                </c:pt>
                <c:pt idx="1554">
                  <c:v>8340</c:v>
                </c:pt>
                <c:pt idx="1555">
                  <c:v>8240</c:v>
                </c:pt>
                <c:pt idx="1556">
                  <c:v>8060</c:v>
                </c:pt>
                <c:pt idx="1557">
                  <c:v>8270</c:v>
                </c:pt>
                <c:pt idx="1558">
                  <c:v>8370</c:v>
                </c:pt>
                <c:pt idx="1559">
                  <c:v>8370</c:v>
                </c:pt>
                <c:pt idx="1560">
                  <c:v>8340</c:v>
                </c:pt>
                <c:pt idx="1561">
                  <c:v>8150</c:v>
                </c:pt>
                <c:pt idx="1562">
                  <c:v>8130</c:v>
                </c:pt>
                <c:pt idx="1563">
                  <c:v>8050</c:v>
                </c:pt>
                <c:pt idx="1564">
                  <c:v>7970</c:v>
                </c:pt>
                <c:pt idx="1565">
                  <c:v>7980</c:v>
                </c:pt>
                <c:pt idx="1566">
                  <c:v>8010</c:v>
                </c:pt>
                <c:pt idx="1567">
                  <c:v>7990</c:v>
                </c:pt>
                <c:pt idx="1568">
                  <c:v>8110</c:v>
                </c:pt>
                <c:pt idx="1569">
                  <c:v>8180</c:v>
                </c:pt>
                <c:pt idx="1570">
                  <c:v>8090</c:v>
                </c:pt>
                <c:pt idx="1571">
                  <c:v>7910</c:v>
                </c:pt>
                <c:pt idx="1572">
                  <c:v>7970</c:v>
                </c:pt>
                <c:pt idx="1573">
                  <c:v>8110</c:v>
                </c:pt>
                <c:pt idx="1574">
                  <c:v>8350</c:v>
                </c:pt>
                <c:pt idx="1575">
                  <c:v>8400</c:v>
                </c:pt>
                <c:pt idx="1576">
                  <c:v>8400</c:v>
                </c:pt>
                <c:pt idx="1577">
                  <c:v>8350</c:v>
                </c:pt>
                <c:pt idx="1578">
                  <c:v>8610</c:v>
                </c:pt>
                <c:pt idx="1579">
                  <c:v>8840</c:v>
                </c:pt>
                <c:pt idx="1580">
                  <c:v>9100</c:v>
                </c:pt>
                <c:pt idx="1581">
                  <c:v>9250</c:v>
                </c:pt>
                <c:pt idx="1582">
                  <c:v>9130</c:v>
                </c:pt>
                <c:pt idx="1583">
                  <c:v>9180</c:v>
                </c:pt>
                <c:pt idx="1584">
                  <c:v>8920</c:v>
                </c:pt>
                <c:pt idx="1585">
                  <c:v>8780</c:v>
                </c:pt>
                <c:pt idx="1586">
                  <c:v>8830</c:v>
                </c:pt>
                <c:pt idx="1587">
                  <c:v>8610</c:v>
                </c:pt>
                <c:pt idx="1588">
                  <c:v>8610</c:v>
                </c:pt>
                <c:pt idx="1589">
                  <c:v>8760</c:v>
                </c:pt>
                <c:pt idx="1590" formatCode="#,##0.00">
                  <c:v>8620</c:v>
                </c:pt>
                <c:pt idx="1591">
                  <c:v>884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83C3-4CEC-8094-F92062D1D2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81631999"/>
        <c:axId val="781629087"/>
      </c:lineChart>
      <c:catAx>
        <c:axId val="781631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781629087"/>
        <c:crosses val="autoZero"/>
        <c:auto val="1"/>
        <c:lblAlgn val="ctr"/>
        <c:lblOffset val="100"/>
        <c:noMultiLvlLbl val="0"/>
      </c:catAx>
      <c:valAx>
        <c:axId val="781629087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781631999"/>
        <c:crosses val="autoZero"/>
        <c:crossBetween val="between"/>
      </c:valAx>
      <c:valAx>
        <c:axId val="659036911"/>
        <c:scaling>
          <c:orientation val="minMax"/>
          <c:max val="50000000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bg1"/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659027759"/>
        <c:crosses val="max"/>
        <c:crossBetween val="between"/>
      </c:valAx>
      <c:catAx>
        <c:axId val="65902775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59036911"/>
        <c:crosses val="autoZero"/>
        <c:auto val="1"/>
        <c:lblAlgn val="ctr"/>
        <c:lblOffset val="100"/>
        <c:noMultiLvlLbl val="0"/>
      </c:catAx>
      <c:spPr>
        <a:noFill/>
        <a:ln cmpd="sng">
          <a:solidFill>
            <a:schemeClr val="bg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018857258227338E-2"/>
          <c:y val="6.1361597331805101E-2"/>
          <c:w val="0.9061606299212599"/>
          <c:h val="0.9170789225245876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1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7A-490A-9628-13FBA1D9BC3D}"/>
                </c:ext>
              </c:extLst>
            </c:dLbl>
            <c:dLbl>
              <c:idx val="2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97A-490A-9628-13FBA1D9BC3D}"/>
                </c:ext>
              </c:extLst>
            </c:dLbl>
            <c:dLbl>
              <c:idx val="132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97A-490A-9628-13FBA1D9BC3D}"/>
                </c:ext>
              </c:extLst>
            </c:dLbl>
            <c:dLbl>
              <c:idx val="17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8.9478491583663167E-2"/>
                      <c:h val="9.223496577308608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97A-490A-9628-13FBA1D9BC3D}"/>
                </c:ext>
              </c:extLst>
            </c:dLbl>
            <c:dLbl>
              <c:idx val="19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97A-490A-9628-13FBA1D9BC3D}"/>
                </c:ext>
              </c:extLst>
            </c:dLbl>
            <c:dLbl>
              <c:idx val="208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97A-490A-9628-13FBA1D9BC3D}"/>
                </c:ext>
              </c:extLst>
            </c:dLbl>
            <c:dLbl>
              <c:idx val="21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97A-490A-9628-13FBA1D9BC3D}"/>
                </c:ext>
              </c:extLst>
            </c:dLbl>
            <c:dLbl>
              <c:idx val="22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97A-490A-9628-13FBA1D9BC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verall!$A$1365:$A$1596</c:f>
              <c:strCache>
                <c:ptCount val="229"/>
                <c:pt idx="0">
                  <c:v>1403-01-05</c:v>
                </c:pt>
                <c:pt idx="1">
                  <c:v>1403-01-06</c:v>
                </c:pt>
                <c:pt idx="2">
                  <c:v>1403-01-07</c:v>
                </c:pt>
                <c:pt idx="3">
                  <c:v>1403-01-08</c:v>
                </c:pt>
                <c:pt idx="4">
                  <c:v>1403-01-11</c:v>
                </c:pt>
                <c:pt idx="5">
                  <c:v>1403-01-14</c:v>
                </c:pt>
                <c:pt idx="6">
                  <c:v>1403-01-15</c:v>
                </c:pt>
                <c:pt idx="7">
                  <c:v>1403-01-18</c:v>
                </c:pt>
                <c:pt idx="8">
                  <c:v>1403-01-19</c:v>
                </c:pt>
                <c:pt idx="9">
                  <c:v>1403-01-20</c:v>
                </c:pt>
                <c:pt idx="10">
                  <c:v>1403-01-21</c:v>
                </c:pt>
                <c:pt idx="11">
                  <c:v>1403-01-25</c:v>
                </c:pt>
                <c:pt idx="12">
                  <c:v>1403-01-26</c:v>
                </c:pt>
                <c:pt idx="13">
                  <c:v>1403-01-27</c:v>
                </c:pt>
                <c:pt idx="14">
                  <c:v>1403-01-28</c:v>
                </c:pt>
                <c:pt idx="15">
                  <c:v>1403-01-29</c:v>
                </c:pt>
                <c:pt idx="16">
                  <c:v>1403-02-01</c:v>
                </c:pt>
                <c:pt idx="17">
                  <c:v>1403-02-02</c:v>
                </c:pt>
                <c:pt idx="18">
                  <c:v>1403-02-03</c:v>
                </c:pt>
                <c:pt idx="19">
                  <c:v>1403-02-04</c:v>
                </c:pt>
                <c:pt idx="20">
                  <c:v>1403-02-05</c:v>
                </c:pt>
                <c:pt idx="21">
                  <c:v>1403-02-08</c:v>
                </c:pt>
                <c:pt idx="22">
                  <c:v>1403-02-09</c:v>
                </c:pt>
                <c:pt idx="23">
                  <c:v>1403-02-10</c:v>
                </c:pt>
                <c:pt idx="24">
                  <c:v>1403-02-11</c:v>
                </c:pt>
                <c:pt idx="25">
                  <c:v>1403-02-12</c:v>
                </c:pt>
                <c:pt idx="26">
                  <c:v>1403-02-16</c:v>
                </c:pt>
                <c:pt idx="27">
                  <c:v>1403-02-17</c:v>
                </c:pt>
                <c:pt idx="28">
                  <c:v>1403-02-18</c:v>
                </c:pt>
                <c:pt idx="29">
                  <c:v>1403-02-19</c:v>
                </c:pt>
                <c:pt idx="30">
                  <c:v>1403-02-22</c:v>
                </c:pt>
                <c:pt idx="31">
                  <c:v>1403-02-23</c:v>
                </c:pt>
                <c:pt idx="32">
                  <c:v>1403-02-24</c:v>
                </c:pt>
                <c:pt idx="33">
                  <c:v>1403-02-25</c:v>
                </c:pt>
                <c:pt idx="34">
                  <c:v>1403-02-26</c:v>
                </c:pt>
                <c:pt idx="35">
                  <c:v>1403-02-29</c:v>
                </c:pt>
                <c:pt idx="36">
                  <c:v>1403-02-30</c:v>
                </c:pt>
                <c:pt idx="37">
                  <c:v>1403-03-01</c:v>
                </c:pt>
                <c:pt idx="38">
                  <c:v>1403-03-05</c:v>
                </c:pt>
                <c:pt idx="39">
                  <c:v>1403-03-06</c:v>
                </c:pt>
                <c:pt idx="40">
                  <c:v>1403-03-07</c:v>
                </c:pt>
                <c:pt idx="41">
                  <c:v>1403-03-08</c:v>
                </c:pt>
                <c:pt idx="42">
                  <c:v>1403-03-09</c:v>
                </c:pt>
                <c:pt idx="43">
                  <c:v>1403-03-12</c:v>
                </c:pt>
                <c:pt idx="44">
                  <c:v>1403-03-13</c:v>
                </c:pt>
                <c:pt idx="45">
                  <c:v>1403-03-16</c:v>
                </c:pt>
                <c:pt idx="46">
                  <c:v>1403-03-19</c:v>
                </c:pt>
                <c:pt idx="47">
                  <c:v>1403-03-20</c:v>
                </c:pt>
                <c:pt idx="48">
                  <c:v>1403-03-21</c:v>
                </c:pt>
                <c:pt idx="49">
                  <c:v>1403-03-22</c:v>
                </c:pt>
                <c:pt idx="50">
                  <c:v>1403-03-23</c:v>
                </c:pt>
                <c:pt idx="51">
                  <c:v>1403-03-26</c:v>
                </c:pt>
                <c:pt idx="52">
                  <c:v>1403-03-27</c:v>
                </c:pt>
                <c:pt idx="53">
                  <c:v>1403-03-29</c:v>
                </c:pt>
                <c:pt idx="54">
                  <c:v>1403-03-30</c:v>
                </c:pt>
                <c:pt idx="55">
                  <c:v>1403-04-02</c:v>
                </c:pt>
                <c:pt idx="56">
                  <c:v>1403-04-03</c:v>
                </c:pt>
                <c:pt idx="57">
                  <c:v>1403-04-04</c:v>
                </c:pt>
                <c:pt idx="58">
                  <c:v>1403-04-06</c:v>
                </c:pt>
                <c:pt idx="59">
                  <c:v>1403-04-09</c:v>
                </c:pt>
                <c:pt idx="60">
                  <c:v>1403-04-10</c:v>
                </c:pt>
                <c:pt idx="61">
                  <c:v>1403-04-11</c:v>
                </c:pt>
                <c:pt idx="62">
                  <c:v>1403-04-12</c:v>
                </c:pt>
                <c:pt idx="63">
                  <c:v>1403-04-13</c:v>
                </c:pt>
                <c:pt idx="64">
                  <c:v>1403-04-16</c:v>
                </c:pt>
                <c:pt idx="65">
                  <c:v>1403-04-17</c:v>
                </c:pt>
                <c:pt idx="66">
                  <c:v>1403-04-18</c:v>
                </c:pt>
                <c:pt idx="67">
                  <c:v>1403-04-19</c:v>
                </c:pt>
                <c:pt idx="68">
                  <c:v>1403-04-20</c:v>
                </c:pt>
                <c:pt idx="69">
                  <c:v>1403-04-23</c:v>
                </c:pt>
                <c:pt idx="70">
                  <c:v>1403-04-24</c:v>
                </c:pt>
                <c:pt idx="71">
                  <c:v>1403-04-27</c:v>
                </c:pt>
                <c:pt idx="72">
                  <c:v>1403-05-03</c:v>
                </c:pt>
                <c:pt idx="73">
                  <c:v>1403-05-06</c:v>
                </c:pt>
                <c:pt idx="74">
                  <c:v>1403-05-08</c:v>
                </c:pt>
                <c:pt idx="75">
                  <c:v>1403-05-09</c:v>
                </c:pt>
                <c:pt idx="76">
                  <c:v>1403-05-10</c:v>
                </c:pt>
                <c:pt idx="77">
                  <c:v>1403-05-13</c:v>
                </c:pt>
                <c:pt idx="78">
                  <c:v>1403-05-14</c:v>
                </c:pt>
                <c:pt idx="79">
                  <c:v>1403-05-15</c:v>
                </c:pt>
                <c:pt idx="80">
                  <c:v>1403-05-16</c:v>
                </c:pt>
                <c:pt idx="81">
                  <c:v>1403-05-20</c:v>
                </c:pt>
                <c:pt idx="82">
                  <c:v>1403-05-21</c:v>
                </c:pt>
                <c:pt idx="83">
                  <c:v>1403-05-22</c:v>
                </c:pt>
                <c:pt idx="84">
                  <c:v>1403-05-23</c:v>
                </c:pt>
                <c:pt idx="85">
                  <c:v>1403-05-24</c:v>
                </c:pt>
                <c:pt idx="86">
                  <c:v>1403-05-27</c:v>
                </c:pt>
                <c:pt idx="87">
                  <c:v>1403-05-28</c:v>
                </c:pt>
                <c:pt idx="88">
                  <c:v>1403-05-29</c:v>
                </c:pt>
                <c:pt idx="89">
                  <c:v>1403-05-30</c:v>
                </c:pt>
                <c:pt idx="90">
                  <c:v>1403-05-31</c:v>
                </c:pt>
                <c:pt idx="91">
                  <c:v>1403-06-03</c:v>
                </c:pt>
                <c:pt idx="92">
                  <c:v>1403-06-05</c:v>
                </c:pt>
                <c:pt idx="93">
                  <c:v>1403-06-06</c:v>
                </c:pt>
                <c:pt idx="94">
                  <c:v>1403-06-07</c:v>
                </c:pt>
                <c:pt idx="95">
                  <c:v>1403-06-10</c:v>
                </c:pt>
                <c:pt idx="96">
                  <c:v>1403-06-11</c:v>
                </c:pt>
                <c:pt idx="97">
                  <c:v>1403-06-13</c:v>
                </c:pt>
                <c:pt idx="98">
                  <c:v>1403-06-17</c:v>
                </c:pt>
                <c:pt idx="99">
                  <c:v>1403-06-18</c:v>
                </c:pt>
                <c:pt idx="100">
                  <c:v>1403-06-19</c:v>
                </c:pt>
                <c:pt idx="101">
                  <c:v>1403-06-20</c:v>
                </c:pt>
                <c:pt idx="102">
                  <c:v>1403-06-21</c:v>
                </c:pt>
                <c:pt idx="103">
                  <c:v>1403-06-24</c:v>
                </c:pt>
                <c:pt idx="104">
                  <c:v>1403-06-25</c:v>
                </c:pt>
                <c:pt idx="105">
                  <c:v>1403-06-26</c:v>
                </c:pt>
                <c:pt idx="106">
                  <c:v>1403-06-27</c:v>
                </c:pt>
                <c:pt idx="107">
                  <c:v>1403-06-28</c:v>
                </c:pt>
                <c:pt idx="108">
                  <c:v>1403-07-01</c:v>
                </c:pt>
                <c:pt idx="109">
                  <c:v>1403-07-02</c:v>
                </c:pt>
                <c:pt idx="110">
                  <c:v>1403-07-03</c:v>
                </c:pt>
                <c:pt idx="111">
                  <c:v>1403-07-04</c:v>
                </c:pt>
                <c:pt idx="112">
                  <c:v>1403-07-07</c:v>
                </c:pt>
                <c:pt idx="113">
                  <c:v>1403-07-08</c:v>
                </c:pt>
                <c:pt idx="114">
                  <c:v>1403-07-09</c:v>
                </c:pt>
                <c:pt idx="115">
                  <c:v>1403-07-10</c:v>
                </c:pt>
                <c:pt idx="116">
                  <c:v>1403-07-11</c:v>
                </c:pt>
                <c:pt idx="117">
                  <c:v>1403-07-14</c:v>
                </c:pt>
                <c:pt idx="118">
                  <c:v>1403-07-15</c:v>
                </c:pt>
                <c:pt idx="119">
                  <c:v>1403-07-16</c:v>
                </c:pt>
                <c:pt idx="120">
                  <c:v>1403-07-17</c:v>
                </c:pt>
                <c:pt idx="121">
                  <c:v>1403-07-17</c:v>
                </c:pt>
                <c:pt idx="122">
                  <c:v>1403-07-18</c:v>
                </c:pt>
                <c:pt idx="123">
                  <c:v>1403-07-21</c:v>
                </c:pt>
                <c:pt idx="124">
                  <c:v>1403-07-22</c:v>
                </c:pt>
                <c:pt idx="125">
                  <c:v>1403-07-23</c:v>
                </c:pt>
                <c:pt idx="126">
                  <c:v>1403-07-24</c:v>
                </c:pt>
                <c:pt idx="127">
                  <c:v>1403-07-25</c:v>
                </c:pt>
                <c:pt idx="128">
                  <c:v>1403-07-28</c:v>
                </c:pt>
                <c:pt idx="129">
                  <c:v>1403-07-29</c:v>
                </c:pt>
                <c:pt idx="130">
                  <c:v>1403-07-30</c:v>
                </c:pt>
                <c:pt idx="131">
                  <c:v>1403-08-01</c:v>
                </c:pt>
                <c:pt idx="132">
                  <c:v>1403-08-02</c:v>
                </c:pt>
                <c:pt idx="133">
                  <c:v>1403-08-05</c:v>
                </c:pt>
                <c:pt idx="134">
                  <c:v>1403-08-06</c:v>
                </c:pt>
                <c:pt idx="135">
                  <c:v>1403-08-07</c:v>
                </c:pt>
                <c:pt idx="136">
                  <c:v>1403-08-08</c:v>
                </c:pt>
                <c:pt idx="137">
                  <c:v>1403-08-09</c:v>
                </c:pt>
                <c:pt idx="138">
                  <c:v>1403-08-12</c:v>
                </c:pt>
                <c:pt idx="139">
                  <c:v>1403-08-13</c:v>
                </c:pt>
                <c:pt idx="140">
                  <c:v>1403-08-14</c:v>
                </c:pt>
                <c:pt idx="141">
                  <c:v>1403-08-15</c:v>
                </c:pt>
                <c:pt idx="142">
                  <c:v>1403-08-16</c:v>
                </c:pt>
                <c:pt idx="143">
                  <c:v>1403-08-19</c:v>
                </c:pt>
                <c:pt idx="144">
                  <c:v>1403-08-20</c:v>
                </c:pt>
                <c:pt idx="145">
                  <c:v>1403-08-21</c:v>
                </c:pt>
                <c:pt idx="146">
                  <c:v>1403-08-22</c:v>
                </c:pt>
                <c:pt idx="147">
                  <c:v>1403-08-23</c:v>
                </c:pt>
                <c:pt idx="148">
                  <c:v>1403-08-26</c:v>
                </c:pt>
                <c:pt idx="149">
                  <c:v>1403-08-27</c:v>
                </c:pt>
                <c:pt idx="150">
                  <c:v>1403-08-28</c:v>
                </c:pt>
                <c:pt idx="151">
                  <c:v>1403-08-29</c:v>
                </c:pt>
                <c:pt idx="152">
                  <c:v>1403-08-30</c:v>
                </c:pt>
                <c:pt idx="153">
                  <c:v>1403-09-03</c:v>
                </c:pt>
                <c:pt idx="154">
                  <c:v>1403-09-04</c:v>
                </c:pt>
                <c:pt idx="155">
                  <c:v>1403-09-05</c:v>
                </c:pt>
                <c:pt idx="156">
                  <c:v>1403-09-06</c:v>
                </c:pt>
                <c:pt idx="157">
                  <c:v>1403-09-07</c:v>
                </c:pt>
                <c:pt idx="158">
                  <c:v>1403-09-10</c:v>
                </c:pt>
                <c:pt idx="159">
                  <c:v>1403-09-11</c:v>
                </c:pt>
                <c:pt idx="160">
                  <c:v>1403-09-12</c:v>
                </c:pt>
                <c:pt idx="161">
                  <c:v>1403-09-13</c:v>
                </c:pt>
                <c:pt idx="162">
                  <c:v>1403-09-14</c:v>
                </c:pt>
                <c:pt idx="163">
                  <c:v>1403-09-17</c:v>
                </c:pt>
                <c:pt idx="164">
                  <c:v>1403-09-18</c:v>
                </c:pt>
                <c:pt idx="165">
                  <c:v>1403-09-19</c:v>
                </c:pt>
                <c:pt idx="166">
                  <c:v>1403-09-20</c:v>
                </c:pt>
                <c:pt idx="167">
                  <c:v>1403-09-21</c:v>
                </c:pt>
                <c:pt idx="168">
                  <c:v>1403-09-24</c:v>
                </c:pt>
                <c:pt idx="169">
                  <c:v>1403-09-25</c:v>
                </c:pt>
                <c:pt idx="170">
                  <c:v>1403-09-26</c:v>
                </c:pt>
                <c:pt idx="171">
                  <c:v>1403-09-27</c:v>
                </c:pt>
                <c:pt idx="172">
                  <c:v>1403-09-28</c:v>
                </c:pt>
                <c:pt idx="173">
                  <c:v>1403-10-01</c:v>
                </c:pt>
                <c:pt idx="174">
                  <c:v>1403-10-02</c:v>
                </c:pt>
                <c:pt idx="175">
                  <c:v>1403-10-03</c:v>
                </c:pt>
                <c:pt idx="176">
                  <c:v>1403-10-04</c:v>
                </c:pt>
                <c:pt idx="177">
                  <c:v>1403-10-05</c:v>
                </c:pt>
                <c:pt idx="178">
                  <c:v>1403-10-08</c:v>
                </c:pt>
                <c:pt idx="179">
                  <c:v>1403-10-09</c:v>
                </c:pt>
                <c:pt idx="180">
                  <c:v>1403-10-10</c:v>
                </c:pt>
                <c:pt idx="181">
                  <c:v>1403-10-11</c:v>
                </c:pt>
                <c:pt idx="182">
                  <c:v>1403-10-12</c:v>
                </c:pt>
                <c:pt idx="183">
                  <c:v>1403-10-15</c:v>
                </c:pt>
                <c:pt idx="184">
                  <c:v>1403-10-16</c:v>
                </c:pt>
                <c:pt idx="185">
                  <c:v>1403-10-17</c:v>
                </c:pt>
                <c:pt idx="186">
                  <c:v>1403-10-18</c:v>
                </c:pt>
                <c:pt idx="187">
                  <c:v>1403-10-19</c:v>
                </c:pt>
                <c:pt idx="188">
                  <c:v>1403-10-23</c:v>
                </c:pt>
                <c:pt idx="189">
                  <c:v>1403-10-24</c:v>
                </c:pt>
                <c:pt idx="190">
                  <c:v>1403-10-26</c:v>
                </c:pt>
                <c:pt idx="191">
                  <c:v>1403-10-29</c:v>
                </c:pt>
                <c:pt idx="192">
                  <c:v>1403-10-30</c:v>
                </c:pt>
                <c:pt idx="193">
                  <c:v>1403-11-01</c:v>
                </c:pt>
                <c:pt idx="194">
                  <c:v>1403-11-02</c:v>
                </c:pt>
                <c:pt idx="195">
                  <c:v>1403-11-03</c:v>
                </c:pt>
                <c:pt idx="196">
                  <c:v>1403-11-03</c:v>
                </c:pt>
                <c:pt idx="197">
                  <c:v>1403-11-06</c:v>
                </c:pt>
                <c:pt idx="198">
                  <c:v>1403-11-07</c:v>
                </c:pt>
                <c:pt idx="199">
                  <c:v>1403-11-08</c:v>
                </c:pt>
                <c:pt idx="200">
                  <c:v>1403-11-10</c:v>
                </c:pt>
                <c:pt idx="201">
                  <c:v>1403-11-13</c:v>
                </c:pt>
                <c:pt idx="202">
                  <c:v>1403-11-14</c:v>
                </c:pt>
                <c:pt idx="203">
                  <c:v>1403-11-15</c:v>
                </c:pt>
                <c:pt idx="204">
                  <c:v>1403-11-16</c:v>
                </c:pt>
                <c:pt idx="205">
                  <c:v>1403-11-17</c:v>
                </c:pt>
                <c:pt idx="206">
                  <c:v>1403-11-21</c:v>
                </c:pt>
                <c:pt idx="207">
                  <c:v>1403-11-23</c:v>
                </c:pt>
                <c:pt idx="208">
                  <c:v>1403-11-27</c:v>
                </c:pt>
                <c:pt idx="209">
                  <c:v>1403-11-28</c:v>
                </c:pt>
                <c:pt idx="210">
                  <c:v>1403-11-29</c:v>
                </c:pt>
                <c:pt idx="211">
                  <c:v>1403-11-30</c:v>
                </c:pt>
                <c:pt idx="212">
                  <c:v>1403-12-01</c:v>
                </c:pt>
                <c:pt idx="213">
                  <c:v>1403-12-01</c:v>
                </c:pt>
                <c:pt idx="214">
                  <c:v>1403-12-04</c:v>
                </c:pt>
                <c:pt idx="215">
                  <c:v>1403-12-05</c:v>
                </c:pt>
                <c:pt idx="216">
                  <c:v>1403-12-06</c:v>
                </c:pt>
                <c:pt idx="217">
                  <c:v>1403-12-07</c:v>
                </c:pt>
                <c:pt idx="218">
                  <c:v>1403-12-08</c:v>
                </c:pt>
                <c:pt idx="219">
                  <c:v>1403-12-11</c:v>
                </c:pt>
                <c:pt idx="220">
                  <c:v>1403-12-12</c:v>
                </c:pt>
                <c:pt idx="221">
                  <c:v>1403-12-13</c:v>
                </c:pt>
                <c:pt idx="222">
                  <c:v>1403-12-14</c:v>
                </c:pt>
                <c:pt idx="223">
                  <c:v>1403-12-15</c:v>
                </c:pt>
                <c:pt idx="224">
                  <c:v>1403-12-18</c:v>
                </c:pt>
                <c:pt idx="225">
                  <c:v>1403-12-19</c:v>
                </c:pt>
                <c:pt idx="226">
                  <c:v>1403-12-20</c:v>
                </c:pt>
                <c:pt idx="227">
                  <c:v>1403-12-21</c:v>
                </c:pt>
                <c:pt idx="228">
                  <c:v>1403-12-22</c:v>
                </c:pt>
              </c:strCache>
            </c:strRef>
          </c:cat>
          <c:val>
            <c:numRef>
              <c:f>Overall!$B$1365:$B$1596</c:f>
              <c:numCache>
                <c:formatCode>#,##0</c:formatCode>
                <c:ptCount val="232"/>
                <c:pt idx="0">
                  <c:v>6710.793237971392</c:v>
                </c:pt>
                <c:pt idx="1">
                  <c:v>6625.1235370611184</c:v>
                </c:pt>
                <c:pt idx="2">
                  <c:v>6596.5669700910275</c:v>
                </c:pt>
                <c:pt idx="3">
                  <c:v>6606.0858257477248</c:v>
                </c:pt>
                <c:pt idx="4">
                  <c:v>6577.5292587776339</c:v>
                </c:pt>
                <c:pt idx="5">
                  <c:v>6587.0481144343303</c:v>
                </c:pt>
                <c:pt idx="6">
                  <c:v>6615.6046814044212</c:v>
                </c:pt>
                <c:pt idx="7">
                  <c:v>6663.1989596879066</c:v>
                </c:pt>
                <c:pt idx="8">
                  <c:v>6729.8309492847857</c:v>
                </c:pt>
                <c:pt idx="9">
                  <c:v>6767.9063719115738</c:v>
                </c:pt>
                <c:pt idx="10">
                  <c:v>6872.6137841352411</c:v>
                </c:pt>
                <c:pt idx="11">
                  <c:v>6634.6423927178157</c:v>
                </c:pt>
                <c:pt idx="12">
                  <c:v>6644.161248374513</c:v>
                </c:pt>
                <c:pt idx="13">
                  <c:v>6701.2743823146948</c:v>
                </c:pt>
                <c:pt idx="14">
                  <c:v>6767.9063719115738</c:v>
                </c:pt>
                <c:pt idx="15">
                  <c:v>6805.981794538362</c:v>
                </c:pt>
                <c:pt idx="16">
                  <c:v>7281.9245773732118</c:v>
                </c:pt>
                <c:pt idx="17">
                  <c:v>7377.1131339401827</c:v>
                </c:pt>
                <c:pt idx="18">
                  <c:v>7424.7074122236672</c:v>
                </c:pt>
                <c:pt idx="19">
                  <c:v>7377.1131339401827</c:v>
                </c:pt>
                <c:pt idx="20">
                  <c:v>7377.1131339401827</c:v>
                </c:pt>
                <c:pt idx="21">
                  <c:v>7443.7451235370618</c:v>
                </c:pt>
                <c:pt idx="22">
                  <c:v>7396.1508452535763</c:v>
                </c:pt>
                <c:pt idx="23">
                  <c:v>7320</c:v>
                </c:pt>
                <c:pt idx="24">
                  <c:v>7234.3302990897273</c:v>
                </c:pt>
                <c:pt idx="25">
                  <c:v>7139.1417425227573</c:v>
                </c:pt>
                <c:pt idx="26">
                  <c:v>6986.8400520156047</c:v>
                </c:pt>
                <c:pt idx="27">
                  <c:v>6825.0195058517556</c:v>
                </c:pt>
                <c:pt idx="28">
                  <c:v>6825.0195058517556</c:v>
                </c:pt>
                <c:pt idx="29">
                  <c:v>6767.9063719115738</c:v>
                </c:pt>
                <c:pt idx="30">
                  <c:v>6710.793237971392</c:v>
                </c:pt>
                <c:pt idx="31">
                  <c:v>6615.6046814044212</c:v>
                </c:pt>
                <c:pt idx="32">
                  <c:v>6463.3029908972694</c:v>
                </c:pt>
                <c:pt idx="33">
                  <c:v>6529.9349804941485</c:v>
                </c:pt>
                <c:pt idx="34">
                  <c:v>6710.793237971392</c:v>
                </c:pt>
                <c:pt idx="35">
                  <c:v>6748.8686605981793</c:v>
                </c:pt>
                <c:pt idx="36">
                  <c:v>6615.6046814044212</c:v>
                </c:pt>
                <c:pt idx="37">
                  <c:v>6691.7555266579975</c:v>
                </c:pt>
                <c:pt idx="38">
                  <c:v>6587.0481144343303</c:v>
                </c:pt>
                <c:pt idx="39">
                  <c:v>6539.4538361508457</c:v>
                </c:pt>
                <c:pt idx="40">
                  <c:v>6548.9726918075421</c:v>
                </c:pt>
                <c:pt idx="41">
                  <c:v>6577.5292587776339</c:v>
                </c:pt>
                <c:pt idx="42">
                  <c:v>6701.2743823146948</c:v>
                </c:pt>
                <c:pt idx="43">
                  <c:v>6805.981794538362</c:v>
                </c:pt>
                <c:pt idx="44">
                  <c:v>6796.4629388816647</c:v>
                </c:pt>
                <c:pt idx="45">
                  <c:v>6729.8309492847857</c:v>
                </c:pt>
                <c:pt idx="46">
                  <c:v>6644.161248374513</c:v>
                </c:pt>
                <c:pt idx="47">
                  <c:v>6701.2743823146948</c:v>
                </c:pt>
                <c:pt idx="48">
                  <c:v>6834.5383615084529</c:v>
                </c:pt>
                <c:pt idx="49">
                  <c:v>6825.0195058517556</c:v>
                </c:pt>
                <c:pt idx="50">
                  <c:v>6825.0195058517556</c:v>
                </c:pt>
                <c:pt idx="51">
                  <c:v>6653.6801040312093</c:v>
                </c:pt>
                <c:pt idx="52">
                  <c:v>6596.5669700910275</c:v>
                </c:pt>
                <c:pt idx="53">
                  <c:v>6463.3029908972694</c:v>
                </c:pt>
                <c:pt idx="54">
                  <c:v>6548.9726918075421</c:v>
                </c:pt>
                <c:pt idx="55">
                  <c:v>6558.4915474642394</c:v>
                </c:pt>
                <c:pt idx="56">
                  <c:v>6596.5669700910275</c:v>
                </c:pt>
                <c:pt idx="57">
                  <c:v>6720.3120936280884</c:v>
                </c:pt>
                <c:pt idx="58">
                  <c:v>6805.981794538362</c:v>
                </c:pt>
                <c:pt idx="59">
                  <c:v>6825.0195058517556</c:v>
                </c:pt>
                <c:pt idx="60">
                  <c:v>6786.9440832249675</c:v>
                </c:pt>
                <c:pt idx="61">
                  <c:v>6796.4629388816647</c:v>
                </c:pt>
                <c:pt idx="62">
                  <c:v>6882.1326397919374</c:v>
                </c:pt>
                <c:pt idx="63">
                  <c:v>6948.7646293888165</c:v>
                </c:pt>
                <c:pt idx="64">
                  <c:v>7329.5188556566973</c:v>
                </c:pt>
                <c:pt idx="65">
                  <c:v>7339.0377113133945</c:v>
                </c:pt>
                <c:pt idx="66">
                  <c:v>7272.4057217165155</c:v>
                </c:pt>
                <c:pt idx="67">
                  <c:v>7300.9622886866064</c:v>
                </c:pt>
                <c:pt idx="68">
                  <c:v>7329.5188556566973</c:v>
                </c:pt>
                <c:pt idx="69">
                  <c:v>7310.4811443433036</c:v>
                </c:pt>
                <c:pt idx="70">
                  <c:v>7329.5188556566973</c:v>
                </c:pt>
                <c:pt idx="71">
                  <c:v>7291.4434330299091</c:v>
                </c:pt>
                <c:pt idx="72">
                  <c:v>7150</c:v>
                </c:pt>
                <c:pt idx="73">
                  <c:v>6960</c:v>
                </c:pt>
                <c:pt idx="74">
                  <c:v>6770</c:v>
                </c:pt>
                <c:pt idx="75">
                  <c:v>6790</c:v>
                </c:pt>
                <c:pt idx="76">
                  <c:v>6500</c:v>
                </c:pt>
                <c:pt idx="77">
                  <c:v>6190</c:v>
                </c:pt>
                <c:pt idx="78">
                  <c:v>6320</c:v>
                </c:pt>
                <c:pt idx="79">
                  <c:v>6290</c:v>
                </c:pt>
                <c:pt idx="80">
                  <c:v>6270</c:v>
                </c:pt>
                <c:pt idx="81">
                  <c:v>6250</c:v>
                </c:pt>
                <c:pt idx="82">
                  <c:v>6280</c:v>
                </c:pt>
                <c:pt idx="83">
                  <c:v>6210</c:v>
                </c:pt>
                <c:pt idx="84">
                  <c:v>6190</c:v>
                </c:pt>
                <c:pt idx="85">
                  <c:v>6250</c:v>
                </c:pt>
                <c:pt idx="86">
                  <c:v>6370</c:v>
                </c:pt>
                <c:pt idx="87">
                  <c:v>6490</c:v>
                </c:pt>
                <c:pt idx="88">
                  <c:v>6390</c:v>
                </c:pt>
                <c:pt idx="89">
                  <c:v>6360</c:v>
                </c:pt>
                <c:pt idx="90">
                  <c:v>6440</c:v>
                </c:pt>
                <c:pt idx="91">
                  <c:v>6540</c:v>
                </c:pt>
                <c:pt idx="92">
                  <c:v>6580</c:v>
                </c:pt>
                <c:pt idx="93">
                  <c:v>6560</c:v>
                </c:pt>
                <c:pt idx="94">
                  <c:v>6550</c:v>
                </c:pt>
                <c:pt idx="95">
                  <c:v>6690</c:v>
                </c:pt>
                <c:pt idx="96">
                  <c:v>6650</c:v>
                </c:pt>
                <c:pt idx="97">
                  <c:v>6590</c:v>
                </c:pt>
                <c:pt idx="98">
                  <c:v>6450</c:v>
                </c:pt>
                <c:pt idx="99">
                  <c:v>6330</c:v>
                </c:pt>
                <c:pt idx="100">
                  <c:v>6280</c:v>
                </c:pt>
                <c:pt idx="101">
                  <c:v>6230</c:v>
                </c:pt>
                <c:pt idx="102">
                  <c:v>6160</c:v>
                </c:pt>
                <c:pt idx="103">
                  <c:v>6040</c:v>
                </c:pt>
                <c:pt idx="104">
                  <c:v>6120</c:v>
                </c:pt>
                <c:pt idx="105">
                  <c:v>6110</c:v>
                </c:pt>
                <c:pt idx="106">
                  <c:v>6240</c:v>
                </c:pt>
                <c:pt idx="107">
                  <c:v>6200</c:v>
                </c:pt>
                <c:pt idx="108">
                  <c:v>6210</c:v>
                </c:pt>
                <c:pt idx="109">
                  <c:v>6330</c:v>
                </c:pt>
                <c:pt idx="110">
                  <c:v>6460</c:v>
                </c:pt>
                <c:pt idx="111">
                  <c:v>6460</c:v>
                </c:pt>
                <c:pt idx="112">
                  <c:v>6450</c:v>
                </c:pt>
                <c:pt idx="113">
                  <c:v>6400</c:v>
                </c:pt>
                <c:pt idx="114">
                  <c:v>6410</c:v>
                </c:pt>
                <c:pt idx="115">
                  <c:v>6330</c:v>
                </c:pt>
                <c:pt idx="116">
                  <c:v>6270</c:v>
                </c:pt>
                <c:pt idx="117">
                  <c:v>6210</c:v>
                </c:pt>
                <c:pt idx="118">
                  <c:v>6160</c:v>
                </c:pt>
                <c:pt idx="119">
                  <c:v>6200</c:v>
                </c:pt>
                <c:pt idx="120">
                  <c:v>6210</c:v>
                </c:pt>
                <c:pt idx="121">
                  <c:v>6210</c:v>
                </c:pt>
                <c:pt idx="122">
                  <c:v>6260</c:v>
                </c:pt>
                <c:pt idx="123">
                  <c:v>6420</c:v>
                </c:pt>
                <c:pt idx="124">
                  <c:v>6410</c:v>
                </c:pt>
                <c:pt idx="125">
                  <c:v>6230</c:v>
                </c:pt>
                <c:pt idx="126">
                  <c:v>6130</c:v>
                </c:pt>
                <c:pt idx="127">
                  <c:v>6190</c:v>
                </c:pt>
                <c:pt idx="128">
                  <c:v>6010</c:v>
                </c:pt>
                <c:pt idx="129">
                  <c:v>5840</c:v>
                </c:pt>
                <c:pt idx="130">
                  <c:v>5750</c:v>
                </c:pt>
                <c:pt idx="131">
                  <c:v>5650</c:v>
                </c:pt>
                <c:pt idx="132">
                  <c:v>5530</c:v>
                </c:pt>
                <c:pt idx="133">
                  <c:v>5690</c:v>
                </c:pt>
                <c:pt idx="134">
                  <c:v>5800</c:v>
                </c:pt>
                <c:pt idx="135">
                  <c:v>5970</c:v>
                </c:pt>
                <c:pt idx="136">
                  <c:v>5930</c:v>
                </c:pt>
                <c:pt idx="137">
                  <c:v>6220</c:v>
                </c:pt>
                <c:pt idx="138">
                  <c:v>6130</c:v>
                </c:pt>
                <c:pt idx="139">
                  <c:v>6030</c:v>
                </c:pt>
                <c:pt idx="140">
                  <c:v>6100</c:v>
                </c:pt>
                <c:pt idx="141">
                  <c:v>6080</c:v>
                </c:pt>
                <c:pt idx="142">
                  <c:v>6110</c:v>
                </c:pt>
                <c:pt idx="143">
                  <c:v>6230</c:v>
                </c:pt>
                <c:pt idx="144">
                  <c:v>6410</c:v>
                </c:pt>
                <c:pt idx="145">
                  <c:v>6520</c:v>
                </c:pt>
                <c:pt idx="146">
                  <c:v>6520</c:v>
                </c:pt>
                <c:pt idx="147">
                  <c:v>6540</c:v>
                </c:pt>
                <c:pt idx="148">
                  <c:v>6720</c:v>
                </c:pt>
                <c:pt idx="149">
                  <c:v>6630</c:v>
                </c:pt>
                <c:pt idx="150">
                  <c:v>6780</c:v>
                </c:pt>
                <c:pt idx="151">
                  <c:v>6580</c:v>
                </c:pt>
                <c:pt idx="152">
                  <c:v>6510</c:v>
                </c:pt>
                <c:pt idx="153">
                  <c:v>6530</c:v>
                </c:pt>
                <c:pt idx="154">
                  <c:v>6730</c:v>
                </c:pt>
                <c:pt idx="155">
                  <c:v>6920</c:v>
                </c:pt>
                <c:pt idx="156">
                  <c:v>6800</c:v>
                </c:pt>
                <c:pt idx="157">
                  <c:v>7010</c:v>
                </c:pt>
                <c:pt idx="158">
                  <c:v>6820</c:v>
                </c:pt>
                <c:pt idx="159">
                  <c:v>6820</c:v>
                </c:pt>
                <c:pt idx="160">
                  <c:v>7000</c:v>
                </c:pt>
                <c:pt idx="161">
                  <c:v>6990</c:v>
                </c:pt>
                <c:pt idx="162">
                  <c:v>6970</c:v>
                </c:pt>
                <c:pt idx="163">
                  <c:v>6790</c:v>
                </c:pt>
                <c:pt idx="164">
                  <c:v>6790</c:v>
                </c:pt>
                <c:pt idx="165">
                  <c:v>6930</c:v>
                </c:pt>
                <c:pt idx="166">
                  <c:v>6910</c:v>
                </c:pt>
                <c:pt idx="167">
                  <c:v>7130</c:v>
                </c:pt>
                <c:pt idx="168">
                  <c:v>7290</c:v>
                </c:pt>
                <c:pt idx="169">
                  <c:v>7500</c:v>
                </c:pt>
                <c:pt idx="170">
                  <c:v>7630</c:v>
                </c:pt>
                <c:pt idx="171">
                  <c:v>7480</c:v>
                </c:pt>
                <c:pt idx="172">
                  <c:v>7890</c:v>
                </c:pt>
                <c:pt idx="173">
                  <c:v>7970</c:v>
                </c:pt>
                <c:pt idx="174">
                  <c:v>8030</c:v>
                </c:pt>
                <c:pt idx="175">
                  <c:v>8320</c:v>
                </c:pt>
                <c:pt idx="176">
                  <c:v>8470</c:v>
                </c:pt>
                <c:pt idx="177">
                  <c:v>8160</c:v>
                </c:pt>
                <c:pt idx="178">
                  <c:v>7960</c:v>
                </c:pt>
                <c:pt idx="179">
                  <c:v>7730</c:v>
                </c:pt>
                <c:pt idx="180">
                  <c:v>7610</c:v>
                </c:pt>
                <c:pt idx="181">
                  <c:v>7800</c:v>
                </c:pt>
                <c:pt idx="182">
                  <c:v>8010</c:v>
                </c:pt>
                <c:pt idx="183">
                  <c:v>8180</c:v>
                </c:pt>
                <c:pt idx="184">
                  <c:v>8160</c:v>
                </c:pt>
                <c:pt idx="185">
                  <c:v>8250</c:v>
                </c:pt>
                <c:pt idx="186">
                  <c:v>8460</c:v>
                </c:pt>
                <c:pt idx="187">
                  <c:v>8500</c:v>
                </c:pt>
                <c:pt idx="188">
                  <c:v>8390</c:v>
                </c:pt>
                <c:pt idx="189">
                  <c:v>8410</c:v>
                </c:pt>
                <c:pt idx="190">
                  <c:v>8510</c:v>
                </c:pt>
                <c:pt idx="191">
                  <c:v>8340</c:v>
                </c:pt>
                <c:pt idx="192">
                  <c:v>8240</c:v>
                </c:pt>
                <c:pt idx="193">
                  <c:v>8060</c:v>
                </c:pt>
                <c:pt idx="194">
                  <c:v>8270</c:v>
                </c:pt>
                <c:pt idx="195">
                  <c:v>8370</c:v>
                </c:pt>
                <c:pt idx="196">
                  <c:v>8370</c:v>
                </c:pt>
                <c:pt idx="197">
                  <c:v>8340</c:v>
                </c:pt>
                <c:pt idx="198">
                  <c:v>8150</c:v>
                </c:pt>
                <c:pt idx="199">
                  <c:v>8130</c:v>
                </c:pt>
                <c:pt idx="200">
                  <c:v>8050</c:v>
                </c:pt>
                <c:pt idx="201">
                  <c:v>7970</c:v>
                </c:pt>
                <c:pt idx="202">
                  <c:v>7980</c:v>
                </c:pt>
                <c:pt idx="203">
                  <c:v>8010</c:v>
                </c:pt>
                <c:pt idx="204">
                  <c:v>7990</c:v>
                </c:pt>
                <c:pt idx="205">
                  <c:v>8110</c:v>
                </c:pt>
                <c:pt idx="206">
                  <c:v>8180</c:v>
                </c:pt>
                <c:pt idx="207">
                  <c:v>8090</c:v>
                </c:pt>
                <c:pt idx="208">
                  <c:v>7910</c:v>
                </c:pt>
                <c:pt idx="209">
                  <c:v>7970</c:v>
                </c:pt>
                <c:pt idx="210">
                  <c:v>8110</c:v>
                </c:pt>
                <c:pt idx="211">
                  <c:v>8350</c:v>
                </c:pt>
                <c:pt idx="212">
                  <c:v>8400</c:v>
                </c:pt>
                <c:pt idx="213">
                  <c:v>8400</c:v>
                </c:pt>
                <c:pt idx="214">
                  <c:v>8350</c:v>
                </c:pt>
                <c:pt idx="215">
                  <c:v>8610</c:v>
                </c:pt>
                <c:pt idx="216">
                  <c:v>8840</c:v>
                </c:pt>
                <c:pt idx="217">
                  <c:v>9100</c:v>
                </c:pt>
                <c:pt idx="218">
                  <c:v>9250</c:v>
                </c:pt>
                <c:pt idx="219">
                  <c:v>9130</c:v>
                </c:pt>
                <c:pt idx="220">
                  <c:v>9180</c:v>
                </c:pt>
                <c:pt idx="221">
                  <c:v>8920</c:v>
                </c:pt>
                <c:pt idx="222">
                  <c:v>8780</c:v>
                </c:pt>
                <c:pt idx="223">
                  <c:v>8830</c:v>
                </c:pt>
                <c:pt idx="224">
                  <c:v>8610</c:v>
                </c:pt>
                <c:pt idx="225">
                  <c:v>8610</c:v>
                </c:pt>
                <c:pt idx="226">
                  <c:v>8760</c:v>
                </c:pt>
                <c:pt idx="227" formatCode="#,##0.00">
                  <c:v>8620</c:v>
                </c:pt>
                <c:pt idx="228">
                  <c:v>884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D97A-490A-9628-13FBA1D9BC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06026687"/>
        <c:axId val="706034175"/>
      </c:lineChart>
      <c:catAx>
        <c:axId val="70602668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06034175"/>
        <c:crosses val="autoZero"/>
        <c:auto val="1"/>
        <c:lblAlgn val="ctr"/>
        <c:lblOffset val="100"/>
        <c:noMultiLvlLbl val="0"/>
      </c:catAx>
      <c:valAx>
        <c:axId val="706034175"/>
        <c:scaling>
          <c:orientation val="minMax"/>
          <c:min val="5500"/>
        </c:scaling>
        <c:delete val="1"/>
        <c:axPos val="l"/>
        <c:numFmt formatCode="#,##0" sourceLinked="1"/>
        <c:majorTickMark val="out"/>
        <c:minorTickMark val="none"/>
        <c:tickLblPos val="nextTo"/>
        <c:crossAx val="706026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Overall!$I$1</c:f>
              <c:strCache>
                <c:ptCount val="1"/>
                <c:pt idx="0">
                  <c:v>P/E-ttm</c:v>
                </c:pt>
              </c:strCache>
            </c:strRef>
          </c:tx>
          <c:spPr>
            <a:ln w="28575" cap="rnd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364"/>
            <c:marker>
              <c:symbol val="none"/>
            </c:marker>
            <c:bubble3D val="0"/>
            <c:spPr>
              <a:ln w="6350" cap="rnd" cmpd="sng">
                <a:solidFill>
                  <a:srgbClr val="FF0000"/>
                </a:solidFill>
                <a:prstDash val="solid"/>
                <a:round/>
                <a:headEnd type="none"/>
              </a:ln>
              <a:effectLst/>
            </c:spPr>
            <c:extLst>
              <c:ext xmlns:c16="http://schemas.microsoft.com/office/drawing/2014/chart" uri="{C3380CC4-5D6E-409C-BE32-E72D297353CC}">
                <c16:uniqueId val="{00000001-B503-435E-8B2F-0ACE9EC02A0C}"/>
              </c:ext>
            </c:extLst>
          </c:dPt>
          <c:dLbls>
            <c:dLbl>
              <c:idx val="53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503-435E-8B2F-0ACE9EC02A0C}"/>
                </c:ext>
              </c:extLst>
            </c:dLbl>
            <c:dLbl>
              <c:idx val="103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503-435E-8B2F-0ACE9EC02A0C}"/>
                </c:ext>
              </c:extLst>
            </c:dLbl>
            <c:dLbl>
              <c:idx val="158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503-435E-8B2F-0ACE9EC02A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verall!$A$2:$A$1596</c:f>
              <c:strCache>
                <c:ptCount val="1592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6</c:v>
                </c:pt>
                <c:pt idx="12">
                  <c:v>1397-01-27</c:v>
                </c:pt>
                <c:pt idx="13">
                  <c:v>1397-01-28</c:v>
                </c:pt>
                <c:pt idx="14">
                  <c:v>1397-01-29</c:v>
                </c:pt>
                <c:pt idx="15">
                  <c:v>1397-02-01</c:v>
                </c:pt>
                <c:pt idx="16">
                  <c:v>1397-02-02</c:v>
                </c:pt>
                <c:pt idx="17">
                  <c:v>1397-02-03</c:v>
                </c:pt>
                <c:pt idx="18">
                  <c:v>1397-02-04</c:v>
                </c:pt>
                <c:pt idx="19">
                  <c:v>1397-02-05</c:v>
                </c:pt>
                <c:pt idx="20">
                  <c:v>1397-02-08</c:v>
                </c:pt>
                <c:pt idx="21">
                  <c:v>1397-02-09</c:v>
                </c:pt>
                <c:pt idx="22">
                  <c:v>1397-02-10</c:v>
                </c:pt>
                <c:pt idx="23">
                  <c:v>1397-02-11</c:v>
                </c:pt>
                <c:pt idx="24">
                  <c:v>1397-02-15</c:v>
                </c:pt>
                <c:pt idx="25">
                  <c:v>1397-02-16</c:v>
                </c:pt>
                <c:pt idx="26">
                  <c:v>1397-02-17</c:v>
                </c:pt>
                <c:pt idx="27">
                  <c:v>1397-02-18</c:v>
                </c:pt>
                <c:pt idx="28">
                  <c:v>1397-02-19</c:v>
                </c:pt>
                <c:pt idx="29">
                  <c:v>1397-02-22</c:v>
                </c:pt>
                <c:pt idx="30">
                  <c:v>1397-02-23</c:v>
                </c:pt>
                <c:pt idx="31">
                  <c:v>1397-02-24</c:v>
                </c:pt>
                <c:pt idx="32">
                  <c:v>1397-02-25</c:v>
                </c:pt>
                <c:pt idx="33">
                  <c:v>1397-02-26</c:v>
                </c:pt>
                <c:pt idx="34">
                  <c:v>1397-02-29</c:v>
                </c:pt>
                <c:pt idx="35">
                  <c:v>1397-02-30</c:v>
                </c:pt>
                <c:pt idx="36">
                  <c:v>1397-02-31</c:v>
                </c:pt>
                <c:pt idx="37">
                  <c:v>1397-03-01</c:v>
                </c:pt>
                <c:pt idx="38">
                  <c:v>1397-03-02</c:v>
                </c:pt>
                <c:pt idx="39">
                  <c:v>1397-03-05</c:v>
                </c:pt>
                <c:pt idx="40">
                  <c:v>1397-03-06</c:v>
                </c:pt>
                <c:pt idx="41">
                  <c:v>1397-03-07</c:v>
                </c:pt>
                <c:pt idx="42">
                  <c:v>1397-03-08</c:v>
                </c:pt>
                <c:pt idx="43">
                  <c:v>1397-03-09</c:v>
                </c:pt>
                <c:pt idx="44">
                  <c:v>1397-03-12</c:v>
                </c:pt>
                <c:pt idx="45">
                  <c:v>1397-03-13</c:v>
                </c:pt>
                <c:pt idx="46">
                  <c:v>1397-03-19</c:v>
                </c:pt>
                <c:pt idx="47">
                  <c:v>1397-03-20</c:v>
                </c:pt>
                <c:pt idx="48">
                  <c:v>1397-03-21</c:v>
                </c:pt>
                <c:pt idx="49">
                  <c:v>1397-03-22</c:v>
                </c:pt>
                <c:pt idx="50">
                  <c:v>1397-03-23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20</c:v>
                </c:pt>
                <c:pt idx="64">
                  <c:v>1397-04-23</c:v>
                </c:pt>
                <c:pt idx="65">
                  <c:v>1397-04-24</c:v>
                </c:pt>
                <c:pt idx="66">
                  <c:v>1397-04-25</c:v>
                </c:pt>
                <c:pt idx="67">
                  <c:v>1397-04-26</c:v>
                </c:pt>
                <c:pt idx="68">
                  <c:v>1397-04-27</c:v>
                </c:pt>
                <c:pt idx="69">
                  <c:v>1397-04-30</c:v>
                </c:pt>
                <c:pt idx="70">
                  <c:v>1397-04-31</c:v>
                </c:pt>
                <c:pt idx="71">
                  <c:v>1397-05-01</c:v>
                </c:pt>
                <c:pt idx="72">
                  <c:v>1397-05-02</c:v>
                </c:pt>
                <c:pt idx="73">
                  <c:v>1397-05-03</c:v>
                </c:pt>
                <c:pt idx="74">
                  <c:v>1397-05-06</c:v>
                </c:pt>
                <c:pt idx="75">
                  <c:v>1397-05-07</c:v>
                </c:pt>
                <c:pt idx="76">
                  <c:v>1397-05-08</c:v>
                </c:pt>
                <c:pt idx="77">
                  <c:v>1397-05-09</c:v>
                </c:pt>
                <c:pt idx="78">
                  <c:v>1397-05-10</c:v>
                </c:pt>
                <c:pt idx="79">
                  <c:v>1397-05-13</c:v>
                </c:pt>
                <c:pt idx="80">
                  <c:v>1397-05-14</c:v>
                </c:pt>
                <c:pt idx="81">
                  <c:v>1397-05-15</c:v>
                </c:pt>
                <c:pt idx="82">
                  <c:v>1397-05-16</c:v>
                </c:pt>
                <c:pt idx="83">
                  <c:v>1397-05-21</c:v>
                </c:pt>
                <c:pt idx="84">
                  <c:v>1397-05-22</c:v>
                </c:pt>
                <c:pt idx="85">
                  <c:v>1397-05-23</c:v>
                </c:pt>
                <c:pt idx="86">
                  <c:v>1397-05-24</c:v>
                </c:pt>
                <c:pt idx="87">
                  <c:v>1397-05-27</c:v>
                </c:pt>
                <c:pt idx="88">
                  <c:v>1397-05-28</c:v>
                </c:pt>
                <c:pt idx="89">
                  <c:v>1397-05-29</c:v>
                </c:pt>
                <c:pt idx="90">
                  <c:v>1397-05-30</c:v>
                </c:pt>
                <c:pt idx="91">
                  <c:v>1397-06-03</c:v>
                </c:pt>
                <c:pt idx="92">
                  <c:v>1397-06-04</c:v>
                </c:pt>
                <c:pt idx="93">
                  <c:v>1397-06-05</c:v>
                </c:pt>
                <c:pt idx="94">
                  <c:v>1397-06-06</c:v>
                </c:pt>
                <c:pt idx="95">
                  <c:v>1397-06-07</c:v>
                </c:pt>
                <c:pt idx="96">
                  <c:v>1397-06-10</c:v>
                </c:pt>
                <c:pt idx="97">
                  <c:v>1397-06-11</c:v>
                </c:pt>
                <c:pt idx="98">
                  <c:v>1397-06-12</c:v>
                </c:pt>
                <c:pt idx="99">
                  <c:v>1397-06-13</c:v>
                </c:pt>
                <c:pt idx="100">
                  <c:v>1397-06-14</c:v>
                </c:pt>
                <c:pt idx="101">
                  <c:v>1397-06-17</c:v>
                </c:pt>
                <c:pt idx="102">
                  <c:v>1397-06-18</c:v>
                </c:pt>
                <c:pt idx="103">
                  <c:v>1397-06-19</c:v>
                </c:pt>
                <c:pt idx="104">
                  <c:v>1397-06-20</c:v>
                </c:pt>
                <c:pt idx="105">
                  <c:v>1397-06-21</c:v>
                </c:pt>
                <c:pt idx="106">
                  <c:v>1397-06-24</c:v>
                </c:pt>
                <c:pt idx="107">
                  <c:v>1397-06-25</c:v>
                </c:pt>
                <c:pt idx="108">
                  <c:v>1397-06-26</c:v>
                </c:pt>
                <c:pt idx="109">
                  <c:v>1397-06-27</c:v>
                </c:pt>
                <c:pt idx="110">
                  <c:v>1397-06-31</c:v>
                </c:pt>
                <c:pt idx="111">
                  <c:v>1397-07-01</c:v>
                </c:pt>
                <c:pt idx="112">
                  <c:v>1397-07-02</c:v>
                </c:pt>
                <c:pt idx="113">
                  <c:v>1397-07-03</c:v>
                </c:pt>
                <c:pt idx="114">
                  <c:v>1397-07-04</c:v>
                </c:pt>
                <c:pt idx="115">
                  <c:v>1397-07-07</c:v>
                </c:pt>
                <c:pt idx="116">
                  <c:v>1397-07-08</c:v>
                </c:pt>
                <c:pt idx="117">
                  <c:v>1397-07-09</c:v>
                </c:pt>
                <c:pt idx="118">
                  <c:v>1397-07-10</c:v>
                </c:pt>
                <c:pt idx="119">
                  <c:v>1397-07-11</c:v>
                </c:pt>
                <c:pt idx="120">
                  <c:v>1397-07-14</c:v>
                </c:pt>
                <c:pt idx="121">
                  <c:v>1397-07-15</c:v>
                </c:pt>
                <c:pt idx="122">
                  <c:v>1397-07-16</c:v>
                </c:pt>
                <c:pt idx="123">
                  <c:v>1397-07-17</c:v>
                </c:pt>
                <c:pt idx="124">
                  <c:v>1397-07-18</c:v>
                </c:pt>
                <c:pt idx="125">
                  <c:v>1397-07-21</c:v>
                </c:pt>
                <c:pt idx="126">
                  <c:v>1397-07-22</c:v>
                </c:pt>
                <c:pt idx="127">
                  <c:v>1397-07-23</c:v>
                </c:pt>
                <c:pt idx="128">
                  <c:v>1397-07-24</c:v>
                </c:pt>
                <c:pt idx="129">
                  <c:v>1397-07-25</c:v>
                </c:pt>
                <c:pt idx="130">
                  <c:v>1397-07-28</c:v>
                </c:pt>
                <c:pt idx="131">
                  <c:v>1397-07-29</c:v>
                </c:pt>
                <c:pt idx="132">
                  <c:v>1397-07-30</c:v>
                </c:pt>
                <c:pt idx="133">
                  <c:v>1397-08-01</c:v>
                </c:pt>
                <c:pt idx="134">
                  <c:v>1397-08-02</c:v>
                </c:pt>
                <c:pt idx="135">
                  <c:v>1397-08-05</c:v>
                </c:pt>
                <c:pt idx="136">
                  <c:v>1397-08-06</c:v>
                </c:pt>
                <c:pt idx="137">
                  <c:v>1397-08-07</c:v>
                </c:pt>
                <c:pt idx="138">
                  <c:v>1397-08-09</c:v>
                </c:pt>
                <c:pt idx="139">
                  <c:v>1397-08-12</c:v>
                </c:pt>
                <c:pt idx="140">
                  <c:v>1397-08-13</c:v>
                </c:pt>
                <c:pt idx="141">
                  <c:v>1397-08-14</c:v>
                </c:pt>
                <c:pt idx="142">
                  <c:v>1397-08-15</c:v>
                </c:pt>
                <c:pt idx="143">
                  <c:v>1397-08-19</c:v>
                </c:pt>
                <c:pt idx="144">
                  <c:v>1397-08-20</c:v>
                </c:pt>
                <c:pt idx="145">
                  <c:v>1397-08-21</c:v>
                </c:pt>
                <c:pt idx="146">
                  <c:v>1397-08-22</c:v>
                </c:pt>
                <c:pt idx="147">
                  <c:v>1397-08-23</c:v>
                </c:pt>
                <c:pt idx="148">
                  <c:v>1397-08-26</c:v>
                </c:pt>
                <c:pt idx="149">
                  <c:v>1397-08-27</c:v>
                </c:pt>
                <c:pt idx="150">
                  <c:v>1397-08-28</c:v>
                </c:pt>
                <c:pt idx="151">
                  <c:v>1397-08-29</c:v>
                </c:pt>
                <c:pt idx="152">
                  <c:v>1397-08-30</c:v>
                </c:pt>
                <c:pt idx="153">
                  <c:v>1397-09-03</c:v>
                </c:pt>
                <c:pt idx="154">
                  <c:v>1397-09-05</c:v>
                </c:pt>
                <c:pt idx="155">
                  <c:v>1397-09-06</c:v>
                </c:pt>
                <c:pt idx="156">
                  <c:v>1397-09-07</c:v>
                </c:pt>
                <c:pt idx="157">
                  <c:v>1397-09-10</c:v>
                </c:pt>
                <c:pt idx="158">
                  <c:v>1397-09-11</c:v>
                </c:pt>
                <c:pt idx="159">
                  <c:v>1397-09-12</c:v>
                </c:pt>
                <c:pt idx="160">
                  <c:v>1397-09-13</c:v>
                </c:pt>
                <c:pt idx="161">
                  <c:v>1397-09-14</c:v>
                </c:pt>
                <c:pt idx="162">
                  <c:v>1397-09-17</c:v>
                </c:pt>
                <c:pt idx="163">
                  <c:v>1397-09-18</c:v>
                </c:pt>
                <c:pt idx="164">
                  <c:v>1397-09-19</c:v>
                </c:pt>
                <c:pt idx="165">
                  <c:v>1397-09-20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10-03</c:v>
                </c:pt>
                <c:pt idx="171">
                  <c:v>1397-10-04</c:v>
                </c:pt>
                <c:pt idx="172">
                  <c:v>1397-10-05</c:v>
                </c:pt>
                <c:pt idx="173">
                  <c:v>1397-10-08</c:v>
                </c:pt>
                <c:pt idx="174">
                  <c:v>1397-10-09</c:v>
                </c:pt>
                <c:pt idx="175">
                  <c:v>1397-10-10</c:v>
                </c:pt>
                <c:pt idx="176">
                  <c:v>1397-10-11</c:v>
                </c:pt>
                <c:pt idx="177">
                  <c:v>1397-10-12</c:v>
                </c:pt>
                <c:pt idx="178">
                  <c:v>1397-10-15</c:v>
                </c:pt>
                <c:pt idx="179">
                  <c:v>1397-10-16</c:v>
                </c:pt>
                <c:pt idx="180">
                  <c:v>1397-10-17</c:v>
                </c:pt>
                <c:pt idx="181">
                  <c:v>1397-10-18</c:v>
                </c:pt>
                <c:pt idx="182">
                  <c:v>1397-10-19</c:v>
                </c:pt>
                <c:pt idx="183">
                  <c:v>1397-10-22</c:v>
                </c:pt>
                <c:pt idx="184">
                  <c:v>1397-10-23</c:v>
                </c:pt>
                <c:pt idx="185">
                  <c:v>1397-10-24</c:v>
                </c:pt>
                <c:pt idx="186">
                  <c:v>1397-10-25</c:v>
                </c:pt>
                <c:pt idx="187">
                  <c:v>1397-10-26</c:v>
                </c:pt>
                <c:pt idx="188">
                  <c:v>1397-10-29</c:v>
                </c:pt>
                <c:pt idx="189">
                  <c:v>1397-10-30</c:v>
                </c:pt>
                <c:pt idx="190">
                  <c:v>1397-11-01</c:v>
                </c:pt>
                <c:pt idx="191">
                  <c:v>1397-11-02</c:v>
                </c:pt>
                <c:pt idx="192">
                  <c:v>1397-11-03</c:v>
                </c:pt>
                <c:pt idx="193">
                  <c:v>1397-11-06</c:v>
                </c:pt>
                <c:pt idx="194">
                  <c:v>1397-11-07</c:v>
                </c:pt>
                <c:pt idx="195">
                  <c:v>1397-11-08</c:v>
                </c:pt>
                <c:pt idx="196">
                  <c:v>1397-11-09</c:v>
                </c:pt>
                <c:pt idx="197">
                  <c:v>1397-11-10</c:v>
                </c:pt>
                <c:pt idx="198">
                  <c:v>1397-11-13</c:v>
                </c:pt>
                <c:pt idx="199">
                  <c:v>1397-11-14</c:v>
                </c:pt>
                <c:pt idx="200">
                  <c:v>1397-11-15</c:v>
                </c:pt>
                <c:pt idx="201">
                  <c:v>1397-11-16</c:v>
                </c:pt>
                <c:pt idx="202">
                  <c:v>1397-11-17</c:v>
                </c:pt>
                <c:pt idx="203">
                  <c:v>1397-11-21</c:v>
                </c:pt>
                <c:pt idx="204">
                  <c:v>1397-11-23</c:v>
                </c:pt>
                <c:pt idx="205">
                  <c:v>1397-11-24</c:v>
                </c:pt>
                <c:pt idx="206">
                  <c:v>1397-11-27</c:v>
                </c:pt>
                <c:pt idx="207">
                  <c:v>1397-11-28</c:v>
                </c:pt>
                <c:pt idx="208">
                  <c:v>1397-11-29</c:v>
                </c:pt>
                <c:pt idx="209">
                  <c:v>1397-11-30</c:v>
                </c:pt>
                <c:pt idx="210">
                  <c:v>1397-12-01</c:v>
                </c:pt>
                <c:pt idx="211">
                  <c:v>1397-12-04</c:v>
                </c:pt>
                <c:pt idx="212">
                  <c:v>1397-12-05</c:v>
                </c:pt>
                <c:pt idx="213">
                  <c:v>1397-12-06</c:v>
                </c:pt>
                <c:pt idx="214">
                  <c:v>1397-12-07</c:v>
                </c:pt>
                <c:pt idx="215">
                  <c:v>1397-12-08</c:v>
                </c:pt>
                <c:pt idx="216">
                  <c:v>1397-12-11</c:v>
                </c:pt>
                <c:pt idx="217">
                  <c:v>1397-12-12</c:v>
                </c:pt>
                <c:pt idx="218">
                  <c:v>1397-12-13</c:v>
                </c:pt>
                <c:pt idx="219">
                  <c:v>1397-12-14</c:v>
                </c:pt>
                <c:pt idx="220">
                  <c:v>1397-12-15</c:v>
                </c:pt>
                <c:pt idx="221">
                  <c:v>1397-12-18</c:v>
                </c:pt>
                <c:pt idx="222">
                  <c:v>1397-12-19</c:v>
                </c:pt>
                <c:pt idx="223">
                  <c:v>1397-12-20</c:v>
                </c:pt>
                <c:pt idx="224">
                  <c:v>1397-12-21</c:v>
                </c:pt>
                <c:pt idx="225">
                  <c:v>1397-12-22</c:v>
                </c:pt>
                <c:pt idx="226">
                  <c:v>1397-12-25</c:v>
                </c:pt>
                <c:pt idx="227">
                  <c:v>1397-12-26</c:v>
                </c:pt>
                <c:pt idx="228">
                  <c:v>1397-12-27</c:v>
                </c:pt>
                <c:pt idx="229">
                  <c:v>1397-12-28</c:v>
                </c:pt>
                <c:pt idx="230">
                  <c:v>1398-01-05</c:v>
                </c:pt>
                <c:pt idx="231">
                  <c:v>1398-01-06</c:v>
                </c:pt>
                <c:pt idx="232">
                  <c:v>1398-01-07</c:v>
                </c:pt>
                <c:pt idx="233">
                  <c:v>1398-01-10</c:v>
                </c:pt>
                <c:pt idx="234">
                  <c:v>1398-01-11</c:v>
                </c:pt>
                <c:pt idx="235">
                  <c:v>1398-01-17</c:v>
                </c:pt>
                <c:pt idx="236">
                  <c:v>1398-01-18</c:v>
                </c:pt>
                <c:pt idx="237">
                  <c:v>1398-01-19</c:v>
                </c:pt>
                <c:pt idx="238">
                  <c:v>1398-01-20</c:v>
                </c:pt>
                <c:pt idx="239">
                  <c:v>1398-01-21</c:v>
                </c:pt>
                <c:pt idx="240">
                  <c:v>1398-01-24</c:v>
                </c:pt>
                <c:pt idx="241">
                  <c:v>1398-01-25</c:v>
                </c:pt>
                <c:pt idx="242">
                  <c:v>1398-01-26</c:v>
                </c:pt>
                <c:pt idx="243">
                  <c:v>1398-01-27</c:v>
                </c:pt>
                <c:pt idx="244">
                  <c:v>1398-01-28</c:v>
                </c:pt>
                <c:pt idx="245">
                  <c:v>1398-01-31</c:v>
                </c:pt>
                <c:pt idx="246">
                  <c:v>1398-02-02</c:v>
                </c:pt>
                <c:pt idx="247">
                  <c:v>1398-02-03</c:v>
                </c:pt>
                <c:pt idx="248">
                  <c:v>1398-02-04</c:v>
                </c:pt>
                <c:pt idx="249">
                  <c:v>1398-02-07</c:v>
                </c:pt>
                <c:pt idx="250">
                  <c:v>1398-02-08</c:v>
                </c:pt>
                <c:pt idx="251">
                  <c:v>1398-02-09</c:v>
                </c:pt>
                <c:pt idx="252">
                  <c:v>1398-02-10</c:v>
                </c:pt>
                <c:pt idx="253">
                  <c:v>1398-02-11</c:v>
                </c:pt>
                <c:pt idx="254">
                  <c:v>1398-02-14</c:v>
                </c:pt>
                <c:pt idx="255">
                  <c:v>1398-02-15</c:v>
                </c:pt>
                <c:pt idx="256">
                  <c:v>1398-02-16</c:v>
                </c:pt>
                <c:pt idx="257">
                  <c:v>1398-02-17</c:v>
                </c:pt>
                <c:pt idx="258">
                  <c:v>1398-02-18</c:v>
                </c:pt>
                <c:pt idx="259">
                  <c:v>1398-02-21</c:v>
                </c:pt>
                <c:pt idx="260">
                  <c:v>1398-02-22</c:v>
                </c:pt>
                <c:pt idx="261">
                  <c:v>1398-02-23</c:v>
                </c:pt>
                <c:pt idx="262">
                  <c:v>1398-02-24</c:v>
                </c:pt>
                <c:pt idx="263">
                  <c:v>1398-02-25</c:v>
                </c:pt>
                <c:pt idx="264">
                  <c:v>1398-02-28</c:v>
                </c:pt>
                <c:pt idx="265">
                  <c:v>1398-02-29</c:v>
                </c:pt>
                <c:pt idx="266">
                  <c:v>1398-02-30</c:v>
                </c:pt>
                <c:pt idx="267">
                  <c:v>1398-02-31</c:v>
                </c:pt>
                <c:pt idx="268">
                  <c:v>1398-03-01</c:v>
                </c:pt>
                <c:pt idx="269">
                  <c:v>1398-03-04</c:v>
                </c:pt>
                <c:pt idx="270">
                  <c:v>1398-03-05</c:v>
                </c:pt>
                <c:pt idx="271">
                  <c:v>1398-03-07</c:v>
                </c:pt>
                <c:pt idx="272">
                  <c:v>1398-03-08</c:v>
                </c:pt>
                <c:pt idx="273">
                  <c:v>1398-03-11</c:v>
                </c:pt>
                <c:pt idx="274">
                  <c:v>1398-03-12</c:v>
                </c:pt>
                <c:pt idx="275">
                  <c:v>1398-03-13</c:v>
                </c:pt>
                <c:pt idx="276">
                  <c:v>1398-03-18</c:v>
                </c:pt>
                <c:pt idx="277">
                  <c:v>1398-03-19</c:v>
                </c:pt>
                <c:pt idx="278">
                  <c:v>1398-03-20</c:v>
                </c:pt>
                <c:pt idx="279">
                  <c:v>1398-03-21</c:v>
                </c:pt>
                <c:pt idx="280">
                  <c:v>1398-03-22</c:v>
                </c:pt>
                <c:pt idx="281">
                  <c:v>1398-03-25</c:v>
                </c:pt>
                <c:pt idx="282">
                  <c:v>1398-03-26</c:v>
                </c:pt>
                <c:pt idx="283">
                  <c:v>1398-03-27</c:v>
                </c:pt>
                <c:pt idx="284">
                  <c:v>1398-03-28</c:v>
                </c:pt>
                <c:pt idx="285">
                  <c:v>1398-03-29</c:v>
                </c:pt>
                <c:pt idx="286">
                  <c:v>1398-04-01</c:v>
                </c:pt>
                <c:pt idx="287">
                  <c:v>1398-04-02</c:v>
                </c:pt>
                <c:pt idx="288">
                  <c:v>1398-04-03</c:v>
                </c:pt>
                <c:pt idx="289">
                  <c:v>1398-04-04</c:v>
                </c:pt>
                <c:pt idx="290">
                  <c:v>1398-04-05</c:v>
                </c:pt>
                <c:pt idx="291">
                  <c:v>1398-04-09</c:v>
                </c:pt>
                <c:pt idx="292">
                  <c:v>1398-04-10</c:v>
                </c:pt>
                <c:pt idx="293">
                  <c:v>1398-04-11</c:v>
                </c:pt>
                <c:pt idx="294">
                  <c:v>1398-04-12</c:v>
                </c:pt>
                <c:pt idx="295">
                  <c:v>1398-04-15</c:v>
                </c:pt>
                <c:pt idx="296">
                  <c:v>1398-04-16</c:v>
                </c:pt>
                <c:pt idx="297">
                  <c:v>1398-04-17</c:v>
                </c:pt>
                <c:pt idx="298">
                  <c:v>1398-04-18</c:v>
                </c:pt>
                <c:pt idx="299">
                  <c:v>1398-04-19</c:v>
                </c:pt>
                <c:pt idx="300">
                  <c:v>1398-04-22</c:v>
                </c:pt>
                <c:pt idx="301">
                  <c:v>1398-04-29</c:v>
                </c:pt>
                <c:pt idx="302">
                  <c:v>1398-04-30</c:v>
                </c:pt>
                <c:pt idx="303">
                  <c:v>1398-04-31</c:v>
                </c:pt>
                <c:pt idx="304">
                  <c:v>1398-05-01</c:v>
                </c:pt>
                <c:pt idx="305">
                  <c:v>1398-05-02</c:v>
                </c:pt>
                <c:pt idx="306">
                  <c:v>1398-05-05</c:v>
                </c:pt>
                <c:pt idx="307">
                  <c:v>1398-05-06</c:v>
                </c:pt>
                <c:pt idx="308">
                  <c:v>1398-05-07</c:v>
                </c:pt>
                <c:pt idx="309">
                  <c:v>1398-05-08</c:v>
                </c:pt>
                <c:pt idx="310">
                  <c:v>1398-05-09</c:v>
                </c:pt>
                <c:pt idx="311">
                  <c:v>1398-05-12</c:v>
                </c:pt>
                <c:pt idx="312">
                  <c:v>1398-05-13</c:v>
                </c:pt>
                <c:pt idx="313">
                  <c:v>1398-05-14</c:v>
                </c:pt>
                <c:pt idx="314">
                  <c:v>1398-05-15</c:v>
                </c:pt>
                <c:pt idx="315">
                  <c:v>1398-05-16</c:v>
                </c:pt>
                <c:pt idx="316">
                  <c:v>1398-05-19</c:v>
                </c:pt>
                <c:pt idx="317">
                  <c:v>1398-05-20</c:v>
                </c:pt>
                <c:pt idx="318">
                  <c:v>1398-05-22</c:v>
                </c:pt>
                <c:pt idx="319">
                  <c:v>1398-05-23</c:v>
                </c:pt>
                <c:pt idx="320">
                  <c:v>1398-05-26</c:v>
                </c:pt>
                <c:pt idx="321">
                  <c:v>1398-05-27</c:v>
                </c:pt>
                <c:pt idx="322">
                  <c:v>1398-05-28</c:v>
                </c:pt>
                <c:pt idx="323">
                  <c:v>1398-05-30</c:v>
                </c:pt>
                <c:pt idx="324">
                  <c:v>1398-06-02</c:v>
                </c:pt>
                <c:pt idx="325">
                  <c:v>1398-06-03</c:v>
                </c:pt>
                <c:pt idx="326">
                  <c:v>1398-06-04</c:v>
                </c:pt>
                <c:pt idx="327">
                  <c:v>1398-06-05</c:v>
                </c:pt>
                <c:pt idx="328">
                  <c:v>1398-06-06</c:v>
                </c:pt>
                <c:pt idx="329">
                  <c:v>1398-06-09</c:v>
                </c:pt>
                <c:pt idx="330">
                  <c:v>1398-06-10</c:v>
                </c:pt>
                <c:pt idx="331">
                  <c:v>1398-06-11</c:v>
                </c:pt>
                <c:pt idx="332">
                  <c:v>1398-06-12</c:v>
                </c:pt>
                <c:pt idx="333">
                  <c:v>1398-06-13</c:v>
                </c:pt>
                <c:pt idx="334">
                  <c:v>1398-06-16</c:v>
                </c:pt>
                <c:pt idx="335">
                  <c:v>1398-06-17</c:v>
                </c:pt>
                <c:pt idx="336">
                  <c:v>1398-06-20</c:v>
                </c:pt>
                <c:pt idx="337">
                  <c:v>1398-06-23</c:v>
                </c:pt>
                <c:pt idx="338">
                  <c:v>1398-06-24</c:v>
                </c:pt>
                <c:pt idx="339">
                  <c:v>1398-06-25</c:v>
                </c:pt>
                <c:pt idx="340">
                  <c:v>1398-06-26</c:v>
                </c:pt>
                <c:pt idx="341">
                  <c:v>1398-06-27</c:v>
                </c:pt>
                <c:pt idx="342">
                  <c:v>1398-06-30</c:v>
                </c:pt>
                <c:pt idx="343">
                  <c:v>1398-06-31</c:v>
                </c:pt>
                <c:pt idx="344">
                  <c:v>1398-07-01</c:v>
                </c:pt>
                <c:pt idx="345">
                  <c:v>1398-07-02</c:v>
                </c:pt>
                <c:pt idx="346">
                  <c:v>1398-07-03</c:v>
                </c:pt>
                <c:pt idx="347">
                  <c:v>1398-07-06</c:v>
                </c:pt>
                <c:pt idx="348">
                  <c:v>1398-07-07</c:v>
                </c:pt>
                <c:pt idx="349">
                  <c:v>1398-07-08</c:v>
                </c:pt>
                <c:pt idx="350">
                  <c:v>1398-07-09</c:v>
                </c:pt>
                <c:pt idx="351">
                  <c:v>1398-07-10</c:v>
                </c:pt>
                <c:pt idx="352">
                  <c:v>1398-07-13</c:v>
                </c:pt>
                <c:pt idx="353">
                  <c:v>1398-07-14</c:v>
                </c:pt>
                <c:pt idx="354">
                  <c:v>1398-07-15</c:v>
                </c:pt>
                <c:pt idx="355">
                  <c:v>1398-07-16</c:v>
                </c:pt>
                <c:pt idx="356">
                  <c:v>1398-07-17</c:v>
                </c:pt>
                <c:pt idx="357">
                  <c:v>1398-07-20</c:v>
                </c:pt>
                <c:pt idx="358">
                  <c:v>1398-07-21</c:v>
                </c:pt>
                <c:pt idx="359">
                  <c:v>1398-07-22</c:v>
                </c:pt>
                <c:pt idx="360">
                  <c:v>1398-07-23</c:v>
                </c:pt>
                <c:pt idx="361">
                  <c:v>1398-07-24</c:v>
                </c:pt>
                <c:pt idx="362">
                  <c:v>1398-07-28</c:v>
                </c:pt>
                <c:pt idx="363">
                  <c:v>1398-07-29</c:v>
                </c:pt>
                <c:pt idx="364">
                  <c:v>1398-07-30</c:v>
                </c:pt>
                <c:pt idx="365">
                  <c:v>1398-08-01</c:v>
                </c:pt>
                <c:pt idx="366">
                  <c:v>1398-08-04</c:v>
                </c:pt>
                <c:pt idx="367">
                  <c:v>1398-08-06</c:v>
                </c:pt>
                <c:pt idx="368">
                  <c:v>1398-08-08</c:v>
                </c:pt>
                <c:pt idx="369">
                  <c:v>1398-08-11</c:v>
                </c:pt>
                <c:pt idx="370">
                  <c:v>1398-08-12</c:v>
                </c:pt>
                <c:pt idx="371">
                  <c:v>1398-08-13</c:v>
                </c:pt>
                <c:pt idx="372">
                  <c:v>1398-08-14</c:v>
                </c:pt>
                <c:pt idx="373">
                  <c:v>1398-08-18</c:v>
                </c:pt>
                <c:pt idx="374">
                  <c:v>1398-08-19</c:v>
                </c:pt>
                <c:pt idx="375">
                  <c:v>1398-08-20</c:v>
                </c:pt>
                <c:pt idx="376">
                  <c:v>1398-08-21</c:v>
                </c:pt>
                <c:pt idx="377">
                  <c:v>1398-08-22</c:v>
                </c:pt>
                <c:pt idx="378">
                  <c:v>1398-08-25</c:v>
                </c:pt>
                <c:pt idx="379">
                  <c:v>1398-08-26</c:v>
                </c:pt>
                <c:pt idx="380">
                  <c:v>1398-08-27</c:v>
                </c:pt>
                <c:pt idx="381">
                  <c:v>1398-08-28</c:v>
                </c:pt>
                <c:pt idx="382">
                  <c:v>1398-08-29</c:v>
                </c:pt>
                <c:pt idx="383">
                  <c:v>1398-09-02</c:v>
                </c:pt>
                <c:pt idx="384">
                  <c:v>1398-09-03</c:v>
                </c:pt>
                <c:pt idx="385">
                  <c:v>1398-09-04</c:v>
                </c:pt>
                <c:pt idx="386">
                  <c:v>1398-09-05</c:v>
                </c:pt>
                <c:pt idx="387">
                  <c:v>1398-09-06</c:v>
                </c:pt>
                <c:pt idx="388">
                  <c:v>1398-09-09</c:v>
                </c:pt>
                <c:pt idx="389">
                  <c:v>1398-09-10</c:v>
                </c:pt>
                <c:pt idx="390">
                  <c:v>1398-09-11</c:v>
                </c:pt>
                <c:pt idx="391">
                  <c:v>1398-09-12</c:v>
                </c:pt>
                <c:pt idx="392">
                  <c:v>1398-09-13</c:v>
                </c:pt>
                <c:pt idx="393">
                  <c:v>1398-09-16</c:v>
                </c:pt>
                <c:pt idx="394">
                  <c:v>1398-09-17</c:v>
                </c:pt>
                <c:pt idx="395">
                  <c:v>1398-09-18</c:v>
                </c:pt>
                <c:pt idx="396">
                  <c:v>1398-09-19</c:v>
                </c:pt>
                <c:pt idx="397">
                  <c:v>1398-09-20</c:v>
                </c:pt>
                <c:pt idx="398">
                  <c:v>1398-09-23</c:v>
                </c:pt>
                <c:pt idx="399">
                  <c:v>1398-09-24</c:v>
                </c:pt>
                <c:pt idx="400">
                  <c:v>1398-09-25</c:v>
                </c:pt>
                <c:pt idx="401">
                  <c:v>1398-09-26</c:v>
                </c:pt>
                <c:pt idx="402">
                  <c:v>1398-09-27</c:v>
                </c:pt>
                <c:pt idx="403">
                  <c:v>1398-09-30</c:v>
                </c:pt>
                <c:pt idx="404">
                  <c:v>1398-10-01</c:v>
                </c:pt>
                <c:pt idx="405">
                  <c:v>1398-10-02</c:v>
                </c:pt>
                <c:pt idx="406">
                  <c:v>1398-10-03</c:v>
                </c:pt>
                <c:pt idx="407">
                  <c:v>1398-10-04</c:v>
                </c:pt>
                <c:pt idx="408">
                  <c:v>1398-10-07</c:v>
                </c:pt>
                <c:pt idx="409">
                  <c:v>1398-10-08</c:v>
                </c:pt>
                <c:pt idx="410">
                  <c:v>1398-10-09</c:v>
                </c:pt>
                <c:pt idx="411">
                  <c:v>1398-10-10</c:v>
                </c:pt>
                <c:pt idx="412">
                  <c:v>1398-10-11</c:v>
                </c:pt>
                <c:pt idx="413">
                  <c:v>1398-10-14</c:v>
                </c:pt>
                <c:pt idx="414">
                  <c:v>1398-10-15</c:v>
                </c:pt>
                <c:pt idx="415">
                  <c:v>1398-10-17</c:v>
                </c:pt>
                <c:pt idx="416">
                  <c:v>1398-10-18</c:v>
                </c:pt>
                <c:pt idx="417">
                  <c:v>1398-10-21</c:v>
                </c:pt>
                <c:pt idx="418">
                  <c:v>1398-10-22</c:v>
                </c:pt>
                <c:pt idx="419">
                  <c:v>1398-10-23</c:v>
                </c:pt>
                <c:pt idx="420">
                  <c:v>1398-10-24</c:v>
                </c:pt>
                <c:pt idx="421">
                  <c:v>1398-10-25</c:v>
                </c:pt>
                <c:pt idx="422">
                  <c:v>1398-11-02</c:v>
                </c:pt>
                <c:pt idx="423">
                  <c:v>1398-11-05</c:v>
                </c:pt>
                <c:pt idx="424">
                  <c:v>1398-11-06</c:v>
                </c:pt>
                <c:pt idx="425">
                  <c:v>1398-11-07</c:v>
                </c:pt>
                <c:pt idx="426">
                  <c:v>1398-11-08</c:v>
                </c:pt>
                <c:pt idx="427">
                  <c:v>1398-11-12</c:v>
                </c:pt>
                <c:pt idx="428">
                  <c:v>1398-11-13</c:v>
                </c:pt>
                <c:pt idx="429">
                  <c:v>1398-11-14</c:v>
                </c:pt>
                <c:pt idx="430">
                  <c:v>1398-11-15</c:v>
                </c:pt>
                <c:pt idx="431">
                  <c:v>1398-11-16</c:v>
                </c:pt>
                <c:pt idx="432">
                  <c:v>1398-11-19</c:v>
                </c:pt>
                <c:pt idx="433">
                  <c:v>1398-11-20</c:v>
                </c:pt>
                <c:pt idx="434">
                  <c:v>1398-11-21</c:v>
                </c:pt>
                <c:pt idx="435">
                  <c:v>1398-11-23</c:v>
                </c:pt>
                <c:pt idx="436">
                  <c:v>1398-11-26</c:v>
                </c:pt>
                <c:pt idx="437">
                  <c:v>1398-11-27</c:v>
                </c:pt>
                <c:pt idx="438">
                  <c:v>1398-11-28</c:v>
                </c:pt>
                <c:pt idx="439">
                  <c:v>1398-11-29</c:v>
                </c:pt>
                <c:pt idx="440">
                  <c:v>1398-11-30</c:v>
                </c:pt>
                <c:pt idx="441">
                  <c:v>1398-12-03</c:v>
                </c:pt>
                <c:pt idx="442">
                  <c:v>1398-12-04</c:v>
                </c:pt>
                <c:pt idx="443">
                  <c:v>1398-12-05</c:v>
                </c:pt>
                <c:pt idx="444">
                  <c:v>1398-12-06</c:v>
                </c:pt>
                <c:pt idx="445">
                  <c:v>1398-12-07</c:v>
                </c:pt>
                <c:pt idx="446">
                  <c:v>1398-12-10</c:v>
                </c:pt>
                <c:pt idx="447">
                  <c:v>1398-12-11</c:v>
                </c:pt>
                <c:pt idx="448">
                  <c:v>1398-12-12</c:v>
                </c:pt>
                <c:pt idx="449">
                  <c:v>1398-12-13</c:v>
                </c:pt>
                <c:pt idx="450">
                  <c:v>1398-12-14</c:v>
                </c:pt>
                <c:pt idx="451">
                  <c:v>1398-12-17</c:v>
                </c:pt>
                <c:pt idx="452">
                  <c:v>1398-12-19</c:v>
                </c:pt>
                <c:pt idx="453">
                  <c:v>1398-12-20</c:v>
                </c:pt>
                <c:pt idx="454">
                  <c:v>1398-12-21</c:v>
                </c:pt>
                <c:pt idx="455">
                  <c:v>1398-12-24</c:v>
                </c:pt>
                <c:pt idx="456">
                  <c:v>1398-12-25</c:v>
                </c:pt>
                <c:pt idx="457">
                  <c:v>1398-12-26</c:v>
                </c:pt>
                <c:pt idx="458">
                  <c:v>1398-12-27</c:v>
                </c:pt>
                <c:pt idx="459">
                  <c:v>1398-12-28</c:v>
                </c:pt>
                <c:pt idx="460">
                  <c:v>1399-01-05</c:v>
                </c:pt>
                <c:pt idx="461">
                  <c:v>1399-01-06</c:v>
                </c:pt>
                <c:pt idx="462">
                  <c:v>1399-01-09</c:v>
                </c:pt>
                <c:pt idx="463">
                  <c:v>1399-01-10</c:v>
                </c:pt>
                <c:pt idx="464">
                  <c:v>1399-01-11</c:v>
                </c:pt>
                <c:pt idx="465">
                  <c:v>1399-01-16</c:v>
                </c:pt>
                <c:pt idx="466">
                  <c:v>1399-01-17</c:v>
                </c:pt>
                <c:pt idx="467">
                  <c:v>1399-01-18</c:v>
                </c:pt>
                <c:pt idx="468">
                  <c:v>1399-01-19</c:v>
                </c:pt>
                <c:pt idx="469">
                  <c:v>1399-01-20</c:v>
                </c:pt>
                <c:pt idx="470">
                  <c:v>1399-01-23</c:v>
                </c:pt>
                <c:pt idx="471">
                  <c:v>1399-01-24</c:v>
                </c:pt>
                <c:pt idx="472">
                  <c:v>1399-01-25</c:v>
                </c:pt>
                <c:pt idx="473">
                  <c:v>1399-01-26</c:v>
                </c:pt>
                <c:pt idx="474">
                  <c:v>1399-01-27</c:v>
                </c:pt>
                <c:pt idx="475">
                  <c:v>1399-01-30</c:v>
                </c:pt>
                <c:pt idx="476">
                  <c:v>1399-01-31</c:v>
                </c:pt>
                <c:pt idx="477">
                  <c:v>1399-02-01</c:v>
                </c:pt>
                <c:pt idx="478">
                  <c:v>1399-02-02</c:v>
                </c:pt>
                <c:pt idx="479">
                  <c:v>1399-02-03</c:v>
                </c:pt>
                <c:pt idx="480">
                  <c:v>1399-02-06</c:v>
                </c:pt>
                <c:pt idx="481">
                  <c:v>1399-02-07</c:v>
                </c:pt>
                <c:pt idx="482">
                  <c:v>1399-02-10</c:v>
                </c:pt>
                <c:pt idx="483">
                  <c:v>1399-02-13</c:v>
                </c:pt>
                <c:pt idx="484">
                  <c:v>1399-02-14</c:v>
                </c:pt>
                <c:pt idx="485">
                  <c:v>1399-02-15</c:v>
                </c:pt>
                <c:pt idx="486">
                  <c:v>1399-02-16</c:v>
                </c:pt>
                <c:pt idx="487">
                  <c:v>1399-02-17</c:v>
                </c:pt>
                <c:pt idx="488">
                  <c:v>1399-02-20</c:v>
                </c:pt>
                <c:pt idx="489">
                  <c:v>1399-02-21</c:v>
                </c:pt>
                <c:pt idx="490">
                  <c:v>1399-02-22</c:v>
                </c:pt>
                <c:pt idx="491">
                  <c:v>1399-02-23</c:v>
                </c:pt>
                <c:pt idx="492">
                  <c:v>1399-02-24</c:v>
                </c:pt>
                <c:pt idx="493">
                  <c:v>1399-02-27</c:v>
                </c:pt>
                <c:pt idx="494">
                  <c:v>1399-02-28</c:v>
                </c:pt>
                <c:pt idx="495">
                  <c:v>1399-02-29</c:v>
                </c:pt>
                <c:pt idx="496">
                  <c:v>1399-02-30</c:v>
                </c:pt>
                <c:pt idx="497">
                  <c:v>1399-02-31</c:v>
                </c:pt>
                <c:pt idx="498">
                  <c:v>1399-03-03</c:v>
                </c:pt>
                <c:pt idx="499">
                  <c:v>1399-03-06</c:v>
                </c:pt>
                <c:pt idx="500">
                  <c:v>1399-03-07</c:v>
                </c:pt>
                <c:pt idx="501">
                  <c:v>1399-03-10</c:v>
                </c:pt>
                <c:pt idx="502">
                  <c:v>1399-03-11</c:v>
                </c:pt>
                <c:pt idx="503">
                  <c:v>1399-03-12</c:v>
                </c:pt>
                <c:pt idx="504">
                  <c:v>1399-03-13</c:v>
                </c:pt>
                <c:pt idx="505">
                  <c:v>1399-03-17</c:v>
                </c:pt>
                <c:pt idx="506">
                  <c:v>1399-03-18</c:v>
                </c:pt>
                <c:pt idx="507">
                  <c:v>1399-03-19</c:v>
                </c:pt>
                <c:pt idx="508">
                  <c:v>1399-03-20</c:v>
                </c:pt>
                <c:pt idx="509">
                  <c:v>1399-03-21</c:v>
                </c:pt>
                <c:pt idx="510">
                  <c:v>1399-03-24</c:v>
                </c:pt>
                <c:pt idx="511">
                  <c:v>1399-03-25</c:v>
                </c:pt>
                <c:pt idx="512">
                  <c:v>1399-03-26</c:v>
                </c:pt>
                <c:pt idx="513">
                  <c:v>1399-03-31</c:v>
                </c:pt>
                <c:pt idx="514">
                  <c:v>1399-04-01</c:v>
                </c:pt>
                <c:pt idx="515">
                  <c:v>1399-04-02</c:v>
                </c:pt>
                <c:pt idx="516">
                  <c:v>1399-04-03</c:v>
                </c:pt>
                <c:pt idx="517">
                  <c:v>1399-04-04</c:v>
                </c:pt>
                <c:pt idx="518">
                  <c:v>1399-04-07</c:v>
                </c:pt>
                <c:pt idx="519">
                  <c:v>1399-04-08</c:v>
                </c:pt>
                <c:pt idx="520">
                  <c:v>1399-04-09</c:v>
                </c:pt>
                <c:pt idx="521">
                  <c:v>1399-04-10</c:v>
                </c:pt>
                <c:pt idx="522">
                  <c:v>1399-04-11</c:v>
                </c:pt>
                <c:pt idx="523">
                  <c:v>1399-04-14</c:v>
                </c:pt>
                <c:pt idx="524">
                  <c:v>1399-04-15</c:v>
                </c:pt>
                <c:pt idx="525">
                  <c:v>1399-04-16</c:v>
                </c:pt>
                <c:pt idx="526">
                  <c:v>1399-04-18</c:v>
                </c:pt>
                <c:pt idx="527">
                  <c:v>1399-04-21</c:v>
                </c:pt>
                <c:pt idx="528">
                  <c:v>1399-04-22</c:v>
                </c:pt>
                <c:pt idx="529">
                  <c:v>1399-04-23</c:v>
                </c:pt>
                <c:pt idx="530">
                  <c:v>1399-04-24</c:v>
                </c:pt>
                <c:pt idx="531">
                  <c:v>1399-04-28</c:v>
                </c:pt>
                <c:pt idx="532">
                  <c:v>1399-04-29</c:v>
                </c:pt>
                <c:pt idx="533">
                  <c:v>1399-05-04</c:v>
                </c:pt>
                <c:pt idx="534">
                  <c:v>1399-05-05</c:v>
                </c:pt>
                <c:pt idx="535">
                  <c:v>1399-05-06</c:v>
                </c:pt>
                <c:pt idx="536">
                  <c:v>1399-05-07</c:v>
                </c:pt>
                <c:pt idx="537">
                  <c:v>1399-05-08</c:v>
                </c:pt>
                <c:pt idx="538">
                  <c:v>1399-05-11</c:v>
                </c:pt>
                <c:pt idx="539">
                  <c:v>1399-05-12</c:v>
                </c:pt>
                <c:pt idx="540">
                  <c:v>1399-05-13</c:v>
                </c:pt>
                <c:pt idx="541">
                  <c:v>1399-05-14</c:v>
                </c:pt>
                <c:pt idx="542">
                  <c:v>1399-05-15</c:v>
                </c:pt>
                <c:pt idx="543">
                  <c:v>1399-05-19</c:v>
                </c:pt>
                <c:pt idx="544">
                  <c:v>1399-05-20</c:v>
                </c:pt>
                <c:pt idx="545">
                  <c:v>1399-05-21</c:v>
                </c:pt>
                <c:pt idx="546">
                  <c:v>1399-05-22</c:v>
                </c:pt>
                <c:pt idx="547">
                  <c:v>1399-05-26</c:v>
                </c:pt>
                <c:pt idx="548">
                  <c:v>1399-05-27</c:v>
                </c:pt>
                <c:pt idx="549">
                  <c:v>1399-05-28</c:v>
                </c:pt>
                <c:pt idx="550">
                  <c:v>1399-05-29</c:v>
                </c:pt>
                <c:pt idx="551">
                  <c:v>1399-06-01</c:v>
                </c:pt>
                <c:pt idx="552">
                  <c:v>1399-06-02</c:v>
                </c:pt>
                <c:pt idx="553">
                  <c:v>1399-06-03</c:v>
                </c:pt>
                <c:pt idx="554">
                  <c:v>1399-06-04</c:v>
                </c:pt>
                <c:pt idx="555">
                  <c:v>1399-06-05</c:v>
                </c:pt>
                <c:pt idx="556">
                  <c:v>1399-06-10</c:v>
                </c:pt>
                <c:pt idx="557">
                  <c:v>1399-06-11</c:v>
                </c:pt>
                <c:pt idx="558">
                  <c:v>1399-06-12</c:v>
                </c:pt>
                <c:pt idx="559">
                  <c:v>1399-06-15</c:v>
                </c:pt>
                <c:pt idx="560">
                  <c:v>1399-06-16</c:v>
                </c:pt>
                <c:pt idx="561">
                  <c:v>1399-06-17</c:v>
                </c:pt>
                <c:pt idx="562">
                  <c:v>1399-06-18</c:v>
                </c:pt>
                <c:pt idx="563">
                  <c:v>1399-06-19</c:v>
                </c:pt>
                <c:pt idx="564">
                  <c:v>1399-06-22</c:v>
                </c:pt>
                <c:pt idx="565">
                  <c:v>1399-06-23</c:v>
                </c:pt>
                <c:pt idx="566">
                  <c:v>1399-06-24</c:v>
                </c:pt>
                <c:pt idx="567">
                  <c:v>1399-06-25</c:v>
                </c:pt>
                <c:pt idx="568">
                  <c:v>1399-06-26</c:v>
                </c:pt>
                <c:pt idx="569">
                  <c:v>1399-06-29</c:v>
                </c:pt>
                <c:pt idx="570">
                  <c:v>1399-06-30</c:v>
                </c:pt>
                <c:pt idx="571">
                  <c:v>1399-06-31</c:v>
                </c:pt>
                <c:pt idx="572">
                  <c:v>1399-07-01</c:v>
                </c:pt>
                <c:pt idx="573">
                  <c:v>1399-07-02</c:v>
                </c:pt>
                <c:pt idx="574">
                  <c:v>1399-07-05</c:v>
                </c:pt>
                <c:pt idx="575">
                  <c:v>1399-07-06</c:v>
                </c:pt>
                <c:pt idx="576">
                  <c:v>1399-07-07</c:v>
                </c:pt>
                <c:pt idx="577">
                  <c:v>1399-07-08</c:v>
                </c:pt>
                <c:pt idx="578">
                  <c:v>1399-07-09</c:v>
                </c:pt>
                <c:pt idx="579">
                  <c:v>1399-07-12</c:v>
                </c:pt>
                <c:pt idx="580">
                  <c:v>1399-07-13</c:v>
                </c:pt>
                <c:pt idx="581">
                  <c:v>1399-07-14</c:v>
                </c:pt>
                <c:pt idx="582">
                  <c:v>1399-07-15</c:v>
                </c:pt>
                <c:pt idx="583">
                  <c:v>1399-07-16</c:v>
                </c:pt>
                <c:pt idx="584">
                  <c:v>1399-07-19</c:v>
                </c:pt>
                <c:pt idx="585">
                  <c:v>1399-07-20</c:v>
                </c:pt>
                <c:pt idx="586">
                  <c:v>1399-07-21</c:v>
                </c:pt>
                <c:pt idx="587">
                  <c:v>1399-07-22</c:v>
                </c:pt>
                <c:pt idx="588">
                  <c:v>1399-07-23</c:v>
                </c:pt>
                <c:pt idx="589">
                  <c:v>1399-07-27</c:v>
                </c:pt>
                <c:pt idx="590">
                  <c:v>1399-07-28</c:v>
                </c:pt>
                <c:pt idx="591">
                  <c:v>1399-07-29</c:v>
                </c:pt>
                <c:pt idx="592">
                  <c:v>1399-07-30</c:v>
                </c:pt>
                <c:pt idx="593">
                  <c:v>1399-08-03</c:v>
                </c:pt>
                <c:pt idx="594">
                  <c:v>1399-08-05</c:v>
                </c:pt>
                <c:pt idx="595">
                  <c:v>1399-08-06</c:v>
                </c:pt>
                <c:pt idx="596">
                  <c:v>1399-08-07</c:v>
                </c:pt>
                <c:pt idx="597">
                  <c:v>1399-08-10</c:v>
                </c:pt>
                <c:pt idx="598">
                  <c:v>1399-08-11</c:v>
                </c:pt>
                <c:pt idx="599">
                  <c:v>1399-08-12</c:v>
                </c:pt>
                <c:pt idx="600">
                  <c:v>1399-08-14</c:v>
                </c:pt>
                <c:pt idx="601">
                  <c:v>1399-08-17</c:v>
                </c:pt>
                <c:pt idx="602">
                  <c:v>1399-08-18</c:v>
                </c:pt>
                <c:pt idx="603">
                  <c:v>1399-08-19</c:v>
                </c:pt>
                <c:pt idx="604">
                  <c:v>1399-08-20</c:v>
                </c:pt>
                <c:pt idx="605">
                  <c:v>1399-08-21</c:v>
                </c:pt>
                <c:pt idx="606">
                  <c:v>1399-08-24</c:v>
                </c:pt>
                <c:pt idx="607">
                  <c:v>1399-08-25</c:v>
                </c:pt>
                <c:pt idx="608">
                  <c:v>1399-08-26</c:v>
                </c:pt>
                <c:pt idx="609">
                  <c:v>1399-08-27</c:v>
                </c:pt>
                <c:pt idx="610">
                  <c:v>1399-08-28</c:v>
                </c:pt>
                <c:pt idx="611">
                  <c:v>1399-09-01</c:v>
                </c:pt>
                <c:pt idx="612">
                  <c:v>1399-09-02</c:v>
                </c:pt>
                <c:pt idx="613">
                  <c:v>1399-09-03</c:v>
                </c:pt>
                <c:pt idx="614">
                  <c:v>1399-09-04</c:v>
                </c:pt>
                <c:pt idx="615">
                  <c:v>1399-09-05</c:v>
                </c:pt>
                <c:pt idx="616">
                  <c:v>1399-09-08</c:v>
                </c:pt>
                <c:pt idx="617">
                  <c:v>1399-09-18</c:v>
                </c:pt>
                <c:pt idx="618">
                  <c:v>1399-09-19</c:v>
                </c:pt>
                <c:pt idx="619">
                  <c:v>1399-09-22</c:v>
                </c:pt>
                <c:pt idx="620">
                  <c:v>1399-09-23</c:v>
                </c:pt>
                <c:pt idx="621">
                  <c:v>1399-09-24</c:v>
                </c:pt>
                <c:pt idx="622">
                  <c:v>1399-09-25</c:v>
                </c:pt>
                <c:pt idx="623">
                  <c:v>1399-09-26</c:v>
                </c:pt>
                <c:pt idx="624">
                  <c:v>1399-09-29</c:v>
                </c:pt>
                <c:pt idx="625">
                  <c:v>1399-09-30</c:v>
                </c:pt>
                <c:pt idx="626">
                  <c:v>1399-10-01</c:v>
                </c:pt>
                <c:pt idx="627">
                  <c:v>1399-10-02</c:v>
                </c:pt>
                <c:pt idx="628">
                  <c:v>1399-10-03</c:v>
                </c:pt>
                <c:pt idx="629">
                  <c:v>1399-10-06</c:v>
                </c:pt>
                <c:pt idx="630">
                  <c:v>1399-10-07</c:v>
                </c:pt>
                <c:pt idx="631">
                  <c:v>1399-10-08</c:v>
                </c:pt>
                <c:pt idx="632">
                  <c:v>1399-10-09</c:v>
                </c:pt>
                <c:pt idx="633">
                  <c:v>1399-10-10</c:v>
                </c:pt>
                <c:pt idx="634">
                  <c:v>1399-10-13</c:v>
                </c:pt>
                <c:pt idx="635">
                  <c:v>1399-10-14</c:v>
                </c:pt>
                <c:pt idx="636">
                  <c:v>1399-10-15</c:v>
                </c:pt>
                <c:pt idx="637">
                  <c:v>1399-10-16</c:v>
                </c:pt>
                <c:pt idx="638">
                  <c:v>1399-10-17</c:v>
                </c:pt>
                <c:pt idx="639">
                  <c:v>1399-10-20</c:v>
                </c:pt>
                <c:pt idx="640">
                  <c:v>1399-10-21</c:v>
                </c:pt>
                <c:pt idx="641">
                  <c:v>1399-10-22</c:v>
                </c:pt>
                <c:pt idx="642">
                  <c:v>1399-10-23</c:v>
                </c:pt>
                <c:pt idx="643">
                  <c:v>1399-10-24</c:v>
                </c:pt>
                <c:pt idx="644">
                  <c:v>1399-10-27</c:v>
                </c:pt>
                <c:pt idx="645">
                  <c:v>1399-10-29</c:v>
                </c:pt>
                <c:pt idx="646">
                  <c:v>1399-10-30</c:v>
                </c:pt>
                <c:pt idx="647">
                  <c:v>1399-11-01</c:v>
                </c:pt>
                <c:pt idx="648">
                  <c:v>1399-11-04</c:v>
                </c:pt>
                <c:pt idx="649">
                  <c:v>1399-11-05</c:v>
                </c:pt>
                <c:pt idx="650">
                  <c:v>1399-11-06</c:v>
                </c:pt>
                <c:pt idx="651">
                  <c:v>1399-11-07</c:v>
                </c:pt>
                <c:pt idx="652">
                  <c:v>1399-11-08</c:v>
                </c:pt>
                <c:pt idx="653">
                  <c:v>1399-11-11</c:v>
                </c:pt>
                <c:pt idx="654">
                  <c:v>1399-11-12</c:v>
                </c:pt>
                <c:pt idx="655">
                  <c:v>1399-11-13</c:v>
                </c:pt>
                <c:pt idx="656">
                  <c:v>1399-11-14</c:v>
                </c:pt>
                <c:pt idx="657">
                  <c:v>1399-11-15</c:v>
                </c:pt>
                <c:pt idx="658">
                  <c:v>1399-11-18</c:v>
                </c:pt>
                <c:pt idx="659">
                  <c:v>1399-11-19</c:v>
                </c:pt>
                <c:pt idx="660">
                  <c:v>1399-11-20</c:v>
                </c:pt>
                <c:pt idx="661">
                  <c:v>1399-11-21</c:v>
                </c:pt>
                <c:pt idx="662">
                  <c:v>1399-11-25</c:v>
                </c:pt>
                <c:pt idx="663">
                  <c:v>1399-11-26</c:v>
                </c:pt>
                <c:pt idx="664">
                  <c:v>1399-11-27</c:v>
                </c:pt>
                <c:pt idx="665">
                  <c:v>1399-11-28</c:v>
                </c:pt>
                <c:pt idx="666">
                  <c:v>1399-11-29</c:v>
                </c:pt>
                <c:pt idx="667">
                  <c:v>1399-12-02</c:v>
                </c:pt>
                <c:pt idx="668">
                  <c:v>1399-12-03</c:v>
                </c:pt>
                <c:pt idx="669">
                  <c:v>1399-12-04</c:v>
                </c:pt>
                <c:pt idx="670">
                  <c:v>1399-12-05</c:v>
                </c:pt>
                <c:pt idx="671">
                  <c:v>1399-12-06</c:v>
                </c:pt>
                <c:pt idx="672">
                  <c:v>1399-12-09</c:v>
                </c:pt>
                <c:pt idx="673">
                  <c:v>1399-12-10</c:v>
                </c:pt>
                <c:pt idx="674">
                  <c:v>1399-12-11</c:v>
                </c:pt>
                <c:pt idx="675">
                  <c:v>1399-12-12</c:v>
                </c:pt>
                <c:pt idx="676">
                  <c:v>1399-12-13</c:v>
                </c:pt>
                <c:pt idx="677">
                  <c:v>1399-12-16</c:v>
                </c:pt>
                <c:pt idx="678">
                  <c:v>1399-12-17</c:v>
                </c:pt>
                <c:pt idx="679">
                  <c:v>1399-12-18</c:v>
                </c:pt>
                <c:pt idx="680">
                  <c:v>1399-12-19</c:v>
                </c:pt>
                <c:pt idx="681">
                  <c:v>1399-12-20</c:v>
                </c:pt>
                <c:pt idx="682">
                  <c:v>1399-12-23</c:v>
                </c:pt>
                <c:pt idx="683">
                  <c:v>1399-12-24</c:v>
                </c:pt>
                <c:pt idx="684">
                  <c:v>1399-12-25</c:v>
                </c:pt>
                <c:pt idx="685">
                  <c:v>1399-12-26</c:v>
                </c:pt>
                <c:pt idx="686">
                  <c:v>1399-12-27</c:v>
                </c:pt>
                <c:pt idx="687">
                  <c:v>1400-01-07</c:v>
                </c:pt>
                <c:pt idx="688">
                  <c:v>1400-01-08</c:v>
                </c:pt>
                <c:pt idx="689">
                  <c:v>1400-01-10</c:v>
                </c:pt>
                <c:pt idx="690">
                  <c:v>1400-01-11</c:v>
                </c:pt>
                <c:pt idx="691">
                  <c:v>1400-01-14</c:v>
                </c:pt>
                <c:pt idx="692">
                  <c:v>1400-01-15</c:v>
                </c:pt>
                <c:pt idx="693">
                  <c:v>1400-01-16</c:v>
                </c:pt>
                <c:pt idx="694">
                  <c:v>1400-01-17</c:v>
                </c:pt>
                <c:pt idx="695">
                  <c:v>1400-01-18</c:v>
                </c:pt>
                <c:pt idx="696">
                  <c:v>1400-01-21</c:v>
                </c:pt>
                <c:pt idx="697">
                  <c:v>1400-01-22</c:v>
                </c:pt>
                <c:pt idx="698">
                  <c:v>1400-01-23</c:v>
                </c:pt>
                <c:pt idx="699">
                  <c:v>1400-01-24</c:v>
                </c:pt>
                <c:pt idx="700">
                  <c:v>1400-01-25</c:v>
                </c:pt>
                <c:pt idx="701">
                  <c:v>1400-01-28</c:v>
                </c:pt>
                <c:pt idx="702">
                  <c:v>1400-01-29</c:v>
                </c:pt>
                <c:pt idx="703">
                  <c:v>1400-01-30</c:v>
                </c:pt>
                <c:pt idx="704">
                  <c:v>1400-01-31</c:v>
                </c:pt>
                <c:pt idx="705">
                  <c:v>1400-02-01</c:v>
                </c:pt>
                <c:pt idx="706">
                  <c:v>1400-02-04</c:v>
                </c:pt>
                <c:pt idx="707">
                  <c:v>1400-02-05</c:v>
                </c:pt>
                <c:pt idx="708">
                  <c:v>1400-02-06</c:v>
                </c:pt>
                <c:pt idx="709">
                  <c:v>1400-02-07</c:v>
                </c:pt>
                <c:pt idx="710">
                  <c:v>1400-02-08</c:v>
                </c:pt>
                <c:pt idx="711">
                  <c:v>1400-02-11</c:v>
                </c:pt>
                <c:pt idx="712">
                  <c:v>1400-02-12</c:v>
                </c:pt>
                <c:pt idx="713">
                  <c:v>1400-02-13</c:v>
                </c:pt>
                <c:pt idx="714">
                  <c:v>1400-02-15</c:v>
                </c:pt>
                <c:pt idx="715">
                  <c:v>1400-02-18</c:v>
                </c:pt>
                <c:pt idx="716">
                  <c:v>1400-02-19</c:v>
                </c:pt>
                <c:pt idx="717">
                  <c:v>1400-02-20</c:v>
                </c:pt>
                <c:pt idx="718">
                  <c:v>1400-02-21</c:v>
                </c:pt>
                <c:pt idx="719">
                  <c:v>1400-02-22</c:v>
                </c:pt>
                <c:pt idx="720">
                  <c:v>1400-02-25</c:v>
                </c:pt>
                <c:pt idx="721">
                  <c:v>1400-02-26</c:v>
                </c:pt>
                <c:pt idx="722">
                  <c:v>1400-02-27</c:v>
                </c:pt>
                <c:pt idx="723">
                  <c:v>1400-02-28</c:v>
                </c:pt>
                <c:pt idx="724">
                  <c:v>1400-02-29</c:v>
                </c:pt>
                <c:pt idx="725">
                  <c:v>1400-03-01</c:v>
                </c:pt>
                <c:pt idx="726">
                  <c:v>1400-03-02</c:v>
                </c:pt>
                <c:pt idx="727">
                  <c:v>1400-03-03</c:v>
                </c:pt>
                <c:pt idx="728">
                  <c:v>1400-03-04</c:v>
                </c:pt>
                <c:pt idx="729">
                  <c:v>1400-03-05</c:v>
                </c:pt>
                <c:pt idx="730">
                  <c:v>1400-03-08</c:v>
                </c:pt>
                <c:pt idx="731">
                  <c:v>1400-03-09</c:v>
                </c:pt>
                <c:pt idx="732">
                  <c:v>1400-03-10</c:v>
                </c:pt>
                <c:pt idx="733">
                  <c:v>1400-03-11</c:v>
                </c:pt>
                <c:pt idx="734">
                  <c:v>1400-03-12</c:v>
                </c:pt>
                <c:pt idx="735">
                  <c:v>1400-03-17</c:v>
                </c:pt>
                <c:pt idx="736">
                  <c:v>1400-03-18</c:v>
                </c:pt>
                <c:pt idx="737">
                  <c:v>1400-03-19</c:v>
                </c:pt>
                <c:pt idx="738">
                  <c:v>1400-03-22</c:v>
                </c:pt>
                <c:pt idx="739">
                  <c:v>1400-03-23</c:v>
                </c:pt>
                <c:pt idx="740">
                  <c:v>1400-03-24</c:v>
                </c:pt>
                <c:pt idx="741">
                  <c:v>1400-03-25</c:v>
                </c:pt>
                <c:pt idx="742">
                  <c:v>1400-03-26</c:v>
                </c:pt>
                <c:pt idx="743">
                  <c:v>1400-03-29</c:v>
                </c:pt>
                <c:pt idx="744">
                  <c:v>1400-03-30</c:v>
                </c:pt>
                <c:pt idx="745">
                  <c:v>1400-03-31</c:v>
                </c:pt>
                <c:pt idx="746">
                  <c:v>1400-04-01</c:v>
                </c:pt>
                <c:pt idx="747">
                  <c:v>1400-04-02</c:v>
                </c:pt>
                <c:pt idx="748">
                  <c:v>1400-04-05</c:v>
                </c:pt>
                <c:pt idx="749">
                  <c:v>1400-04-06</c:v>
                </c:pt>
                <c:pt idx="750">
                  <c:v>1400-04-07</c:v>
                </c:pt>
                <c:pt idx="751">
                  <c:v>1400-04-08</c:v>
                </c:pt>
                <c:pt idx="752">
                  <c:v>1400-04-09</c:v>
                </c:pt>
                <c:pt idx="753">
                  <c:v>1400-04-12</c:v>
                </c:pt>
                <c:pt idx="754">
                  <c:v>1400-04-13</c:v>
                </c:pt>
                <c:pt idx="755">
                  <c:v>1400-04-14</c:v>
                </c:pt>
                <c:pt idx="756">
                  <c:v>1400-04-15</c:v>
                </c:pt>
                <c:pt idx="757">
                  <c:v>1400-04-16</c:v>
                </c:pt>
                <c:pt idx="758">
                  <c:v>1400-04-19</c:v>
                </c:pt>
                <c:pt idx="759">
                  <c:v>1400-04-20</c:v>
                </c:pt>
                <c:pt idx="760">
                  <c:v>1400-04-21</c:v>
                </c:pt>
                <c:pt idx="761">
                  <c:v>1400-04-22</c:v>
                </c:pt>
                <c:pt idx="762">
                  <c:v>1400-04-23</c:v>
                </c:pt>
                <c:pt idx="763">
                  <c:v>1400-04-26</c:v>
                </c:pt>
                <c:pt idx="764">
                  <c:v>1400-04-27</c:v>
                </c:pt>
                <c:pt idx="765">
                  <c:v>1400-05-05</c:v>
                </c:pt>
                <c:pt idx="766">
                  <c:v>1400-05-06</c:v>
                </c:pt>
                <c:pt idx="767">
                  <c:v>1400-05-09</c:v>
                </c:pt>
                <c:pt idx="768">
                  <c:v>1400-05-10</c:v>
                </c:pt>
                <c:pt idx="769">
                  <c:v>1400-05-11</c:v>
                </c:pt>
                <c:pt idx="770">
                  <c:v>1400-05-12</c:v>
                </c:pt>
                <c:pt idx="771">
                  <c:v>1400-05-13</c:v>
                </c:pt>
                <c:pt idx="772">
                  <c:v>1400-05-16</c:v>
                </c:pt>
                <c:pt idx="773">
                  <c:v>1400-05-17</c:v>
                </c:pt>
                <c:pt idx="774">
                  <c:v>1400-05-18</c:v>
                </c:pt>
                <c:pt idx="775">
                  <c:v>1400-05-19</c:v>
                </c:pt>
                <c:pt idx="776">
                  <c:v>1400-05-20</c:v>
                </c:pt>
                <c:pt idx="777">
                  <c:v>1400-05-23</c:v>
                </c:pt>
                <c:pt idx="778">
                  <c:v>1400-05-24</c:v>
                </c:pt>
                <c:pt idx="779">
                  <c:v>1400-05-31</c:v>
                </c:pt>
                <c:pt idx="780">
                  <c:v>1400-06-01</c:v>
                </c:pt>
                <c:pt idx="781">
                  <c:v>1400-06-02</c:v>
                </c:pt>
                <c:pt idx="782">
                  <c:v>1400-06-03</c:v>
                </c:pt>
                <c:pt idx="783">
                  <c:v>1400-06-06</c:v>
                </c:pt>
                <c:pt idx="784">
                  <c:v>1400-06-07</c:v>
                </c:pt>
                <c:pt idx="785">
                  <c:v>1400-06-08</c:v>
                </c:pt>
                <c:pt idx="786">
                  <c:v>1400-06-09</c:v>
                </c:pt>
                <c:pt idx="787">
                  <c:v>1400-06-10</c:v>
                </c:pt>
                <c:pt idx="788">
                  <c:v>1400-06-13</c:v>
                </c:pt>
                <c:pt idx="789">
                  <c:v>1400-06-14</c:v>
                </c:pt>
                <c:pt idx="790">
                  <c:v>1400-06-15</c:v>
                </c:pt>
                <c:pt idx="791">
                  <c:v>1400-06-16</c:v>
                </c:pt>
                <c:pt idx="792">
                  <c:v>1400-06-17</c:v>
                </c:pt>
                <c:pt idx="793">
                  <c:v>1400-06-20</c:v>
                </c:pt>
                <c:pt idx="794">
                  <c:v>1400-06-21</c:v>
                </c:pt>
                <c:pt idx="795">
                  <c:v>1400-06-22</c:v>
                </c:pt>
                <c:pt idx="796">
                  <c:v>1400-06-23</c:v>
                </c:pt>
                <c:pt idx="797">
                  <c:v>1400-06-24</c:v>
                </c:pt>
                <c:pt idx="798">
                  <c:v>1400-06-27</c:v>
                </c:pt>
                <c:pt idx="799">
                  <c:v>1400-06-28</c:v>
                </c:pt>
                <c:pt idx="800">
                  <c:v>1400-06-29</c:v>
                </c:pt>
                <c:pt idx="801">
                  <c:v>1400-06-30</c:v>
                </c:pt>
                <c:pt idx="802">
                  <c:v>1400-06-31</c:v>
                </c:pt>
                <c:pt idx="803">
                  <c:v>1400-07-03</c:v>
                </c:pt>
                <c:pt idx="804">
                  <c:v>1400-07-04</c:v>
                </c:pt>
                <c:pt idx="805">
                  <c:v>1400-07-06</c:v>
                </c:pt>
                <c:pt idx="806">
                  <c:v>1400-07-07</c:v>
                </c:pt>
                <c:pt idx="807">
                  <c:v>1400-07-10</c:v>
                </c:pt>
                <c:pt idx="808">
                  <c:v>1400-07-11</c:v>
                </c:pt>
                <c:pt idx="809">
                  <c:v>1400-07-12</c:v>
                </c:pt>
                <c:pt idx="810">
                  <c:v>1400-07-14</c:v>
                </c:pt>
                <c:pt idx="811">
                  <c:v>1400-07-17</c:v>
                </c:pt>
                <c:pt idx="812">
                  <c:v>1400-07-18</c:v>
                </c:pt>
                <c:pt idx="813">
                  <c:v>1400-07-19</c:v>
                </c:pt>
                <c:pt idx="814">
                  <c:v>1400-07-20</c:v>
                </c:pt>
                <c:pt idx="815">
                  <c:v>1400-07-21</c:v>
                </c:pt>
                <c:pt idx="816">
                  <c:v>1400-07-24</c:v>
                </c:pt>
                <c:pt idx="817">
                  <c:v>1400-07-25</c:v>
                </c:pt>
                <c:pt idx="818">
                  <c:v>1400-07-26</c:v>
                </c:pt>
                <c:pt idx="819">
                  <c:v>1400-07-27</c:v>
                </c:pt>
                <c:pt idx="820">
                  <c:v>1400-07-28</c:v>
                </c:pt>
                <c:pt idx="821">
                  <c:v>1400-08-01</c:v>
                </c:pt>
                <c:pt idx="822">
                  <c:v>1400-08-03</c:v>
                </c:pt>
                <c:pt idx="823">
                  <c:v>1400-08-04</c:v>
                </c:pt>
                <c:pt idx="824">
                  <c:v>1400-08-05</c:v>
                </c:pt>
                <c:pt idx="825">
                  <c:v>1400-08-08</c:v>
                </c:pt>
                <c:pt idx="826">
                  <c:v>1400-08-09</c:v>
                </c:pt>
                <c:pt idx="827">
                  <c:v>1400-08-10</c:v>
                </c:pt>
                <c:pt idx="828">
                  <c:v>1400-08-11</c:v>
                </c:pt>
                <c:pt idx="829">
                  <c:v>1400-08-12</c:v>
                </c:pt>
                <c:pt idx="830">
                  <c:v>1400-08-15</c:v>
                </c:pt>
                <c:pt idx="831">
                  <c:v>1400-08-16</c:v>
                </c:pt>
                <c:pt idx="832">
                  <c:v>1400-08-17</c:v>
                </c:pt>
                <c:pt idx="833">
                  <c:v>1400-08-18</c:v>
                </c:pt>
                <c:pt idx="834">
                  <c:v>1400-08-19</c:v>
                </c:pt>
                <c:pt idx="835">
                  <c:v>1400-08-22</c:v>
                </c:pt>
                <c:pt idx="836">
                  <c:v>1400-08-23</c:v>
                </c:pt>
                <c:pt idx="837">
                  <c:v>1400-08-24</c:v>
                </c:pt>
                <c:pt idx="838">
                  <c:v>1400-08-25</c:v>
                </c:pt>
                <c:pt idx="839">
                  <c:v>1400-08-26</c:v>
                </c:pt>
                <c:pt idx="840">
                  <c:v>1400-08-30</c:v>
                </c:pt>
                <c:pt idx="841">
                  <c:v>1400-09-15</c:v>
                </c:pt>
                <c:pt idx="842">
                  <c:v>1400-09-16</c:v>
                </c:pt>
                <c:pt idx="843">
                  <c:v>1400-09-17</c:v>
                </c:pt>
                <c:pt idx="844">
                  <c:v>1400-09-20</c:v>
                </c:pt>
                <c:pt idx="845">
                  <c:v>1400-09-21</c:v>
                </c:pt>
                <c:pt idx="846">
                  <c:v>1400-09-22</c:v>
                </c:pt>
                <c:pt idx="847">
                  <c:v>1400-09-23</c:v>
                </c:pt>
                <c:pt idx="848">
                  <c:v>1400-09-24</c:v>
                </c:pt>
                <c:pt idx="849">
                  <c:v>1400-09-27</c:v>
                </c:pt>
                <c:pt idx="850">
                  <c:v>1400-09-28</c:v>
                </c:pt>
                <c:pt idx="851">
                  <c:v>1400-09-29</c:v>
                </c:pt>
                <c:pt idx="852">
                  <c:v>1400-09-30</c:v>
                </c:pt>
                <c:pt idx="853">
                  <c:v>1400-10-01</c:v>
                </c:pt>
                <c:pt idx="854">
                  <c:v>1400-10-04</c:v>
                </c:pt>
                <c:pt idx="855">
                  <c:v>1400-10-05</c:v>
                </c:pt>
                <c:pt idx="856">
                  <c:v>1400-10-06</c:v>
                </c:pt>
                <c:pt idx="857">
                  <c:v>1400-10-07</c:v>
                </c:pt>
                <c:pt idx="858">
                  <c:v>1400-10-08</c:v>
                </c:pt>
                <c:pt idx="859">
                  <c:v>1400-10-11</c:v>
                </c:pt>
                <c:pt idx="860">
                  <c:v>1400-10-12</c:v>
                </c:pt>
                <c:pt idx="861">
                  <c:v>1400-10-13</c:v>
                </c:pt>
                <c:pt idx="862">
                  <c:v>1400-10-14</c:v>
                </c:pt>
                <c:pt idx="863">
                  <c:v>1400-10-15</c:v>
                </c:pt>
                <c:pt idx="864">
                  <c:v>1400-10-18</c:v>
                </c:pt>
                <c:pt idx="865">
                  <c:v>1400-10-19</c:v>
                </c:pt>
                <c:pt idx="866">
                  <c:v>1400-10-20</c:v>
                </c:pt>
                <c:pt idx="867">
                  <c:v>1400-10-21</c:v>
                </c:pt>
                <c:pt idx="868">
                  <c:v>1400-10-22</c:v>
                </c:pt>
                <c:pt idx="869">
                  <c:v>1400-10-25</c:v>
                </c:pt>
                <c:pt idx="870">
                  <c:v>1400-10-26</c:v>
                </c:pt>
                <c:pt idx="871">
                  <c:v>1400-10-27</c:v>
                </c:pt>
                <c:pt idx="872">
                  <c:v>1400-10-28</c:v>
                </c:pt>
                <c:pt idx="873">
                  <c:v>1400-10-29</c:v>
                </c:pt>
                <c:pt idx="874">
                  <c:v>1400-11-02</c:v>
                </c:pt>
                <c:pt idx="875">
                  <c:v>1400-11-03</c:v>
                </c:pt>
                <c:pt idx="876">
                  <c:v>1400-11-04</c:v>
                </c:pt>
                <c:pt idx="877">
                  <c:v>1400-11-05</c:v>
                </c:pt>
                <c:pt idx="878">
                  <c:v>1400-11-06</c:v>
                </c:pt>
                <c:pt idx="879">
                  <c:v>1400-11-09</c:v>
                </c:pt>
                <c:pt idx="880">
                  <c:v>1400-11-10</c:v>
                </c:pt>
                <c:pt idx="881">
                  <c:v>1400-11-11</c:v>
                </c:pt>
                <c:pt idx="882">
                  <c:v>1400-11-12</c:v>
                </c:pt>
                <c:pt idx="883">
                  <c:v>1400-11-13</c:v>
                </c:pt>
                <c:pt idx="884">
                  <c:v>1400-11-16</c:v>
                </c:pt>
                <c:pt idx="885">
                  <c:v>1400-11-17</c:v>
                </c:pt>
                <c:pt idx="886">
                  <c:v>1400-11-18</c:v>
                </c:pt>
                <c:pt idx="887">
                  <c:v>1400-11-19</c:v>
                </c:pt>
                <c:pt idx="888">
                  <c:v>1400-11-20</c:v>
                </c:pt>
                <c:pt idx="889">
                  <c:v>1400-11-23</c:v>
                </c:pt>
                <c:pt idx="890">
                  <c:v>1400-11-24</c:v>
                </c:pt>
                <c:pt idx="891">
                  <c:v>1400-11-25</c:v>
                </c:pt>
                <c:pt idx="892">
                  <c:v>1400-11-27</c:v>
                </c:pt>
                <c:pt idx="893">
                  <c:v>1400-11-30</c:v>
                </c:pt>
                <c:pt idx="894">
                  <c:v>1400-12-01</c:v>
                </c:pt>
                <c:pt idx="895">
                  <c:v>1400-12-02</c:v>
                </c:pt>
                <c:pt idx="896">
                  <c:v>1400-12-03</c:v>
                </c:pt>
                <c:pt idx="897">
                  <c:v>1400-12-04</c:v>
                </c:pt>
                <c:pt idx="898">
                  <c:v>1400-12-07</c:v>
                </c:pt>
                <c:pt idx="899">
                  <c:v>1400-12-08</c:v>
                </c:pt>
                <c:pt idx="900">
                  <c:v>1400-12-09</c:v>
                </c:pt>
                <c:pt idx="901">
                  <c:v>1400-12-11</c:v>
                </c:pt>
                <c:pt idx="902">
                  <c:v>1400-12-14</c:v>
                </c:pt>
                <c:pt idx="903">
                  <c:v>1400-12-15</c:v>
                </c:pt>
                <c:pt idx="904">
                  <c:v>1400-12-16</c:v>
                </c:pt>
                <c:pt idx="905">
                  <c:v>1400-12-17</c:v>
                </c:pt>
                <c:pt idx="906">
                  <c:v>1400-12-18</c:v>
                </c:pt>
                <c:pt idx="907">
                  <c:v>1400-12-21</c:v>
                </c:pt>
                <c:pt idx="908">
                  <c:v>1400-12-22</c:v>
                </c:pt>
                <c:pt idx="909">
                  <c:v>1400-12-23</c:v>
                </c:pt>
                <c:pt idx="910">
                  <c:v>1400-12-24</c:v>
                </c:pt>
                <c:pt idx="911">
                  <c:v>1400-12-25</c:v>
                </c:pt>
                <c:pt idx="912">
                  <c:v>1400-12-28</c:v>
                </c:pt>
                <c:pt idx="913">
                  <c:v>1401-01-06</c:v>
                </c:pt>
                <c:pt idx="914">
                  <c:v>1401-01-07</c:v>
                </c:pt>
                <c:pt idx="915">
                  <c:v>1401-01-08</c:v>
                </c:pt>
                <c:pt idx="916">
                  <c:v>1401-01-09</c:v>
                </c:pt>
                <c:pt idx="917">
                  <c:v>1401-01-14</c:v>
                </c:pt>
                <c:pt idx="918">
                  <c:v>1401-01-15</c:v>
                </c:pt>
                <c:pt idx="919">
                  <c:v>1401-01-16</c:v>
                </c:pt>
                <c:pt idx="920">
                  <c:v>1401-01-17</c:v>
                </c:pt>
                <c:pt idx="921">
                  <c:v>1401-01-20</c:v>
                </c:pt>
                <c:pt idx="922">
                  <c:v>1401-01-21</c:v>
                </c:pt>
                <c:pt idx="923">
                  <c:v>1401-01-22</c:v>
                </c:pt>
                <c:pt idx="924">
                  <c:v>1401-01-23</c:v>
                </c:pt>
                <c:pt idx="925">
                  <c:v>1401-01-24</c:v>
                </c:pt>
                <c:pt idx="926">
                  <c:v>1401-01-27</c:v>
                </c:pt>
                <c:pt idx="927">
                  <c:v>1401-01-28</c:v>
                </c:pt>
                <c:pt idx="928">
                  <c:v>1401-01-29</c:v>
                </c:pt>
                <c:pt idx="929">
                  <c:v>1401-01-30</c:v>
                </c:pt>
                <c:pt idx="930">
                  <c:v>1401-01-31</c:v>
                </c:pt>
                <c:pt idx="931">
                  <c:v>1401-02-04</c:v>
                </c:pt>
                <c:pt idx="932">
                  <c:v>1401-02-05</c:v>
                </c:pt>
                <c:pt idx="933">
                  <c:v>1401-02-06</c:v>
                </c:pt>
                <c:pt idx="934">
                  <c:v>1401-02-07</c:v>
                </c:pt>
                <c:pt idx="935">
                  <c:v>1401-02-10</c:v>
                </c:pt>
                <c:pt idx="936">
                  <c:v>1401-02-11</c:v>
                </c:pt>
                <c:pt idx="937">
                  <c:v>1401-02-12</c:v>
                </c:pt>
                <c:pt idx="938">
                  <c:v>1401-02-17</c:v>
                </c:pt>
                <c:pt idx="939">
                  <c:v>1401-02-18</c:v>
                </c:pt>
                <c:pt idx="940">
                  <c:v>1401-02-19</c:v>
                </c:pt>
                <c:pt idx="941">
                  <c:v>1401-02-20</c:v>
                </c:pt>
                <c:pt idx="942">
                  <c:v>1401-02-21</c:v>
                </c:pt>
                <c:pt idx="943">
                  <c:v>1401-02-24</c:v>
                </c:pt>
                <c:pt idx="944">
                  <c:v>1401-02-25</c:v>
                </c:pt>
                <c:pt idx="945">
                  <c:v>1401-02-26</c:v>
                </c:pt>
                <c:pt idx="946">
                  <c:v>1401-02-27</c:v>
                </c:pt>
                <c:pt idx="947">
                  <c:v>1401-02-28</c:v>
                </c:pt>
                <c:pt idx="948">
                  <c:v>1401-02-31</c:v>
                </c:pt>
                <c:pt idx="949">
                  <c:v>1401-03-01</c:v>
                </c:pt>
                <c:pt idx="950">
                  <c:v>1401-03-02</c:v>
                </c:pt>
                <c:pt idx="951">
                  <c:v>1401-03-03</c:v>
                </c:pt>
                <c:pt idx="952">
                  <c:v>1401-03-04</c:v>
                </c:pt>
                <c:pt idx="953">
                  <c:v>1401-03-07</c:v>
                </c:pt>
                <c:pt idx="954">
                  <c:v>1401-03-08</c:v>
                </c:pt>
                <c:pt idx="955">
                  <c:v>1401-03-09</c:v>
                </c:pt>
                <c:pt idx="956">
                  <c:v>1401-03-10</c:v>
                </c:pt>
                <c:pt idx="957">
                  <c:v>1401-03-11</c:v>
                </c:pt>
                <c:pt idx="958">
                  <c:v>1401-03-16</c:v>
                </c:pt>
                <c:pt idx="959">
                  <c:v>1401-03-17</c:v>
                </c:pt>
                <c:pt idx="960">
                  <c:v>1401-03-18</c:v>
                </c:pt>
                <c:pt idx="961">
                  <c:v>1401-03-21</c:v>
                </c:pt>
                <c:pt idx="962">
                  <c:v>1401-03-22</c:v>
                </c:pt>
                <c:pt idx="963">
                  <c:v>1401-03-23</c:v>
                </c:pt>
                <c:pt idx="964">
                  <c:v>1401-03-24</c:v>
                </c:pt>
                <c:pt idx="965">
                  <c:v>1401-03-25</c:v>
                </c:pt>
                <c:pt idx="966">
                  <c:v>1401-03-28</c:v>
                </c:pt>
                <c:pt idx="967">
                  <c:v>1401-03-29</c:v>
                </c:pt>
                <c:pt idx="968">
                  <c:v>1401-03-30</c:v>
                </c:pt>
                <c:pt idx="969">
                  <c:v>1401-03-31</c:v>
                </c:pt>
                <c:pt idx="970">
                  <c:v>1401-04-01</c:v>
                </c:pt>
                <c:pt idx="971">
                  <c:v>1401-04-04</c:v>
                </c:pt>
                <c:pt idx="972">
                  <c:v>1401-04-05</c:v>
                </c:pt>
                <c:pt idx="973">
                  <c:v>1401-04-06</c:v>
                </c:pt>
                <c:pt idx="974">
                  <c:v>1401-04-07</c:v>
                </c:pt>
                <c:pt idx="975">
                  <c:v>1401-04-08</c:v>
                </c:pt>
                <c:pt idx="976">
                  <c:v>1401-04-12</c:v>
                </c:pt>
                <c:pt idx="977">
                  <c:v>1401-04-13</c:v>
                </c:pt>
                <c:pt idx="978">
                  <c:v>1401-04-14</c:v>
                </c:pt>
                <c:pt idx="979">
                  <c:v>1401-04-15</c:v>
                </c:pt>
                <c:pt idx="980">
                  <c:v>1401-04-18</c:v>
                </c:pt>
                <c:pt idx="981">
                  <c:v>1401-04-20</c:v>
                </c:pt>
                <c:pt idx="982">
                  <c:v>1401-04-21</c:v>
                </c:pt>
                <c:pt idx="983">
                  <c:v>1401-04-22</c:v>
                </c:pt>
                <c:pt idx="984">
                  <c:v>1401-04-25</c:v>
                </c:pt>
                <c:pt idx="985">
                  <c:v>1401-04-26</c:v>
                </c:pt>
                <c:pt idx="986">
                  <c:v>1401-05-04</c:v>
                </c:pt>
                <c:pt idx="987">
                  <c:v>1401-05-05</c:v>
                </c:pt>
                <c:pt idx="988">
                  <c:v>1401-05-08</c:v>
                </c:pt>
                <c:pt idx="989">
                  <c:v>1401-05-09</c:v>
                </c:pt>
                <c:pt idx="990">
                  <c:v>1401-05-10</c:v>
                </c:pt>
                <c:pt idx="991">
                  <c:v>1401-05-11</c:v>
                </c:pt>
                <c:pt idx="992">
                  <c:v>1401-05-12</c:v>
                </c:pt>
                <c:pt idx="993">
                  <c:v>1401-05-15</c:v>
                </c:pt>
                <c:pt idx="994">
                  <c:v>1401-05-18</c:v>
                </c:pt>
                <c:pt idx="995">
                  <c:v>1401-05-19</c:v>
                </c:pt>
                <c:pt idx="996">
                  <c:v>1401-05-22</c:v>
                </c:pt>
                <c:pt idx="997">
                  <c:v>1401-05-23</c:v>
                </c:pt>
                <c:pt idx="998">
                  <c:v>1401-05-24</c:v>
                </c:pt>
                <c:pt idx="999">
                  <c:v>1401-05-25</c:v>
                </c:pt>
                <c:pt idx="1000">
                  <c:v>1401-05-26</c:v>
                </c:pt>
                <c:pt idx="1001">
                  <c:v>1401-05-29</c:v>
                </c:pt>
                <c:pt idx="1002">
                  <c:v>1401-05-30</c:v>
                </c:pt>
                <c:pt idx="1003">
                  <c:v>1401-05-31</c:v>
                </c:pt>
                <c:pt idx="1004">
                  <c:v>1401-06-01</c:v>
                </c:pt>
                <c:pt idx="1005">
                  <c:v>1401-06-02</c:v>
                </c:pt>
                <c:pt idx="1006">
                  <c:v>1401-06-05</c:v>
                </c:pt>
                <c:pt idx="1007">
                  <c:v>1401-06-06</c:v>
                </c:pt>
                <c:pt idx="1008">
                  <c:v>1401-06-07</c:v>
                </c:pt>
                <c:pt idx="1009">
                  <c:v>1401-06-09</c:v>
                </c:pt>
                <c:pt idx="1010">
                  <c:v>1401-06-12</c:v>
                </c:pt>
                <c:pt idx="1011">
                  <c:v>1401-06-13</c:v>
                </c:pt>
                <c:pt idx="1012">
                  <c:v>1401-06-14</c:v>
                </c:pt>
                <c:pt idx="1013">
                  <c:v>1401-06-15</c:v>
                </c:pt>
                <c:pt idx="1014">
                  <c:v>1401-06-16</c:v>
                </c:pt>
                <c:pt idx="1015">
                  <c:v>1401-06-19</c:v>
                </c:pt>
                <c:pt idx="1016">
                  <c:v>1401-06-20</c:v>
                </c:pt>
                <c:pt idx="1017">
                  <c:v>1401-06-21</c:v>
                </c:pt>
                <c:pt idx="1018">
                  <c:v>1401-06-22</c:v>
                </c:pt>
                <c:pt idx="1019">
                  <c:v>1401-06-23</c:v>
                </c:pt>
                <c:pt idx="1020">
                  <c:v>1401-06-27</c:v>
                </c:pt>
                <c:pt idx="1021">
                  <c:v>1401-06-28</c:v>
                </c:pt>
                <c:pt idx="1022">
                  <c:v>1401-06-29</c:v>
                </c:pt>
                <c:pt idx="1023">
                  <c:v>1401-06-30</c:v>
                </c:pt>
                <c:pt idx="1024">
                  <c:v>1401-07-02</c:v>
                </c:pt>
                <c:pt idx="1025">
                  <c:v>1401-07-04</c:v>
                </c:pt>
                <c:pt idx="1026">
                  <c:v>1401-07-06</c:v>
                </c:pt>
                <c:pt idx="1027">
                  <c:v>1401-07-09</c:v>
                </c:pt>
                <c:pt idx="1028">
                  <c:v>1401-07-10</c:v>
                </c:pt>
                <c:pt idx="1029">
                  <c:v>1401-07-11</c:v>
                </c:pt>
                <c:pt idx="1030">
                  <c:v>1401-07-12</c:v>
                </c:pt>
                <c:pt idx="1031">
                  <c:v>1401-07-16</c:v>
                </c:pt>
                <c:pt idx="1032">
                  <c:v>1401-07-17</c:v>
                </c:pt>
                <c:pt idx="1033">
                  <c:v>1401-07-18</c:v>
                </c:pt>
                <c:pt idx="1034">
                  <c:v>1401-07-19</c:v>
                </c:pt>
                <c:pt idx="1035">
                  <c:v>1401-07-20</c:v>
                </c:pt>
                <c:pt idx="1036">
                  <c:v>1401-07-23</c:v>
                </c:pt>
                <c:pt idx="1037">
                  <c:v>1401-07-24</c:v>
                </c:pt>
                <c:pt idx="1038">
                  <c:v>1401-07-25</c:v>
                </c:pt>
                <c:pt idx="1039">
                  <c:v>1401-07-26</c:v>
                </c:pt>
                <c:pt idx="1040">
                  <c:v>1401-07-27</c:v>
                </c:pt>
                <c:pt idx="1041">
                  <c:v>1401-07-30</c:v>
                </c:pt>
                <c:pt idx="1042">
                  <c:v>1401-08-01</c:v>
                </c:pt>
                <c:pt idx="1043">
                  <c:v>1401-08-02</c:v>
                </c:pt>
                <c:pt idx="1044">
                  <c:v>1401-08-03</c:v>
                </c:pt>
                <c:pt idx="1045">
                  <c:v>1401-08-04</c:v>
                </c:pt>
                <c:pt idx="1046">
                  <c:v>1401-08-07</c:v>
                </c:pt>
                <c:pt idx="1047">
                  <c:v>1401-08-08</c:v>
                </c:pt>
                <c:pt idx="1048">
                  <c:v>1401-08-09</c:v>
                </c:pt>
                <c:pt idx="1049">
                  <c:v>1401-08-10</c:v>
                </c:pt>
                <c:pt idx="1050">
                  <c:v>1401-08-11</c:v>
                </c:pt>
                <c:pt idx="1051">
                  <c:v>1401-08-14</c:v>
                </c:pt>
                <c:pt idx="1052">
                  <c:v>1401-08-15</c:v>
                </c:pt>
                <c:pt idx="1053">
                  <c:v>1401-08-16</c:v>
                </c:pt>
                <c:pt idx="1054">
                  <c:v>1401-08-17</c:v>
                </c:pt>
                <c:pt idx="1055">
                  <c:v>1401-08-18</c:v>
                </c:pt>
                <c:pt idx="1056">
                  <c:v>1401-08-21</c:v>
                </c:pt>
                <c:pt idx="1057">
                  <c:v>1401-08-22</c:v>
                </c:pt>
                <c:pt idx="1058">
                  <c:v>1401-08-23</c:v>
                </c:pt>
                <c:pt idx="1059">
                  <c:v>1401-08-24</c:v>
                </c:pt>
                <c:pt idx="1060">
                  <c:v>1401-08-25</c:v>
                </c:pt>
                <c:pt idx="1061">
                  <c:v>1401-08-28</c:v>
                </c:pt>
                <c:pt idx="1062">
                  <c:v>1401-08-29</c:v>
                </c:pt>
                <c:pt idx="1063">
                  <c:v>1401-08-30</c:v>
                </c:pt>
                <c:pt idx="1064">
                  <c:v>1401-09-01</c:v>
                </c:pt>
                <c:pt idx="1065">
                  <c:v>1401-09-02</c:v>
                </c:pt>
                <c:pt idx="1066">
                  <c:v>1401-09-05</c:v>
                </c:pt>
                <c:pt idx="1067">
                  <c:v>1401-09-06</c:v>
                </c:pt>
                <c:pt idx="1068">
                  <c:v>1401-09-07</c:v>
                </c:pt>
                <c:pt idx="1069">
                  <c:v>1401-09-08</c:v>
                </c:pt>
                <c:pt idx="1070">
                  <c:v>1401-09-09</c:v>
                </c:pt>
                <c:pt idx="1071">
                  <c:v>1401-09-12</c:v>
                </c:pt>
                <c:pt idx="1072">
                  <c:v>1401-09-13</c:v>
                </c:pt>
                <c:pt idx="1073">
                  <c:v>1401-09-14</c:v>
                </c:pt>
                <c:pt idx="1074">
                  <c:v>1401-09-15</c:v>
                </c:pt>
                <c:pt idx="1075">
                  <c:v>1401-09-16</c:v>
                </c:pt>
                <c:pt idx="1076">
                  <c:v>1401-09-19</c:v>
                </c:pt>
                <c:pt idx="1077">
                  <c:v>1401-09-20</c:v>
                </c:pt>
                <c:pt idx="1078">
                  <c:v>1401-09-21</c:v>
                </c:pt>
                <c:pt idx="1079">
                  <c:v>1401-09-22</c:v>
                </c:pt>
                <c:pt idx="1080">
                  <c:v>1401-09-23</c:v>
                </c:pt>
                <c:pt idx="1081">
                  <c:v>1401-09-26</c:v>
                </c:pt>
                <c:pt idx="1082">
                  <c:v>1401-09-27</c:v>
                </c:pt>
                <c:pt idx="1083">
                  <c:v>1401-09-28</c:v>
                </c:pt>
                <c:pt idx="1084">
                  <c:v>1401-09-29</c:v>
                </c:pt>
                <c:pt idx="1085">
                  <c:v>1401-09-30</c:v>
                </c:pt>
                <c:pt idx="1086">
                  <c:v>1401-10-03</c:v>
                </c:pt>
                <c:pt idx="1087">
                  <c:v>1401-10-04</c:v>
                </c:pt>
                <c:pt idx="1088">
                  <c:v>1401-10-05</c:v>
                </c:pt>
                <c:pt idx="1089">
                  <c:v>1401-10-07</c:v>
                </c:pt>
                <c:pt idx="1090">
                  <c:v>1401-10-10</c:v>
                </c:pt>
                <c:pt idx="1091">
                  <c:v>1401-10-11</c:v>
                </c:pt>
                <c:pt idx="1092">
                  <c:v>1401-10-12</c:v>
                </c:pt>
                <c:pt idx="1093">
                  <c:v>1401-10-13</c:v>
                </c:pt>
                <c:pt idx="1094">
                  <c:v>1401-10-14</c:v>
                </c:pt>
                <c:pt idx="1095">
                  <c:v>1401-10-17</c:v>
                </c:pt>
                <c:pt idx="1096">
                  <c:v>1401-10-18</c:v>
                </c:pt>
                <c:pt idx="1097">
                  <c:v>1401-10-19</c:v>
                </c:pt>
                <c:pt idx="1098">
                  <c:v>1401-10-20</c:v>
                </c:pt>
                <c:pt idx="1099">
                  <c:v>1401-10-21</c:v>
                </c:pt>
                <c:pt idx="1100">
                  <c:v>1401-10-24</c:v>
                </c:pt>
                <c:pt idx="1101">
                  <c:v>1401-10-26</c:v>
                </c:pt>
                <c:pt idx="1102">
                  <c:v>1401-10-27</c:v>
                </c:pt>
                <c:pt idx="1103">
                  <c:v>1401-10-28</c:v>
                </c:pt>
                <c:pt idx="1104">
                  <c:v>1401-11-01</c:v>
                </c:pt>
                <c:pt idx="1105">
                  <c:v>1401-11-02</c:v>
                </c:pt>
                <c:pt idx="1106">
                  <c:v>1401-11-03</c:v>
                </c:pt>
                <c:pt idx="1107">
                  <c:v>1401-11-04</c:v>
                </c:pt>
                <c:pt idx="1108">
                  <c:v>1401-11-05</c:v>
                </c:pt>
                <c:pt idx="1109">
                  <c:v>1401-11-08</c:v>
                </c:pt>
                <c:pt idx="1110">
                  <c:v>1401-11-09</c:v>
                </c:pt>
                <c:pt idx="1111">
                  <c:v>1401-11-10</c:v>
                </c:pt>
                <c:pt idx="1112">
                  <c:v>1401-11-11</c:v>
                </c:pt>
                <c:pt idx="1113">
                  <c:v>1401-11-12</c:v>
                </c:pt>
                <c:pt idx="1114">
                  <c:v>1401-11-16</c:v>
                </c:pt>
                <c:pt idx="1115">
                  <c:v>1401-11-17</c:v>
                </c:pt>
                <c:pt idx="1116">
                  <c:v>1401-11-18</c:v>
                </c:pt>
                <c:pt idx="1117">
                  <c:v>1401-11-19</c:v>
                </c:pt>
                <c:pt idx="1118">
                  <c:v>1401-11-23</c:v>
                </c:pt>
                <c:pt idx="1119">
                  <c:v>1401-11-24</c:v>
                </c:pt>
                <c:pt idx="1120">
                  <c:v>1401-11-25</c:v>
                </c:pt>
                <c:pt idx="1121">
                  <c:v>1401-11-26</c:v>
                </c:pt>
                <c:pt idx="1122">
                  <c:v>1401-11-30</c:v>
                </c:pt>
                <c:pt idx="1123">
                  <c:v>1401-12-01</c:v>
                </c:pt>
                <c:pt idx="1124">
                  <c:v>1401-12-02</c:v>
                </c:pt>
                <c:pt idx="1125">
                  <c:v>1401-12-03</c:v>
                </c:pt>
                <c:pt idx="1126">
                  <c:v>1401-12-06</c:v>
                </c:pt>
                <c:pt idx="1127">
                  <c:v>1401-12-07</c:v>
                </c:pt>
                <c:pt idx="1128">
                  <c:v>1401-12-08</c:v>
                </c:pt>
                <c:pt idx="1129">
                  <c:v>1401-12-09</c:v>
                </c:pt>
                <c:pt idx="1130">
                  <c:v>1401-12-10</c:v>
                </c:pt>
                <c:pt idx="1131">
                  <c:v>1401-12-13</c:v>
                </c:pt>
                <c:pt idx="1132">
                  <c:v>1401-12-14</c:v>
                </c:pt>
                <c:pt idx="1133">
                  <c:v>1401-12-20</c:v>
                </c:pt>
                <c:pt idx="1134">
                  <c:v>1401-12-27</c:v>
                </c:pt>
                <c:pt idx="1135">
                  <c:v>1401-12-28</c:v>
                </c:pt>
                <c:pt idx="1136">
                  <c:v>1402-01-05</c:v>
                </c:pt>
                <c:pt idx="1137">
                  <c:v>1402-01-06</c:v>
                </c:pt>
                <c:pt idx="1138">
                  <c:v>1402-01-07</c:v>
                </c:pt>
                <c:pt idx="1139">
                  <c:v>1402-01-08</c:v>
                </c:pt>
                <c:pt idx="1140">
                  <c:v>1402-01-09</c:v>
                </c:pt>
                <c:pt idx="1141">
                  <c:v>1402-01-14</c:v>
                </c:pt>
                <c:pt idx="1142">
                  <c:v>1402-01-15</c:v>
                </c:pt>
                <c:pt idx="1143">
                  <c:v>1402-01-16</c:v>
                </c:pt>
                <c:pt idx="1144">
                  <c:v>1402-01-19</c:v>
                </c:pt>
                <c:pt idx="1145">
                  <c:v>1402-01-20</c:v>
                </c:pt>
                <c:pt idx="1146">
                  <c:v>1402-01-21</c:v>
                </c:pt>
                <c:pt idx="1147">
                  <c:v>1402-01-22</c:v>
                </c:pt>
                <c:pt idx="1148">
                  <c:v>1402-01-26</c:v>
                </c:pt>
                <c:pt idx="1149">
                  <c:v>1402-01-27</c:v>
                </c:pt>
                <c:pt idx="1150">
                  <c:v>1402-01-28</c:v>
                </c:pt>
                <c:pt idx="1151">
                  <c:v>1402-01-29</c:v>
                </c:pt>
                <c:pt idx="1152">
                  <c:v>1402-01-30</c:v>
                </c:pt>
                <c:pt idx="1153">
                  <c:v>1402-02-04</c:v>
                </c:pt>
                <c:pt idx="1154">
                  <c:v>1402-02-05</c:v>
                </c:pt>
                <c:pt idx="1155">
                  <c:v>1402-02-06</c:v>
                </c:pt>
                <c:pt idx="1156">
                  <c:v>1402-02-09</c:v>
                </c:pt>
                <c:pt idx="1157">
                  <c:v>1402-02-10</c:v>
                </c:pt>
                <c:pt idx="1158">
                  <c:v>1402-02-11</c:v>
                </c:pt>
                <c:pt idx="1159">
                  <c:v>1402-02-12</c:v>
                </c:pt>
                <c:pt idx="1160">
                  <c:v>1402-02-13</c:v>
                </c:pt>
                <c:pt idx="1161">
                  <c:v>1402-02-16</c:v>
                </c:pt>
                <c:pt idx="1162">
                  <c:v>1402-02-17</c:v>
                </c:pt>
                <c:pt idx="1163">
                  <c:v>1402-02-18</c:v>
                </c:pt>
                <c:pt idx="1164">
                  <c:v>1402-02-19</c:v>
                </c:pt>
                <c:pt idx="1165">
                  <c:v>1402-02-20</c:v>
                </c:pt>
                <c:pt idx="1166">
                  <c:v>1402-02-23</c:v>
                </c:pt>
                <c:pt idx="1167">
                  <c:v>1402-02-24</c:v>
                </c:pt>
                <c:pt idx="1168">
                  <c:v>1402-02-25</c:v>
                </c:pt>
                <c:pt idx="1169">
                  <c:v>1402-02-27</c:v>
                </c:pt>
                <c:pt idx="1170">
                  <c:v>1402-02-30</c:v>
                </c:pt>
                <c:pt idx="1171">
                  <c:v>1402-02-31</c:v>
                </c:pt>
                <c:pt idx="1172">
                  <c:v>1402-03-01</c:v>
                </c:pt>
                <c:pt idx="1173">
                  <c:v>1402-03-02</c:v>
                </c:pt>
                <c:pt idx="1174">
                  <c:v>1402-03-03</c:v>
                </c:pt>
                <c:pt idx="1175">
                  <c:v>1402-03-06</c:v>
                </c:pt>
                <c:pt idx="1176">
                  <c:v>1402-03-07</c:v>
                </c:pt>
                <c:pt idx="1177">
                  <c:v>1402-03-08</c:v>
                </c:pt>
                <c:pt idx="1178">
                  <c:v>1402-03-09</c:v>
                </c:pt>
                <c:pt idx="1179">
                  <c:v>1402-03-10</c:v>
                </c:pt>
                <c:pt idx="1180">
                  <c:v>1402-03-13</c:v>
                </c:pt>
                <c:pt idx="1181">
                  <c:v>1402-03-16</c:v>
                </c:pt>
                <c:pt idx="1182">
                  <c:v>1402-03-17</c:v>
                </c:pt>
                <c:pt idx="1183">
                  <c:v>1402-03-20</c:v>
                </c:pt>
                <c:pt idx="1184">
                  <c:v>1402-03-21</c:v>
                </c:pt>
                <c:pt idx="1185">
                  <c:v>1402-03-22</c:v>
                </c:pt>
                <c:pt idx="1186">
                  <c:v>1402-03-23</c:v>
                </c:pt>
                <c:pt idx="1187">
                  <c:v>1402-03-24</c:v>
                </c:pt>
                <c:pt idx="1188">
                  <c:v>1402-03-27</c:v>
                </c:pt>
                <c:pt idx="1189">
                  <c:v>1402-03-28</c:v>
                </c:pt>
                <c:pt idx="1190">
                  <c:v>1402-03-29</c:v>
                </c:pt>
                <c:pt idx="1191">
                  <c:v>1402-03-30</c:v>
                </c:pt>
                <c:pt idx="1192">
                  <c:v>1402-03-31</c:v>
                </c:pt>
                <c:pt idx="1193">
                  <c:v>1402-04-03</c:v>
                </c:pt>
                <c:pt idx="1194">
                  <c:v>1402-04-04</c:v>
                </c:pt>
                <c:pt idx="1195">
                  <c:v>1402-04-05</c:v>
                </c:pt>
                <c:pt idx="1196">
                  <c:v>1402-04-06</c:v>
                </c:pt>
                <c:pt idx="1197">
                  <c:v>1402-04-07</c:v>
                </c:pt>
                <c:pt idx="1198">
                  <c:v>1402-04-10</c:v>
                </c:pt>
                <c:pt idx="1199">
                  <c:v>1402-04-11</c:v>
                </c:pt>
                <c:pt idx="1200">
                  <c:v>1402-04-12</c:v>
                </c:pt>
                <c:pt idx="1201">
                  <c:v>1402-04-13</c:v>
                </c:pt>
                <c:pt idx="1202">
                  <c:v>1402-04-14</c:v>
                </c:pt>
                <c:pt idx="1203">
                  <c:v>1402-04-17</c:v>
                </c:pt>
                <c:pt idx="1204">
                  <c:v>1402-04-18</c:v>
                </c:pt>
                <c:pt idx="1205">
                  <c:v>1402-04-19</c:v>
                </c:pt>
                <c:pt idx="1206">
                  <c:v>1402-04-20</c:v>
                </c:pt>
                <c:pt idx="1207">
                  <c:v>1402-04-21</c:v>
                </c:pt>
                <c:pt idx="1208">
                  <c:v>1402-04-24</c:v>
                </c:pt>
                <c:pt idx="1209">
                  <c:v>1402-04-25</c:v>
                </c:pt>
                <c:pt idx="1210">
                  <c:v>1402-04-26</c:v>
                </c:pt>
                <c:pt idx="1211">
                  <c:v>1402-04-27</c:v>
                </c:pt>
                <c:pt idx="1212">
                  <c:v>1402-05-02</c:v>
                </c:pt>
                <c:pt idx="1213">
                  <c:v>1402-05-03</c:v>
                </c:pt>
                <c:pt idx="1214">
                  <c:v>1402-05-04</c:v>
                </c:pt>
                <c:pt idx="1215">
                  <c:v>1402-05-07</c:v>
                </c:pt>
                <c:pt idx="1216">
                  <c:v>1402-05-08</c:v>
                </c:pt>
                <c:pt idx="1217">
                  <c:v>1402-05-09</c:v>
                </c:pt>
                <c:pt idx="1218">
                  <c:v>1402-05-10</c:v>
                </c:pt>
                <c:pt idx="1219">
                  <c:v>1402-05-14</c:v>
                </c:pt>
                <c:pt idx="1220">
                  <c:v>1402-05-15</c:v>
                </c:pt>
                <c:pt idx="1221">
                  <c:v>1402-05-16</c:v>
                </c:pt>
                <c:pt idx="1222">
                  <c:v>1402-05-17</c:v>
                </c:pt>
                <c:pt idx="1223">
                  <c:v>1402-05-18</c:v>
                </c:pt>
                <c:pt idx="1224">
                  <c:v>1402-05-21</c:v>
                </c:pt>
                <c:pt idx="1225">
                  <c:v>1402-05-22</c:v>
                </c:pt>
                <c:pt idx="1226">
                  <c:v>1402-05-23</c:v>
                </c:pt>
                <c:pt idx="1227">
                  <c:v>1402-05-24</c:v>
                </c:pt>
                <c:pt idx="1228">
                  <c:v>1402-05-25</c:v>
                </c:pt>
                <c:pt idx="1229">
                  <c:v>1402-05-28</c:v>
                </c:pt>
                <c:pt idx="1230">
                  <c:v>1402-05-29</c:v>
                </c:pt>
                <c:pt idx="1231">
                  <c:v>1402-05-30</c:v>
                </c:pt>
                <c:pt idx="1232">
                  <c:v>1402-05-31</c:v>
                </c:pt>
                <c:pt idx="1233">
                  <c:v>1402-06-01</c:v>
                </c:pt>
                <c:pt idx="1234">
                  <c:v>1402-06-04</c:v>
                </c:pt>
                <c:pt idx="1235">
                  <c:v>1402-06-05</c:v>
                </c:pt>
                <c:pt idx="1236">
                  <c:v>1402-06-06</c:v>
                </c:pt>
                <c:pt idx="1237">
                  <c:v>1402-06-07</c:v>
                </c:pt>
                <c:pt idx="1238">
                  <c:v>1402-06-08</c:v>
                </c:pt>
                <c:pt idx="1239">
                  <c:v>1402-06-11</c:v>
                </c:pt>
                <c:pt idx="1240">
                  <c:v>1402-06-12</c:v>
                </c:pt>
                <c:pt idx="1241">
                  <c:v>1402-06-13</c:v>
                </c:pt>
                <c:pt idx="1242">
                  <c:v>1402-06-14</c:v>
                </c:pt>
                <c:pt idx="1243">
                  <c:v>1402-06-18</c:v>
                </c:pt>
                <c:pt idx="1244">
                  <c:v>1402-06-19</c:v>
                </c:pt>
                <c:pt idx="1245">
                  <c:v>1402-06-20</c:v>
                </c:pt>
                <c:pt idx="1246">
                  <c:v>1402-06-21</c:v>
                </c:pt>
                <c:pt idx="1247">
                  <c:v>1402-06-22</c:v>
                </c:pt>
                <c:pt idx="1248">
                  <c:v>1402-06-26</c:v>
                </c:pt>
                <c:pt idx="1249">
                  <c:v>1402-06-27</c:v>
                </c:pt>
                <c:pt idx="1250">
                  <c:v>1402-06-28</c:v>
                </c:pt>
                <c:pt idx="1251">
                  <c:v>1402-06-29</c:v>
                </c:pt>
                <c:pt idx="1252">
                  <c:v>1402-07-01</c:v>
                </c:pt>
                <c:pt idx="1253">
                  <c:v>1402-07-03</c:v>
                </c:pt>
                <c:pt idx="1254">
                  <c:v>1402-07-04</c:v>
                </c:pt>
                <c:pt idx="1255">
                  <c:v>1402-07-05</c:v>
                </c:pt>
                <c:pt idx="1256">
                  <c:v>1402-07-08</c:v>
                </c:pt>
                <c:pt idx="1257">
                  <c:v>1402-07-09</c:v>
                </c:pt>
                <c:pt idx="1258">
                  <c:v>1402-07-10</c:v>
                </c:pt>
                <c:pt idx="1259">
                  <c:v>1402-07-12</c:v>
                </c:pt>
                <c:pt idx="1260">
                  <c:v>1402-07-15</c:v>
                </c:pt>
                <c:pt idx="1261">
                  <c:v>1402-07-16</c:v>
                </c:pt>
                <c:pt idx="1262">
                  <c:v>1402-07-17</c:v>
                </c:pt>
                <c:pt idx="1263">
                  <c:v>1402-07-18</c:v>
                </c:pt>
                <c:pt idx="1264">
                  <c:v>1402-07-19</c:v>
                </c:pt>
                <c:pt idx="1265">
                  <c:v>1402-07-22</c:v>
                </c:pt>
                <c:pt idx="1266">
                  <c:v>1402-07-23</c:v>
                </c:pt>
                <c:pt idx="1267">
                  <c:v>1402-07-24</c:v>
                </c:pt>
                <c:pt idx="1268">
                  <c:v>1402-07-25</c:v>
                </c:pt>
                <c:pt idx="1269">
                  <c:v>1402-07-26</c:v>
                </c:pt>
                <c:pt idx="1270">
                  <c:v>1402-07-29</c:v>
                </c:pt>
                <c:pt idx="1271">
                  <c:v>1402-07-30</c:v>
                </c:pt>
                <c:pt idx="1272">
                  <c:v>1402-08-01</c:v>
                </c:pt>
                <c:pt idx="1273">
                  <c:v>1402-08-02</c:v>
                </c:pt>
                <c:pt idx="1274">
                  <c:v>1402-08-03</c:v>
                </c:pt>
                <c:pt idx="1275">
                  <c:v>1402-08-06</c:v>
                </c:pt>
                <c:pt idx="1276">
                  <c:v>1402-08-07</c:v>
                </c:pt>
                <c:pt idx="1277">
                  <c:v>1402-08-08</c:v>
                </c:pt>
                <c:pt idx="1278">
                  <c:v>1402-08-09</c:v>
                </c:pt>
                <c:pt idx="1279">
                  <c:v>1402-08-10</c:v>
                </c:pt>
                <c:pt idx="1280">
                  <c:v>1402-08-13</c:v>
                </c:pt>
                <c:pt idx="1281">
                  <c:v>1402-08-14</c:v>
                </c:pt>
                <c:pt idx="1282">
                  <c:v>1402-08-15</c:v>
                </c:pt>
                <c:pt idx="1283">
                  <c:v>1402-08-16</c:v>
                </c:pt>
                <c:pt idx="1284">
                  <c:v>1402-08-17</c:v>
                </c:pt>
                <c:pt idx="1285">
                  <c:v>1402-08-20</c:v>
                </c:pt>
                <c:pt idx="1286">
                  <c:v>1402-08-21</c:v>
                </c:pt>
                <c:pt idx="1287">
                  <c:v>1402-08-22</c:v>
                </c:pt>
                <c:pt idx="1288">
                  <c:v>1402-08-23</c:v>
                </c:pt>
                <c:pt idx="1289">
                  <c:v>1402-08-24</c:v>
                </c:pt>
                <c:pt idx="1290">
                  <c:v>1402-08-27</c:v>
                </c:pt>
                <c:pt idx="1291">
                  <c:v>1402-08-28</c:v>
                </c:pt>
                <c:pt idx="1292">
                  <c:v>1402-08-29</c:v>
                </c:pt>
                <c:pt idx="1293">
                  <c:v>1402-08-30</c:v>
                </c:pt>
                <c:pt idx="1294">
                  <c:v>1402-09-01</c:v>
                </c:pt>
                <c:pt idx="1295">
                  <c:v>1402-09-04</c:v>
                </c:pt>
                <c:pt idx="1296">
                  <c:v>1402-09-05</c:v>
                </c:pt>
                <c:pt idx="1297">
                  <c:v>1402-09-06</c:v>
                </c:pt>
                <c:pt idx="1298">
                  <c:v>1402-09-07</c:v>
                </c:pt>
                <c:pt idx="1299">
                  <c:v>1402-09-08</c:v>
                </c:pt>
                <c:pt idx="1300">
                  <c:v>1402-09-11</c:v>
                </c:pt>
                <c:pt idx="1301">
                  <c:v>1402-09-12</c:v>
                </c:pt>
                <c:pt idx="1302">
                  <c:v>1402-09-13</c:v>
                </c:pt>
                <c:pt idx="1303">
                  <c:v>1402-09-14</c:v>
                </c:pt>
                <c:pt idx="1304">
                  <c:v>1402-09-15</c:v>
                </c:pt>
                <c:pt idx="1305">
                  <c:v>1402-09-18</c:v>
                </c:pt>
                <c:pt idx="1306">
                  <c:v>1402-09-19</c:v>
                </c:pt>
                <c:pt idx="1307">
                  <c:v>1402-09-20</c:v>
                </c:pt>
                <c:pt idx="1308">
                  <c:v>1402-09-21</c:v>
                </c:pt>
                <c:pt idx="1309">
                  <c:v>1402-09-22</c:v>
                </c:pt>
                <c:pt idx="1310">
                  <c:v>1402-09-25</c:v>
                </c:pt>
                <c:pt idx="1311">
                  <c:v>1402-09-27</c:v>
                </c:pt>
                <c:pt idx="1312">
                  <c:v>1402-09-28</c:v>
                </c:pt>
                <c:pt idx="1313">
                  <c:v>1402-09-29</c:v>
                </c:pt>
                <c:pt idx="1314">
                  <c:v>1402-10-02</c:v>
                </c:pt>
                <c:pt idx="1315">
                  <c:v>1402-10-03</c:v>
                </c:pt>
                <c:pt idx="1316">
                  <c:v>1402-10-04</c:v>
                </c:pt>
                <c:pt idx="1317">
                  <c:v>1402-10-05</c:v>
                </c:pt>
                <c:pt idx="1318">
                  <c:v>1402-10-06</c:v>
                </c:pt>
                <c:pt idx="1319">
                  <c:v>1402-10-09</c:v>
                </c:pt>
                <c:pt idx="1320">
                  <c:v>1402-10-10</c:v>
                </c:pt>
                <c:pt idx="1321">
                  <c:v>1402-10-11</c:v>
                </c:pt>
                <c:pt idx="1322">
                  <c:v>1402-10-12</c:v>
                </c:pt>
                <c:pt idx="1323">
                  <c:v>1402-10-13</c:v>
                </c:pt>
                <c:pt idx="1324">
                  <c:v>1402-10-16</c:v>
                </c:pt>
                <c:pt idx="1325">
                  <c:v>1402-10-17</c:v>
                </c:pt>
                <c:pt idx="1326">
                  <c:v>1402-10-18</c:v>
                </c:pt>
                <c:pt idx="1327">
                  <c:v>1402-10-19</c:v>
                </c:pt>
                <c:pt idx="1328">
                  <c:v>1402-10-20</c:v>
                </c:pt>
                <c:pt idx="1329">
                  <c:v>1402-10-23</c:v>
                </c:pt>
                <c:pt idx="1330">
                  <c:v>1402-10-24</c:v>
                </c:pt>
                <c:pt idx="1331">
                  <c:v>1402-10-25</c:v>
                </c:pt>
                <c:pt idx="1332">
                  <c:v>1402-10-26</c:v>
                </c:pt>
                <c:pt idx="1333">
                  <c:v>1402-10-27</c:v>
                </c:pt>
                <c:pt idx="1334">
                  <c:v>1402-10-30</c:v>
                </c:pt>
                <c:pt idx="1335">
                  <c:v>1402-11-01</c:v>
                </c:pt>
                <c:pt idx="1336">
                  <c:v>1402-11-02</c:v>
                </c:pt>
                <c:pt idx="1337">
                  <c:v>1402-11-03</c:v>
                </c:pt>
                <c:pt idx="1338">
                  <c:v>1402-11-04</c:v>
                </c:pt>
                <c:pt idx="1339">
                  <c:v>1402-11-07</c:v>
                </c:pt>
                <c:pt idx="1340">
                  <c:v>1402-11-08</c:v>
                </c:pt>
                <c:pt idx="1341">
                  <c:v>1402-11-09</c:v>
                </c:pt>
                <c:pt idx="1342">
                  <c:v>1402-11-10</c:v>
                </c:pt>
                <c:pt idx="1343">
                  <c:v>1402-11-11</c:v>
                </c:pt>
                <c:pt idx="1344">
                  <c:v>1402-11-14</c:v>
                </c:pt>
                <c:pt idx="1345">
                  <c:v>1402-11-15</c:v>
                </c:pt>
                <c:pt idx="1346">
                  <c:v>1402-11-16</c:v>
                </c:pt>
                <c:pt idx="1347">
                  <c:v>1402-11-17</c:v>
                </c:pt>
                <c:pt idx="1348">
                  <c:v>1402-11-18</c:v>
                </c:pt>
                <c:pt idx="1349">
                  <c:v>1402-11-21</c:v>
                </c:pt>
                <c:pt idx="1350">
                  <c:v>1402-12-09</c:v>
                </c:pt>
                <c:pt idx="1351">
                  <c:v>1402-12-13</c:v>
                </c:pt>
                <c:pt idx="1352">
                  <c:v>1402-12-14</c:v>
                </c:pt>
                <c:pt idx="1353">
                  <c:v>1402-12-15</c:v>
                </c:pt>
                <c:pt idx="1354">
                  <c:v>1402-12-16</c:v>
                </c:pt>
                <c:pt idx="1355">
                  <c:v>1402-12-19</c:v>
                </c:pt>
                <c:pt idx="1356">
                  <c:v>1402-12-20</c:v>
                </c:pt>
                <c:pt idx="1357">
                  <c:v>1402-12-21</c:v>
                </c:pt>
                <c:pt idx="1358">
                  <c:v>1402-12-22</c:v>
                </c:pt>
                <c:pt idx="1359">
                  <c:v>1402-12-23</c:v>
                </c:pt>
                <c:pt idx="1360">
                  <c:v>1402-12-26</c:v>
                </c:pt>
                <c:pt idx="1361">
                  <c:v>1402-12-27</c:v>
                </c:pt>
                <c:pt idx="1362">
                  <c:v>1402-12-28</c:v>
                </c:pt>
                <c:pt idx="1363">
                  <c:v>1403-01-05</c:v>
                </c:pt>
                <c:pt idx="1364">
                  <c:v>1403-01-06</c:v>
                </c:pt>
                <c:pt idx="1365">
                  <c:v>1403-01-07</c:v>
                </c:pt>
                <c:pt idx="1366">
                  <c:v>1403-01-08</c:v>
                </c:pt>
                <c:pt idx="1367">
                  <c:v>1403-01-11</c:v>
                </c:pt>
                <c:pt idx="1368">
                  <c:v>1403-01-14</c:v>
                </c:pt>
                <c:pt idx="1369">
                  <c:v>1403-01-15</c:v>
                </c:pt>
                <c:pt idx="1370">
                  <c:v>1403-01-18</c:v>
                </c:pt>
                <c:pt idx="1371">
                  <c:v>1403-01-19</c:v>
                </c:pt>
                <c:pt idx="1372">
                  <c:v>1403-01-20</c:v>
                </c:pt>
                <c:pt idx="1373">
                  <c:v>1403-01-21</c:v>
                </c:pt>
                <c:pt idx="1374">
                  <c:v>1403-01-25</c:v>
                </c:pt>
                <c:pt idx="1375">
                  <c:v>1403-01-26</c:v>
                </c:pt>
                <c:pt idx="1376">
                  <c:v>1403-01-27</c:v>
                </c:pt>
                <c:pt idx="1377">
                  <c:v>1403-01-28</c:v>
                </c:pt>
                <c:pt idx="1378">
                  <c:v>1403-01-29</c:v>
                </c:pt>
                <c:pt idx="1379">
                  <c:v>1403-02-01</c:v>
                </c:pt>
                <c:pt idx="1380">
                  <c:v>1403-02-02</c:v>
                </c:pt>
                <c:pt idx="1381">
                  <c:v>1403-02-03</c:v>
                </c:pt>
                <c:pt idx="1382">
                  <c:v>1403-02-04</c:v>
                </c:pt>
                <c:pt idx="1383">
                  <c:v>1403-02-05</c:v>
                </c:pt>
                <c:pt idx="1384">
                  <c:v>1403-02-08</c:v>
                </c:pt>
                <c:pt idx="1385">
                  <c:v>1403-02-09</c:v>
                </c:pt>
                <c:pt idx="1386">
                  <c:v>1403-02-10</c:v>
                </c:pt>
                <c:pt idx="1387">
                  <c:v>1403-02-11</c:v>
                </c:pt>
                <c:pt idx="1388">
                  <c:v>1403-02-12</c:v>
                </c:pt>
                <c:pt idx="1389">
                  <c:v>1403-02-16</c:v>
                </c:pt>
                <c:pt idx="1390">
                  <c:v>1403-02-17</c:v>
                </c:pt>
                <c:pt idx="1391">
                  <c:v>1403-02-18</c:v>
                </c:pt>
                <c:pt idx="1392">
                  <c:v>1403-02-19</c:v>
                </c:pt>
                <c:pt idx="1393">
                  <c:v>1403-02-22</c:v>
                </c:pt>
                <c:pt idx="1394">
                  <c:v>1403-02-23</c:v>
                </c:pt>
                <c:pt idx="1395">
                  <c:v>1403-02-24</c:v>
                </c:pt>
                <c:pt idx="1396">
                  <c:v>1403-02-25</c:v>
                </c:pt>
                <c:pt idx="1397">
                  <c:v>1403-02-26</c:v>
                </c:pt>
                <c:pt idx="1398">
                  <c:v>1403-02-29</c:v>
                </c:pt>
                <c:pt idx="1399">
                  <c:v>1403-02-30</c:v>
                </c:pt>
                <c:pt idx="1400">
                  <c:v>1403-03-01</c:v>
                </c:pt>
                <c:pt idx="1401">
                  <c:v>1403-03-05</c:v>
                </c:pt>
                <c:pt idx="1402">
                  <c:v>1403-03-06</c:v>
                </c:pt>
                <c:pt idx="1403">
                  <c:v>1403-03-07</c:v>
                </c:pt>
                <c:pt idx="1404">
                  <c:v>1403-03-08</c:v>
                </c:pt>
                <c:pt idx="1405">
                  <c:v>1403-03-09</c:v>
                </c:pt>
                <c:pt idx="1406">
                  <c:v>1403-03-12</c:v>
                </c:pt>
                <c:pt idx="1407">
                  <c:v>1403-03-13</c:v>
                </c:pt>
                <c:pt idx="1408">
                  <c:v>1403-03-16</c:v>
                </c:pt>
                <c:pt idx="1409">
                  <c:v>1403-03-19</c:v>
                </c:pt>
                <c:pt idx="1410">
                  <c:v>1403-03-20</c:v>
                </c:pt>
                <c:pt idx="1411">
                  <c:v>1403-03-21</c:v>
                </c:pt>
                <c:pt idx="1412">
                  <c:v>1403-03-22</c:v>
                </c:pt>
                <c:pt idx="1413">
                  <c:v>1403-03-23</c:v>
                </c:pt>
                <c:pt idx="1414">
                  <c:v>1403-03-26</c:v>
                </c:pt>
                <c:pt idx="1415">
                  <c:v>1403-03-27</c:v>
                </c:pt>
                <c:pt idx="1416">
                  <c:v>1403-03-29</c:v>
                </c:pt>
                <c:pt idx="1417">
                  <c:v>1403-03-30</c:v>
                </c:pt>
                <c:pt idx="1418">
                  <c:v>1403-04-02</c:v>
                </c:pt>
                <c:pt idx="1419">
                  <c:v>1403-04-03</c:v>
                </c:pt>
                <c:pt idx="1420">
                  <c:v>1403-04-04</c:v>
                </c:pt>
                <c:pt idx="1421">
                  <c:v>1403-04-06</c:v>
                </c:pt>
                <c:pt idx="1422">
                  <c:v>1403-04-09</c:v>
                </c:pt>
                <c:pt idx="1423">
                  <c:v>1403-04-10</c:v>
                </c:pt>
                <c:pt idx="1424">
                  <c:v>1403-04-11</c:v>
                </c:pt>
                <c:pt idx="1425">
                  <c:v>1403-04-12</c:v>
                </c:pt>
                <c:pt idx="1426">
                  <c:v>1403-04-13</c:v>
                </c:pt>
                <c:pt idx="1427">
                  <c:v>1403-04-16</c:v>
                </c:pt>
                <c:pt idx="1428">
                  <c:v>1403-04-17</c:v>
                </c:pt>
                <c:pt idx="1429">
                  <c:v>1403-04-18</c:v>
                </c:pt>
                <c:pt idx="1430">
                  <c:v>1403-04-19</c:v>
                </c:pt>
                <c:pt idx="1431">
                  <c:v>1403-04-20</c:v>
                </c:pt>
                <c:pt idx="1432">
                  <c:v>1403-04-23</c:v>
                </c:pt>
                <c:pt idx="1433">
                  <c:v>1403-04-24</c:v>
                </c:pt>
                <c:pt idx="1434">
                  <c:v>1403-04-27</c:v>
                </c:pt>
                <c:pt idx="1435">
                  <c:v>1403-05-03</c:v>
                </c:pt>
                <c:pt idx="1436">
                  <c:v>1403-05-06</c:v>
                </c:pt>
                <c:pt idx="1437">
                  <c:v>1403-05-08</c:v>
                </c:pt>
                <c:pt idx="1438">
                  <c:v>1403-05-09</c:v>
                </c:pt>
                <c:pt idx="1439">
                  <c:v>1403-05-10</c:v>
                </c:pt>
                <c:pt idx="1440">
                  <c:v>1403-05-13</c:v>
                </c:pt>
                <c:pt idx="1441">
                  <c:v>1403-05-14</c:v>
                </c:pt>
                <c:pt idx="1442">
                  <c:v>1403-05-15</c:v>
                </c:pt>
                <c:pt idx="1443">
                  <c:v>1403-05-16</c:v>
                </c:pt>
                <c:pt idx="1444">
                  <c:v>1403-05-20</c:v>
                </c:pt>
                <c:pt idx="1445">
                  <c:v>1403-05-21</c:v>
                </c:pt>
                <c:pt idx="1446">
                  <c:v>1403-05-22</c:v>
                </c:pt>
                <c:pt idx="1447">
                  <c:v>1403-05-23</c:v>
                </c:pt>
                <c:pt idx="1448">
                  <c:v>1403-05-24</c:v>
                </c:pt>
                <c:pt idx="1449">
                  <c:v>1403-05-27</c:v>
                </c:pt>
                <c:pt idx="1450">
                  <c:v>1403-05-28</c:v>
                </c:pt>
                <c:pt idx="1451">
                  <c:v>1403-05-29</c:v>
                </c:pt>
                <c:pt idx="1452">
                  <c:v>1403-05-30</c:v>
                </c:pt>
                <c:pt idx="1453">
                  <c:v>1403-05-31</c:v>
                </c:pt>
                <c:pt idx="1454">
                  <c:v>1403-06-03</c:v>
                </c:pt>
                <c:pt idx="1455">
                  <c:v>1403-06-05</c:v>
                </c:pt>
                <c:pt idx="1456">
                  <c:v>1403-06-06</c:v>
                </c:pt>
                <c:pt idx="1457">
                  <c:v>1403-06-07</c:v>
                </c:pt>
                <c:pt idx="1458">
                  <c:v>1403-06-10</c:v>
                </c:pt>
                <c:pt idx="1459">
                  <c:v>1403-06-11</c:v>
                </c:pt>
                <c:pt idx="1460">
                  <c:v>1403-06-13</c:v>
                </c:pt>
                <c:pt idx="1461">
                  <c:v>1403-06-17</c:v>
                </c:pt>
                <c:pt idx="1462">
                  <c:v>1403-06-18</c:v>
                </c:pt>
                <c:pt idx="1463">
                  <c:v>1403-06-19</c:v>
                </c:pt>
                <c:pt idx="1464">
                  <c:v>1403-06-20</c:v>
                </c:pt>
                <c:pt idx="1465">
                  <c:v>1403-06-21</c:v>
                </c:pt>
                <c:pt idx="1466">
                  <c:v>1403-06-24</c:v>
                </c:pt>
                <c:pt idx="1467">
                  <c:v>1403-06-25</c:v>
                </c:pt>
                <c:pt idx="1468">
                  <c:v>1403-06-26</c:v>
                </c:pt>
                <c:pt idx="1469">
                  <c:v>1403-06-27</c:v>
                </c:pt>
                <c:pt idx="1470">
                  <c:v>1403-06-28</c:v>
                </c:pt>
                <c:pt idx="1471">
                  <c:v>1403-07-01</c:v>
                </c:pt>
                <c:pt idx="1472">
                  <c:v>1403-07-02</c:v>
                </c:pt>
                <c:pt idx="1473">
                  <c:v>1403-07-03</c:v>
                </c:pt>
                <c:pt idx="1474">
                  <c:v>1403-07-04</c:v>
                </c:pt>
                <c:pt idx="1475">
                  <c:v>1403-07-07</c:v>
                </c:pt>
                <c:pt idx="1476">
                  <c:v>1403-07-08</c:v>
                </c:pt>
                <c:pt idx="1477">
                  <c:v>1403-07-09</c:v>
                </c:pt>
                <c:pt idx="1478">
                  <c:v>1403-07-10</c:v>
                </c:pt>
                <c:pt idx="1479">
                  <c:v>1403-07-11</c:v>
                </c:pt>
                <c:pt idx="1480">
                  <c:v>1403-07-14</c:v>
                </c:pt>
                <c:pt idx="1481">
                  <c:v>1403-07-15</c:v>
                </c:pt>
                <c:pt idx="1482">
                  <c:v>1403-07-16</c:v>
                </c:pt>
                <c:pt idx="1483">
                  <c:v>1403-07-17</c:v>
                </c:pt>
                <c:pt idx="1484">
                  <c:v>1403-07-17</c:v>
                </c:pt>
                <c:pt idx="1485">
                  <c:v>1403-07-18</c:v>
                </c:pt>
                <c:pt idx="1486">
                  <c:v>1403-07-21</c:v>
                </c:pt>
                <c:pt idx="1487">
                  <c:v>1403-07-22</c:v>
                </c:pt>
                <c:pt idx="1488">
                  <c:v>1403-07-23</c:v>
                </c:pt>
                <c:pt idx="1489">
                  <c:v>1403-07-24</c:v>
                </c:pt>
                <c:pt idx="1490">
                  <c:v>1403-07-25</c:v>
                </c:pt>
                <c:pt idx="1491">
                  <c:v>1403-07-28</c:v>
                </c:pt>
                <c:pt idx="1492">
                  <c:v>1403-07-29</c:v>
                </c:pt>
                <c:pt idx="1493">
                  <c:v>1403-07-30</c:v>
                </c:pt>
                <c:pt idx="1494">
                  <c:v>1403-08-01</c:v>
                </c:pt>
                <c:pt idx="1495">
                  <c:v>1403-08-02</c:v>
                </c:pt>
                <c:pt idx="1496">
                  <c:v>1403-08-05</c:v>
                </c:pt>
                <c:pt idx="1497">
                  <c:v>1403-08-06</c:v>
                </c:pt>
                <c:pt idx="1498">
                  <c:v>1403-08-07</c:v>
                </c:pt>
                <c:pt idx="1499">
                  <c:v>1403-08-08</c:v>
                </c:pt>
                <c:pt idx="1500">
                  <c:v>1403-08-09</c:v>
                </c:pt>
                <c:pt idx="1501">
                  <c:v>1403-08-12</c:v>
                </c:pt>
                <c:pt idx="1502">
                  <c:v>1403-08-13</c:v>
                </c:pt>
                <c:pt idx="1503">
                  <c:v>1403-08-14</c:v>
                </c:pt>
                <c:pt idx="1504">
                  <c:v>1403-08-15</c:v>
                </c:pt>
                <c:pt idx="1505">
                  <c:v>1403-08-16</c:v>
                </c:pt>
                <c:pt idx="1506">
                  <c:v>1403-08-19</c:v>
                </c:pt>
                <c:pt idx="1507">
                  <c:v>1403-08-20</c:v>
                </c:pt>
                <c:pt idx="1508">
                  <c:v>1403-08-21</c:v>
                </c:pt>
                <c:pt idx="1509">
                  <c:v>1403-08-22</c:v>
                </c:pt>
                <c:pt idx="1510">
                  <c:v>1403-08-23</c:v>
                </c:pt>
                <c:pt idx="1511">
                  <c:v>1403-08-26</c:v>
                </c:pt>
                <c:pt idx="1512">
                  <c:v>1403-08-27</c:v>
                </c:pt>
                <c:pt idx="1513">
                  <c:v>1403-08-28</c:v>
                </c:pt>
                <c:pt idx="1514">
                  <c:v>1403-08-29</c:v>
                </c:pt>
                <c:pt idx="1515">
                  <c:v>1403-08-30</c:v>
                </c:pt>
                <c:pt idx="1516">
                  <c:v>1403-09-03</c:v>
                </c:pt>
                <c:pt idx="1517">
                  <c:v>1403-09-04</c:v>
                </c:pt>
                <c:pt idx="1518">
                  <c:v>1403-09-05</c:v>
                </c:pt>
                <c:pt idx="1519">
                  <c:v>1403-09-06</c:v>
                </c:pt>
                <c:pt idx="1520">
                  <c:v>1403-09-07</c:v>
                </c:pt>
                <c:pt idx="1521">
                  <c:v>1403-09-10</c:v>
                </c:pt>
                <c:pt idx="1522">
                  <c:v>1403-09-11</c:v>
                </c:pt>
                <c:pt idx="1523">
                  <c:v>1403-09-12</c:v>
                </c:pt>
                <c:pt idx="1524">
                  <c:v>1403-09-13</c:v>
                </c:pt>
                <c:pt idx="1525">
                  <c:v>1403-09-14</c:v>
                </c:pt>
                <c:pt idx="1526">
                  <c:v>1403-09-17</c:v>
                </c:pt>
                <c:pt idx="1527">
                  <c:v>1403-09-18</c:v>
                </c:pt>
                <c:pt idx="1528">
                  <c:v>1403-09-19</c:v>
                </c:pt>
                <c:pt idx="1529">
                  <c:v>1403-09-20</c:v>
                </c:pt>
                <c:pt idx="1530">
                  <c:v>1403-09-21</c:v>
                </c:pt>
                <c:pt idx="1531">
                  <c:v>1403-09-24</c:v>
                </c:pt>
                <c:pt idx="1532">
                  <c:v>1403-09-25</c:v>
                </c:pt>
                <c:pt idx="1533">
                  <c:v>1403-09-26</c:v>
                </c:pt>
                <c:pt idx="1534">
                  <c:v>1403-09-27</c:v>
                </c:pt>
                <c:pt idx="1535">
                  <c:v>1403-09-28</c:v>
                </c:pt>
                <c:pt idx="1536">
                  <c:v>1403-10-01</c:v>
                </c:pt>
                <c:pt idx="1537">
                  <c:v>1403-10-02</c:v>
                </c:pt>
                <c:pt idx="1538">
                  <c:v>1403-10-03</c:v>
                </c:pt>
                <c:pt idx="1539">
                  <c:v>1403-10-04</c:v>
                </c:pt>
                <c:pt idx="1540">
                  <c:v>1403-10-05</c:v>
                </c:pt>
                <c:pt idx="1541">
                  <c:v>1403-10-08</c:v>
                </c:pt>
                <c:pt idx="1542">
                  <c:v>1403-10-09</c:v>
                </c:pt>
                <c:pt idx="1543">
                  <c:v>1403-10-10</c:v>
                </c:pt>
                <c:pt idx="1544">
                  <c:v>1403-10-11</c:v>
                </c:pt>
                <c:pt idx="1545">
                  <c:v>1403-10-12</c:v>
                </c:pt>
                <c:pt idx="1546">
                  <c:v>1403-10-15</c:v>
                </c:pt>
                <c:pt idx="1547">
                  <c:v>1403-10-16</c:v>
                </c:pt>
                <c:pt idx="1548">
                  <c:v>1403-10-17</c:v>
                </c:pt>
                <c:pt idx="1549">
                  <c:v>1403-10-18</c:v>
                </c:pt>
                <c:pt idx="1550">
                  <c:v>1403-10-19</c:v>
                </c:pt>
                <c:pt idx="1551">
                  <c:v>1403-10-23</c:v>
                </c:pt>
                <c:pt idx="1552">
                  <c:v>1403-10-24</c:v>
                </c:pt>
                <c:pt idx="1553">
                  <c:v>1403-10-26</c:v>
                </c:pt>
                <c:pt idx="1554">
                  <c:v>1403-10-29</c:v>
                </c:pt>
                <c:pt idx="1555">
                  <c:v>1403-10-30</c:v>
                </c:pt>
                <c:pt idx="1556">
                  <c:v>1403-11-01</c:v>
                </c:pt>
                <c:pt idx="1557">
                  <c:v>1403-11-02</c:v>
                </c:pt>
                <c:pt idx="1558">
                  <c:v>1403-11-03</c:v>
                </c:pt>
                <c:pt idx="1559">
                  <c:v>1403-11-03</c:v>
                </c:pt>
                <c:pt idx="1560">
                  <c:v>1403-11-06</c:v>
                </c:pt>
                <c:pt idx="1561">
                  <c:v>1403-11-07</c:v>
                </c:pt>
                <c:pt idx="1562">
                  <c:v>1403-11-08</c:v>
                </c:pt>
                <c:pt idx="1563">
                  <c:v>1403-11-10</c:v>
                </c:pt>
                <c:pt idx="1564">
                  <c:v>1403-11-13</c:v>
                </c:pt>
                <c:pt idx="1565">
                  <c:v>1403-11-14</c:v>
                </c:pt>
                <c:pt idx="1566">
                  <c:v>1403-11-15</c:v>
                </c:pt>
                <c:pt idx="1567">
                  <c:v>1403-11-16</c:v>
                </c:pt>
                <c:pt idx="1568">
                  <c:v>1403-11-17</c:v>
                </c:pt>
                <c:pt idx="1569">
                  <c:v>1403-11-21</c:v>
                </c:pt>
                <c:pt idx="1570">
                  <c:v>1403-11-23</c:v>
                </c:pt>
                <c:pt idx="1571">
                  <c:v>1403-11-27</c:v>
                </c:pt>
                <c:pt idx="1572">
                  <c:v>1403-11-28</c:v>
                </c:pt>
                <c:pt idx="1573">
                  <c:v>1403-11-29</c:v>
                </c:pt>
                <c:pt idx="1574">
                  <c:v>1403-11-30</c:v>
                </c:pt>
                <c:pt idx="1575">
                  <c:v>1403-12-01</c:v>
                </c:pt>
                <c:pt idx="1576">
                  <c:v>1403-12-01</c:v>
                </c:pt>
                <c:pt idx="1577">
                  <c:v>1403-12-04</c:v>
                </c:pt>
                <c:pt idx="1578">
                  <c:v>1403-12-05</c:v>
                </c:pt>
                <c:pt idx="1579">
                  <c:v>1403-12-06</c:v>
                </c:pt>
                <c:pt idx="1580">
                  <c:v>1403-12-07</c:v>
                </c:pt>
                <c:pt idx="1581">
                  <c:v>1403-12-08</c:v>
                </c:pt>
                <c:pt idx="1582">
                  <c:v>1403-12-11</c:v>
                </c:pt>
                <c:pt idx="1583">
                  <c:v>1403-12-12</c:v>
                </c:pt>
                <c:pt idx="1584">
                  <c:v>1403-12-13</c:v>
                </c:pt>
                <c:pt idx="1585">
                  <c:v>1403-12-14</c:v>
                </c:pt>
                <c:pt idx="1586">
                  <c:v>1403-12-15</c:v>
                </c:pt>
                <c:pt idx="1587">
                  <c:v>1403-12-18</c:v>
                </c:pt>
                <c:pt idx="1588">
                  <c:v>1403-12-19</c:v>
                </c:pt>
                <c:pt idx="1589">
                  <c:v>1403-12-20</c:v>
                </c:pt>
                <c:pt idx="1590">
                  <c:v>1403-12-21</c:v>
                </c:pt>
                <c:pt idx="1591">
                  <c:v>1403-12-22</c:v>
                </c:pt>
              </c:strCache>
            </c:strRef>
          </c:cat>
          <c:val>
            <c:numRef>
              <c:f>Overall!$I$2:$I$1596</c:f>
              <c:numCache>
                <c:formatCode>#,##0.00</c:formatCode>
                <c:ptCount val="1595"/>
                <c:pt idx="0">
                  <c:v>6.6661416044999999</c:v>
                </c:pt>
                <c:pt idx="1">
                  <c:v>6.5415170572000001</c:v>
                </c:pt>
                <c:pt idx="2">
                  <c:v>6.6127310842</c:v>
                </c:pt>
                <c:pt idx="3">
                  <c:v>6.6381646652999997</c:v>
                </c:pt>
                <c:pt idx="4">
                  <c:v>6.6814017532000003</c:v>
                </c:pt>
                <c:pt idx="5">
                  <c:v>6.7398989897000003</c:v>
                </c:pt>
                <c:pt idx="6">
                  <c:v>6.7856794356999997</c:v>
                </c:pt>
                <c:pt idx="7">
                  <c:v>6.7856794356999997</c:v>
                </c:pt>
                <c:pt idx="8">
                  <c:v>7.0323851722999997</c:v>
                </c:pt>
                <c:pt idx="9">
                  <c:v>6.8238298073000001</c:v>
                </c:pt>
                <c:pt idx="10">
                  <c:v>6.7195521247999999</c:v>
                </c:pt>
                <c:pt idx="11">
                  <c:v>6.7144654085999997</c:v>
                </c:pt>
                <c:pt idx="12">
                  <c:v>6.6941185437000001</c:v>
                </c:pt>
                <c:pt idx="13">
                  <c:v>6.6763150370000002</c:v>
                </c:pt>
                <c:pt idx="14">
                  <c:v>6.8085696585999997</c:v>
                </c:pt>
                <c:pt idx="15">
                  <c:v>6.7144654085999997</c:v>
                </c:pt>
                <c:pt idx="16">
                  <c:v>6.6381646652999997</c:v>
                </c:pt>
                <c:pt idx="17">
                  <c:v>6.5389736989999996</c:v>
                </c:pt>
                <c:pt idx="18">
                  <c:v>6.5822107869000002</c:v>
                </c:pt>
                <c:pt idx="19">
                  <c:v>6.4728463881999998</c:v>
                </c:pt>
                <c:pt idx="20">
                  <c:v>6.3075281110999999</c:v>
                </c:pt>
                <c:pt idx="21">
                  <c:v>6.3456784827000003</c:v>
                </c:pt>
                <c:pt idx="22">
                  <c:v>6.3583952733000002</c:v>
                </c:pt>
                <c:pt idx="23">
                  <c:v>6.3838288543999999</c:v>
                </c:pt>
                <c:pt idx="24">
                  <c:v>6.2820945300000002</c:v>
                </c:pt>
                <c:pt idx="25">
                  <c:v>6.2312273677999999</c:v>
                </c:pt>
                <c:pt idx="26">
                  <c:v>6.2566609488999996</c:v>
                </c:pt>
                <c:pt idx="27">
                  <c:v>6.3304183341</c:v>
                </c:pt>
                <c:pt idx="28">
                  <c:v>6.3075281110999999</c:v>
                </c:pt>
                <c:pt idx="29">
                  <c:v>6.3583952733000002</c:v>
                </c:pt>
                <c:pt idx="30">
                  <c:v>6.4219792260000004</c:v>
                </c:pt>
                <c:pt idx="31">
                  <c:v>6.4067190774</c:v>
                </c:pt>
                <c:pt idx="32">
                  <c:v>6.3965456448999998</c:v>
                </c:pt>
                <c:pt idx="33">
                  <c:v>6.3838288543999999</c:v>
                </c:pt>
                <c:pt idx="34">
                  <c:v>6.3863722125000004</c:v>
                </c:pt>
                <c:pt idx="35">
                  <c:v>6.3634819895000003</c:v>
                </c:pt>
                <c:pt idx="36">
                  <c:v>6.4016323610999999</c:v>
                </c:pt>
                <c:pt idx="37">
                  <c:v>6.3583952733000002</c:v>
                </c:pt>
                <c:pt idx="38">
                  <c:v>6.3583952733000002</c:v>
                </c:pt>
                <c:pt idx="39">
                  <c:v>6.5364303409</c:v>
                </c:pt>
                <c:pt idx="40">
                  <c:v>6.5313436246999999</c:v>
                </c:pt>
                <c:pt idx="41">
                  <c:v>6.5618639219999997</c:v>
                </c:pt>
                <c:pt idx="42">
                  <c:v>6.6101877261000004</c:v>
                </c:pt>
                <c:pt idx="43">
                  <c:v>6.6127310842</c:v>
                </c:pt>
                <c:pt idx="44">
                  <c:v>6.6127310842</c:v>
                </c:pt>
                <c:pt idx="45">
                  <c:v>6.6966619017999998</c:v>
                </c:pt>
                <c:pt idx="46">
                  <c:v>6.8746969695000004</c:v>
                </c:pt>
                <c:pt idx="47">
                  <c:v>6.8848704018999998</c:v>
                </c:pt>
                <c:pt idx="48">
                  <c:v>6.8950438344</c:v>
                </c:pt>
                <c:pt idx="49">
                  <c:v>7.2104202399000004</c:v>
                </c:pt>
                <c:pt idx="50">
                  <c:v>7.3757385170000003</c:v>
                </c:pt>
                <c:pt idx="51">
                  <c:v>6.9960470134000001</c:v>
                </c:pt>
                <c:pt idx="52">
                  <c:v>6.9452774415</c:v>
                </c:pt>
                <c:pt idx="53">
                  <c:v>6.8234304687999998</c:v>
                </c:pt>
                <c:pt idx="54">
                  <c:v>7.0062009278000001</c:v>
                </c:pt>
                <c:pt idx="55">
                  <c:v>7.3636187143000003</c:v>
                </c:pt>
                <c:pt idx="56">
                  <c:v>7.0265087566000002</c:v>
                </c:pt>
                <c:pt idx="57">
                  <c:v>6.7137681934</c:v>
                </c:pt>
                <c:pt idx="58">
                  <c:v>6.5387038667999997</c:v>
                </c:pt>
                <c:pt idx="59">
                  <c:v>6.4100937064999997</c:v>
                </c:pt>
                <c:pt idx="60">
                  <c:v>6.5876982136000004</c:v>
                </c:pt>
                <c:pt idx="61">
                  <c:v>6.7367226851000002</c:v>
                </c:pt>
                <c:pt idx="62">
                  <c:v>6.6346511292999999</c:v>
                </c:pt>
                <c:pt idx="63">
                  <c:v>5.6425156066</c:v>
                </c:pt>
                <c:pt idx="64">
                  <c:v>5.3424252324000001</c:v>
                </c:pt>
                <c:pt idx="65">
                  <c:v>5.3077209033999999</c:v>
                </c:pt>
                <c:pt idx="66">
                  <c:v>5.2464779698999999</c:v>
                </c:pt>
                <c:pt idx="67">
                  <c:v>5.1444064140999997</c:v>
                </c:pt>
                <c:pt idx="68">
                  <c:v>5.0219205470999997</c:v>
                </c:pt>
                <c:pt idx="69">
                  <c:v>4.0981677176</c:v>
                </c:pt>
                <c:pt idx="70">
                  <c:v>4.3360299309999997</c:v>
                </c:pt>
                <c:pt idx="71">
                  <c:v>4.3789772750999996</c:v>
                </c:pt>
                <c:pt idx="72">
                  <c:v>4.3608072449000002</c:v>
                </c:pt>
                <c:pt idx="73">
                  <c:v>4.5656330396999998</c:v>
                </c:pt>
                <c:pt idx="74">
                  <c:v>4.7621997298999998</c:v>
                </c:pt>
                <c:pt idx="75">
                  <c:v>5.0000619433000004</c:v>
                </c:pt>
                <c:pt idx="76">
                  <c:v>5.2346205147999996</c:v>
                </c:pt>
                <c:pt idx="77">
                  <c:v>5.4873491164999999</c:v>
                </c:pt>
                <c:pt idx="78">
                  <c:v>5.4510090561000002</c:v>
                </c:pt>
                <c:pt idx="79">
                  <c:v>5.5005636839000003</c:v>
                </c:pt>
                <c:pt idx="80">
                  <c:v>5.7582477483999996</c:v>
                </c:pt>
                <c:pt idx="81">
                  <c:v>6.0390573058000001</c:v>
                </c:pt>
                <c:pt idx="82">
                  <c:v>6.0704419033999999</c:v>
                </c:pt>
                <c:pt idx="83">
                  <c:v>6.0621827988000003</c:v>
                </c:pt>
                <c:pt idx="84">
                  <c:v>5.9102152736000004</c:v>
                </c:pt>
                <c:pt idx="85">
                  <c:v>6.1282556358000004</c:v>
                </c:pt>
                <c:pt idx="86">
                  <c:v>6.1398183822999997</c:v>
                </c:pt>
                <c:pt idx="87">
                  <c:v>6.1447738450999996</c:v>
                </c:pt>
                <c:pt idx="88">
                  <c:v>6.2637049517000003</c:v>
                </c:pt>
                <c:pt idx="89">
                  <c:v>6.5808545695999996</c:v>
                </c:pt>
                <c:pt idx="90">
                  <c:v>6.7592512296000002</c:v>
                </c:pt>
                <c:pt idx="91">
                  <c:v>6.4404497907999998</c:v>
                </c:pt>
                <c:pt idx="92">
                  <c:v>6.9244333221999996</c:v>
                </c:pt>
                <c:pt idx="93">
                  <c:v>6.8220204247999998</c:v>
                </c:pt>
                <c:pt idx="94">
                  <c:v>6.7229111691999996</c:v>
                </c:pt>
                <c:pt idx="95">
                  <c:v>6.5246926581000002</c:v>
                </c:pt>
                <c:pt idx="96">
                  <c:v>6.3545551027</c:v>
                </c:pt>
                <c:pt idx="97">
                  <c:v>6.1778102635999996</c:v>
                </c:pt>
                <c:pt idx="98">
                  <c:v>6.4635752838</c:v>
                </c:pt>
                <c:pt idx="99">
                  <c:v>6.5957209579000002</c:v>
                </c:pt>
                <c:pt idx="100">
                  <c:v>6.4916562395000001</c:v>
                </c:pt>
                <c:pt idx="101">
                  <c:v>6.4751380303000001</c:v>
                </c:pt>
                <c:pt idx="102">
                  <c:v>6.6238019136000004</c:v>
                </c:pt>
                <c:pt idx="103">
                  <c:v>6.7361257366</c:v>
                </c:pt>
                <c:pt idx="104">
                  <c:v>6.8220204247999998</c:v>
                </c:pt>
                <c:pt idx="105">
                  <c:v>6.9112187548000001</c:v>
                </c:pt>
                <c:pt idx="106">
                  <c:v>6.6271055555</c:v>
                </c:pt>
                <c:pt idx="107">
                  <c:v>6.5758991067999997</c:v>
                </c:pt>
                <c:pt idx="108">
                  <c:v>6.4421016118000001</c:v>
                </c:pt>
                <c:pt idx="109">
                  <c:v>6.4074133722999997</c:v>
                </c:pt>
                <c:pt idx="110">
                  <c:v>6.6386683020000001</c:v>
                </c:pt>
                <c:pt idx="111">
                  <c:v>6.7229111691999996</c:v>
                </c:pt>
                <c:pt idx="112">
                  <c:v>7.0929190566000004</c:v>
                </c:pt>
                <c:pt idx="113">
                  <c:v>7.3340849118999998</c:v>
                </c:pt>
                <c:pt idx="114">
                  <c:v>7.5323034230000001</c:v>
                </c:pt>
                <c:pt idx="115">
                  <c:v>7.5950726181999997</c:v>
                </c:pt>
                <c:pt idx="116">
                  <c:v>7.9039631314000003</c:v>
                </c:pt>
                <c:pt idx="117">
                  <c:v>7.7305219341000004</c:v>
                </c:pt>
                <c:pt idx="118">
                  <c:v>7.4976151834999998</c:v>
                </c:pt>
                <c:pt idx="119">
                  <c:v>7.2415829399999998</c:v>
                </c:pt>
                <c:pt idx="120">
                  <c:v>6.8269758874999997</c:v>
                </c:pt>
                <c:pt idx="121">
                  <c:v>6.6006764207000002</c:v>
                </c:pt>
                <c:pt idx="122">
                  <c:v>6.8880932617999999</c:v>
                </c:pt>
                <c:pt idx="123">
                  <c:v>6.9706843081000001</c:v>
                </c:pt>
                <c:pt idx="124">
                  <c:v>7.1523846100000004</c:v>
                </c:pt>
                <c:pt idx="125">
                  <c:v>6.7724657969999997</c:v>
                </c:pt>
                <c:pt idx="126">
                  <c:v>7.0202389359000001</c:v>
                </c:pt>
                <c:pt idx="127">
                  <c:v>7.2382792981000001</c:v>
                </c:pt>
                <c:pt idx="128">
                  <c:v>7.1689028192000004</c:v>
                </c:pt>
                <c:pt idx="129">
                  <c:v>7.0962226985000001</c:v>
                </c:pt>
                <c:pt idx="130">
                  <c:v>7.5223924974000003</c:v>
                </c:pt>
                <c:pt idx="131">
                  <c:v>7.5455179903999996</c:v>
                </c:pt>
                <c:pt idx="132">
                  <c:v>6.0068787940000004</c:v>
                </c:pt>
                <c:pt idx="133">
                  <c:v>5.9421751093999999</c:v>
                </c:pt>
                <c:pt idx="134">
                  <c:v>5.6992061716000002</c:v>
                </c:pt>
                <c:pt idx="135">
                  <c:v>5.6529892541000004</c:v>
                </c:pt>
                <c:pt idx="136">
                  <c:v>5.6952447214999999</c:v>
                </c:pt>
                <c:pt idx="137">
                  <c:v>5.6648736043000003</c:v>
                </c:pt>
                <c:pt idx="138">
                  <c:v>5.6120542699999998</c:v>
                </c:pt>
                <c:pt idx="139">
                  <c:v>5.6080928199000004</c:v>
                </c:pt>
                <c:pt idx="140">
                  <c:v>5.5394276852999997</c:v>
                </c:pt>
                <c:pt idx="141">
                  <c:v>5.5962084696999996</c:v>
                </c:pt>
                <c:pt idx="142">
                  <c:v>5.6028108865000004</c:v>
                </c:pt>
                <c:pt idx="143">
                  <c:v>5.5526325189000003</c:v>
                </c:pt>
                <c:pt idx="144">
                  <c:v>5.3743672656000001</c:v>
                </c:pt>
                <c:pt idx="145">
                  <c:v>5.4166227330999996</c:v>
                </c:pt>
                <c:pt idx="146">
                  <c:v>5.3611624321000004</c:v>
                </c:pt>
                <c:pt idx="147">
                  <c:v>5.4403914335000003</c:v>
                </c:pt>
                <c:pt idx="148">
                  <c:v>5.2647671469999997</c:v>
                </c:pt>
                <c:pt idx="149">
                  <c:v>5.2555237635000003</c:v>
                </c:pt>
                <c:pt idx="150">
                  <c:v>5.2819334305999996</c:v>
                </c:pt>
                <c:pt idx="151">
                  <c:v>5.3347527649000002</c:v>
                </c:pt>
                <c:pt idx="152">
                  <c:v>5.2185502293999999</c:v>
                </c:pt>
                <c:pt idx="153">
                  <c:v>5.0112343422999999</c:v>
                </c:pt>
                <c:pt idx="154">
                  <c:v>4.9386077575999998</c:v>
                </c:pt>
                <c:pt idx="155">
                  <c:v>4.9874656418000001</c:v>
                </c:pt>
                <c:pt idx="156">
                  <c:v>4.9201209906000001</c:v>
                </c:pt>
                <c:pt idx="157">
                  <c:v>4.8857884233000002</c:v>
                </c:pt>
                <c:pt idx="158">
                  <c:v>5.1089501108000004</c:v>
                </c:pt>
                <c:pt idx="159">
                  <c:v>5.3123045478000002</c:v>
                </c:pt>
                <c:pt idx="160">
                  <c:v>5.2819334305999996</c:v>
                </c:pt>
                <c:pt idx="161">
                  <c:v>5.3281503481000003</c:v>
                </c:pt>
                <c:pt idx="162">
                  <c:v>5.1715492304000001</c:v>
                </c:pt>
                <c:pt idx="163">
                  <c:v>5.1573274701000003</c:v>
                </c:pt>
                <c:pt idx="164">
                  <c:v>5.1017333157999998</c:v>
                </c:pt>
                <c:pt idx="165">
                  <c:v>5.0797542315999999</c:v>
                </c:pt>
                <c:pt idx="166">
                  <c:v>5.0422604997000002</c:v>
                </c:pt>
                <c:pt idx="167">
                  <c:v>5.0034738804999996</c:v>
                </c:pt>
                <c:pt idx="168">
                  <c:v>4.9724445850999999</c:v>
                </c:pt>
                <c:pt idx="169">
                  <c:v>4.8353985305</c:v>
                </c:pt>
                <c:pt idx="170">
                  <c:v>4.9548613176999998</c:v>
                </c:pt>
                <c:pt idx="171">
                  <c:v>4.8204010376999999</c:v>
                </c:pt>
                <c:pt idx="172">
                  <c:v>4.8909926846999996</c:v>
                </c:pt>
                <c:pt idx="173">
                  <c:v>4.9061194661999998</c:v>
                </c:pt>
                <c:pt idx="174">
                  <c:v>4.8069550097000002</c:v>
                </c:pt>
                <c:pt idx="175">
                  <c:v>4.8237625447000001</c:v>
                </c:pt>
                <c:pt idx="176">
                  <c:v>4.7615746652000004</c:v>
                </c:pt>
                <c:pt idx="177">
                  <c:v>4.6859407577000001</c:v>
                </c:pt>
                <c:pt idx="178">
                  <c:v>4.5380344496999996</c:v>
                </c:pt>
                <c:pt idx="179">
                  <c:v>4.5161846541999999</c:v>
                </c:pt>
                <c:pt idx="180">
                  <c:v>4.5800532872000002</c:v>
                </c:pt>
                <c:pt idx="181">
                  <c:v>4.7044290461999996</c:v>
                </c:pt>
                <c:pt idx="182">
                  <c:v>4.7464478837000001</c:v>
                </c:pt>
                <c:pt idx="183">
                  <c:v>4.7061097997000001</c:v>
                </c:pt>
                <c:pt idx="184">
                  <c:v>4.6977060322000002</c:v>
                </c:pt>
                <c:pt idx="185">
                  <c:v>4.6825792506999999</c:v>
                </c:pt>
                <c:pt idx="186">
                  <c:v>4.6590487016999997</c:v>
                </c:pt>
                <c:pt idx="187">
                  <c:v>4.6287951387000001</c:v>
                </c:pt>
                <c:pt idx="188">
                  <c:v>4.6556871946999996</c:v>
                </c:pt>
                <c:pt idx="189">
                  <c:v>4.3079240243000001</c:v>
                </c:pt>
                <c:pt idx="190">
                  <c:v>4.2454677137000001</c:v>
                </c:pt>
                <c:pt idx="191">
                  <c:v>4.2704502378999996</c:v>
                </c:pt>
                <c:pt idx="192">
                  <c:v>4.2267308205000003</c:v>
                </c:pt>
                <c:pt idx="193">
                  <c:v>4.2923099465999996</c:v>
                </c:pt>
                <c:pt idx="194">
                  <c:v>4.2220465972000003</c:v>
                </c:pt>
                <c:pt idx="195">
                  <c:v>4.1549060633000003</c:v>
                </c:pt>
                <c:pt idx="196">
                  <c:v>4.1830114031000001</c:v>
                </c:pt>
                <c:pt idx="197">
                  <c:v>4.2204851893999997</c:v>
                </c:pt>
                <c:pt idx="198">
                  <c:v>4.1377305779000002</c:v>
                </c:pt>
                <c:pt idx="199">
                  <c:v>4.1377305779000002</c:v>
                </c:pt>
                <c:pt idx="200">
                  <c:v>4.1876956264</c:v>
                </c:pt>
                <c:pt idx="201">
                  <c:v>4.3906786358999996</c:v>
                </c:pt>
                <c:pt idx="202">
                  <c:v>4.4000470824000004</c:v>
                </c:pt>
                <c:pt idx="203">
                  <c:v>4.4187839756000002</c:v>
                </c:pt>
                <c:pt idx="204">
                  <c:v>4.3563276650000002</c:v>
                </c:pt>
                <c:pt idx="205">
                  <c:v>4.3563276650000002</c:v>
                </c:pt>
                <c:pt idx="206">
                  <c:v>4.2798186845000004</c:v>
                </c:pt>
                <c:pt idx="207">
                  <c:v>4.3126082476000001</c:v>
                </c:pt>
                <c:pt idx="208">
                  <c:v>4.3813101892999997</c:v>
                </c:pt>
                <c:pt idx="209">
                  <c:v>4.6217669850999998</c:v>
                </c:pt>
                <c:pt idx="210">
                  <c:v>4.8434868878000001</c:v>
                </c:pt>
                <c:pt idx="211">
                  <c:v>5.0652067904000004</c:v>
                </c:pt>
                <c:pt idx="212">
                  <c:v>5.1838737805999999</c:v>
                </c:pt>
                <c:pt idx="213">
                  <c:v>5.3103478095999996</c:v>
                </c:pt>
                <c:pt idx="214">
                  <c:v>5.2151019358999999</c:v>
                </c:pt>
                <c:pt idx="215">
                  <c:v>5.1713825184999997</c:v>
                </c:pt>
                <c:pt idx="216">
                  <c:v>5.1136104311999997</c:v>
                </c:pt>
                <c:pt idx="217">
                  <c:v>5.2151019358999999</c:v>
                </c:pt>
                <c:pt idx="218">
                  <c:v>5.2260317903000004</c:v>
                </c:pt>
                <c:pt idx="219">
                  <c:v>5.1682597029000004</c:v>
                </c:pt>
                <c:pt idx="220">
                  <c:v>5.2151019358999999</c:v>
                </c:pt>
                <c:pt idx="221">
                  <c:v>5.1635754797000004</c:v>
                </c:pt>
                <c:pt idx="222">
                  <c:v>5.4180849454000004</c:v>
                </c:pt>
                <c:pt idx="223">
                  <c:v>5.4961553336</c:v>
                </c:pt>
                <c:pt idx="224">
                  <c:v>5.6507347024000003</c:v>
                </c:pt>
                <c:pt idx="225">
                  <c:v>5.6210679549</c:v>
                </c:pt>
                <c:pt idx="226">
                  <c:v>5.6679101878000004</c:v>
                </c:pt>
                <c:pt idx="227">
                  <c:v>5.6413662558000004</c:v>
                </c:pt>
                <c:pt idx="228">
                  <c:v>5.8552791196999996</c:v>
                </c:pt>
                <c:pt idx="229">
                  <c:v>6.0364024204</c:v>
                </c:pt>
                <c:pt idx="230">
                  <c:v>5.9395951389999997</c:v>
                </c:pt>
                <c:pt idx="231">
                  <c:v>5.8958757216000004</c:v>
                </c:pt>
                <c:pt idx="232">
                  <c:v>5.9645776632</c:v>
                </c:pt>
                <c:pt idx="233">
                  <c:v>6.2144029057000001</c:v>
                </c:pt>
                <c:pt idx="234">
                  <c:v>6.0582621291000001</c:v>
                </c:pt>
                <c:pt idx="235">
                  <c:v>6.0098584883999999</c:v>
                </c:pt>
                <c:pt idx="236">
                  <c:v>6.0004900418</c:v>
                </c:pt>
                <c:pt idx="237">
                  <c:v>6.2378240220999999</c:v>
                </c:pt>
                <c:pt idx="238">
                  <c:v>6.2971575171999996</c:v>
                </c:pt>
                <c:pt idx="239">
                  <c:v>6.5266844587000001</c:v>
                </c:pt>
                <c:pt idx="240">
                  <c:v>6.4080174684999998</c:v>
                </c:pt>
                <c:pt idx="241">
                  <c:v>6.4439298471999997</c:v>
                </c:pt>
                <c:pt idx="242">
                  <c:v>6.4486140703999997</c:v>
                </c:pt>
                <c:pt idx="243">
                  <c:v>6.2409468377000001</c:v>
                </c:pt>
                <c:pt idx="244">
                  <c:v>6.2768592163000001</c:v>
                </c:pt>
                <c:pt idx="245">
                  <c:v>6.2924732938999997</c:v>
                </c:pt>
                <c:pt idx="246">
                  <c:v>6.1909817892000003</c:v>
                </c:pt>
                <c:pt idx="247">
                  <c:v>6.1722448959999996</c:v>
                </c:pt>
                <c:pt idx="248">
                  <c:v>6.1659992648999999</c:v>
                </c:pt>
                <c:pt idx="249">
                  <c:v>6.1535080027999998</c:v>
                </c:pt>
                <c:pt idx="250">
                  <c:v>6.3049645559999998</c:v>
                </c:pt>
                <c:pt idx="251">
                  <c:v>6.6203689246000001</c:v>
                </c:pt>
                <c:pt idx="252">
                  <c:v>6.5266844587000001</c:v>
                </c:pt>
                <c:pt idx="253">
                  <c:v>6.7655798467999997</c:v>
                </c:pt>
                <c:pt idx="254">
                  <c:v>6.7655798467999997</c:v>
                </c:pt>
                <c:pt idx="255">
                  <c:v>6.6797024196999999</c:v>
                </c:pt>
                <c:pt idx="256">
                  <c:v>6.4142630996000003</c:v>
                </c:pt>
                <c:pt idx="257">
                  <c:v>6.3002803326999999</c:v>
                </c:pt>
                <c:pt idx="258">
                  <c:v>6.4798422257999997</c:v>
                </c:pt>
                <c:pt idx="259">
                  <c:v>6.1535080027999998</c:v>
                </c:pt>
                <c:pt idx="260">
                  <c:v>6.2456310610000001</c:v>
                </c:pt>
                <c:pt idx="261">
                  <c:v>6.3112101871000004</c:v>
                </c:pt>
                <c:pt idx="262">
                  <c:v>6.2456310610000001</c:v>
                </c:pt>
                <c:pt idx="263">
                  <c:v>6.2128414979000004</c:v>
                </c:pt>
                <c:pt idx="264">
                  <c:v>6.1222798474999998</c:v>
                </c:pt>
                <c:pt idx="265">
                  <c:v>6.1175956241999998</c:v>
                </c:pt>
                <c:pt idx="266">
                  <c:v>6.1051043620999996</c:v>
                </c:pt>
                <c:pt idx="267">
                  <c:v>6.2456310610000001</c:v>
                </c:pt>
                <c:pt idx="268">
                  <c:v>6.3049645559999998</c:v>
                </c:pt>
                <c:pt idx="269">
                  <c:v>6.1675606726999996</c:v>
                </c:pt>
                <c:pt idx="270">
                  <c:v>6.2409468377000001</c:v>
                </c:pt>
                <c:pt idx="271">
                  <c:v>6.5547897984999999</c:v>
                </c:pt>
                <c:pt idx="272">
                  <c:v>6.5110703810999997</c:v>
                </c:pt>
                <c:pt idx="273">
                  <c:v>6.3845963521</c:v>
                </c:pt>
                <c:pt idx="274">
                  <c:v>6.3080873716000001</c:v>
                </c:pt>
                <c:pt idx="275">
                  <c:v>6.3830349443000003</c:v>
                </c:pt>
                <c:pt idx="276">
                  <c:v>6.3393155269000001</c:v>
                </c:pt>
                <c:pt idx="277">
                  <c:v>6.3080873716000001</c:v>
                </c:pt>
                <c:pt idx="278">
                  <c:v>6.2690521773999999</c:v>
                </c:pt>
                <c:pt idx="279">
                  <c:v>6.3861577597999997</c:v>
                </c:pt>
                <c:pt idx="280">
                  <c:v>6.4454912549000003</c:v>
                </c:pt>
                <c:pt idx="281">
                  <c:v>6.3205786337000003</c:v>
                </c:pt>
                <c:pt idx="282">
                  <c:v>6.3689822744000004</c:v>
                </c:pt>
                <c:pt idx="283">
                  <c:v>6.3658594589000002</c:v>
                </c:pt>
                <c:pt idx="284">
                  <c:v>6.3658594589000002</c:v>
                </c:pt>
                <c:pt idx="285">
                  <c:v>6.5922635848000004</c:v>
                </c:pt>
                <c:pt idx="286">
                  <c:v>6.1406144014999997</c:v>
                </c:pt>
                <c:pt idx="287">
                  <c:v>6.1593974573999999</c:v>
                </c:pt>
                <c:pt idx="288">
                  <c:v>6.4599263504</c:v>
                </c:pt>
                <c:pt idx="289">
                  <c:v>6.6824333193000003</c:v>
                </c:pt>
                <c:pt idx="290">
                  <c:v>6.8283632145000004</c:v>
                </c:pt>
                <c:pt idx="291">
                  <c:v>6.7257788326999997</c:v>
                </c:pt>
                <c:pt idx="292">
                  <c:v>6.7907971029</c:v>
                </c:pt>
                <c:pt idx="293">
                  <c:v>6.6506466094999999</c:v>
                </c:pt>
                <c:pt idx="294">
                  <c:v>6.5480622277</c:v>
                </c:pt>
                <c:pt idx="295">
                  <c:v>6.4573131154999999</c:v>
                </c:pt>
                <c:pt idx="296">
                  <c:v>6.4645360608000004</c:v>
                </c:pt>
                <c:pt idx="297">
                  <c:v>6.4255321561000001</c:v>
                </c:pt>
                <c:pt idx="298">
                  <c:v>6.4717590061000001</c:v>
                </c:pt>
                <c:pt idx="299">
                  <c:v>6.4399780467000003</c:v>
                </c:pt>
                <c:pt idx="300">
                  <c:v>6.3691931826000001</c:v>
                </c:pt>
                <c:pt idx="301">
                  <c:v>5.9618190666000004</c:v>
                </c:pt>
                <c:pt idx="302">
                  <c:v>4.430856855</c:v>
                </c:pt>
                <c:pt idx="303">
                  <c:v>4.6809433219000001</c:v>
                </c:pt>
                <c:pt idx="304">
                  <c:v>4.7674711290999996</c:v>
                </c:pt>
                <c:pt idx="305">
                  <c:v>4.8434467646000003</c:v>
                </c:pt>
                <c:pt idx="306">
                  <c:v>4.7484772201999998</c:v>
                </c:pt>
                <c:pt idx="307">
                  <c:v>4.7906859066000003</c:v>
                </c:pt>
                <c:pt idx="308">
                  <c:v>4.7706367805000003</c:v>
                </c:pt>
                <c:pt idx="309">
                  <c:v>4.7569189574999999</c:v>
                </c:pt>
                <c:pt idx="310">
                  <c:v>4.7695815634000001</c:v>
                </c:pt>
                <c:pt idx="311">
                  <c:v>4.5859737774999996</c:v>
                </c:pt>
                <c:pt idx="312">
                  <c:v>4.5733111716000003</c:v>
                </c:pt>
                <c:pt idx="313">
                  <c:v>4.4456298951999997</c:v>
                </c:pt>
                <c:pt idx="314">
                  <c:v>4.4213599005999997</c:v>
                </c:pt>
                <c:pt idx="315">
                  <c:v>4.4076420775000003</c:v>
                </c:pt>
                <c:pt idx="316">
                  <c:v>4.3612125223999998</c:v>
                </c:pt>
                <c:pt idx="317">
                  <c:v>4.4108077290000001</c:v>
                </c:pt>
                <c:pt idx="318">
                  <c:v>4.4118629461000003</c:v>
                </c:pt>
                <c:pt idx="319">
                  <c:v>4.4604029355000003</c:v>
                </c:pt>
                <c:pt idx="320">
                  <c:v>4.4013107744999997</c:v>
                </c:pt>
                <c:pt idx="321">
                  <c:v>4.3875929514000003</c:v>
                </c:pt>
                <c:pt idx="322">
                  <c:v>4.3981451229999999</c:v>
                </c:pt>
                <c:pt idx="323">
                  <c:v>4.4139733803999999</c:v>
                </c:pt>
                <c:pt idx="324">
                  <c:v>4.3685990425999996</c:v>
                </c:pt>
                <c:pt idx="325">
                  <c:v>4.3379977449</c:v>
                </c:pt>
                <c:pt idx="326">
                  <c:v>4.4952251018</c:v>
                </c:pt>
                <c:pt idx="327">
                  <c:v>4.4319120722000003</c:v>
                </c:pt>
                <c:pt idx="328">
                  <c:v>4.6324033326</c:v>
                </c:pt>
                <c:pt idx="329">
                  <c:v>4.7379250486000002</c:v>
                </c:pt>
                <c:pt idx="330">
                  <c:v>4.9173119657999997</c:v>
                </c:pt>
                <c:pt idx="331">
                  <c:v>4.8434467646000003</c:v>
                </c:pt>
                <c:pt idx="332">
                  <c:v>4.8962076226000004</c:v>
                </c:pt>
                <c:pt idx="333">
                  <c:v>4.9595206522000002</c:v>
                </c:pt>
                <c:pt idx="334">
                  <c:v>5.1494597410000003</c:v>
                </c:pt>
                <c:pt idx="335">
                  <c:v>5.1484045238</c:v>
                </c:pt>
                <c:pt idx="336">
                  <c:v>5.2486501539999999</c:v>
                </c:pt>
                <c:pt idx="337">
                  <c:v>5.3710553446000002</c:v>
                </c:pt>
                <c:pt idx="338">
                  <c:v>5.3288466581999998</c:v>
                </c:pt>
                <c:pt idx="339">
                  <c:v>5.2708097144000003</c:v>
                </c:pt>
                <c:pt idx="340">
                  <c:v>5.2233249421999997</c:v>
                </c:pt>
                <c:pt idx="341">
                  <c:v>5.2750305830000004</c:v>
                </c:pt>
                <c:pt idx="342">
                  <c:v>5.2750305830000004</c:v>
                </c:pt>
                <c:pt idx="343">
                  <c:v>5.5346140043999998</c:v>
                </c:pt>
                <c:pt idx="344">
                  <c:v>5.7467126536000004</c:v>
                </c:pt>
                <c:pt idx="345">
                  <c:v>5.6865652753999996</c:v>
                </c:pt>
                <c:pt idx="346">
                  <c:v>5.7931422086</c:v>
                </c:pt>
                <c:pt idx="347">
                  <c:v>5.7424917849000003</c:v>
                </c:pt>
                <c:pt idx="348">
                  <c:v>5.6781235382000004</c:v>
                </c:pt>
                <c:pt idx="349">
                  <c:v>5.7414365678000001</c:v>
                </c:pt>
                <c:pt idx="350">
                  <c:v>5.6137552914000004</c:v>
                </c:pt>
                <c:pt idx="351">
                  <c:v>5.4860740149999998</c:v>
                </c:pt>
                <c:pt idx="352">
                  <c:v>5.4343683742</c:v>
                </c:pt>
                <c:pt idx="353">
                  <c:v>5.2961349261999997</c:v>
                </c:pt>
                <c:pt idx="354">
                  <c:v>5.2855827546</c:v>
                </c:pt>
                <c:pt idx="355">
                  <c:v>5.2539262398000002</c:v>
                </c:pt>
                <c:pt idx="356">
                  <c:v>5.3594479558000003</c:v>
                </c:pt>
                <c:pt idx="357">
                  <c:v>5.5346140043999998</c:v>
                </c:pt>
                <c:pt idx="358">
                  <c:v>5.6665161493999996</c:v>
                </c:pt>
                <c:pt idx="359">
                  <c:v>5.7097800530000002</c:v>
                </c:pt>
                <c:pt idx="360">
                  <c:v>5.6021479025999996</c:v>
                </c:pt>
                <c:pt idx="361">
                  <c:v>5.5926509482000002</c:v>
                </c:pt>
                <c:pt idx="362">
                  <c:v>5.4681353233000003</c:v>
                </c:pt>
                <c:pt idx="363">
                  <c:v>4.9400276885999999</c:v>
                </c:pt>
                <c:pt idx="364">
                  <c:v>4.9308794890999996</c:v>
                </c:pt>
                <c:pt idx="365">
                  <c:v>4.9034348908999998</c:v>
                </c:pt>
                <c:pt idx="366">
                  <c:v>4.9217312897000003</c:v>
                </c:pt>
                <c:pt idx="367">
                  <c:v>4.9336239490000002</c:v>
                </c:pt>
                <c:pt idx="368">
                  <c:v>4.9217312897000003</c:v>
                </c:pt>
                <c:pt idx="369">
                  <c:v>4.9034348908999998</c:v>
                </c:pt>
                <c:pt idx="370">
                  <c:v>4.8732458328000003</c:v>
                </c:pt>
                <c:pt idx="371">
                  <c:v>4.8476308744000001</c:v>
                </c:pt>
                <c:pt idx="372">
                  <c:v>4.8759902926000001</c:v>
                </c:pt>
                <c:pt idx="373">
                  <c:v>4.8476308744000001</c:v>
                </c:pt>
                <c:pt idx="374">
                  <c:v>4.8805643923000002</c:v>
                </c:pt>
                <c:pt idx="375">
                  <c:v>4.8439715946000002</c:v>
                </c:pt>
                <c:pt idx="376">
                  <c:v>4.8485456943000003</c:v>
                </c:pt>
                <c:pt idx="377">
                  <c:v>4.8403123148000002</c:v>
                </c:pt>
                <c:pt idx="378">
                  <c:v>4.8028046972</c:v>
                </c:pt>
                <c:pt idx="379">
                  <c:v>4.7982305974999999</c:v>
                </c:pt>
                <c:pt idx="380">
                  <c:v>4.8028046972</c:v>
                </c:pt>
                <c:pt idx="381">
                  <c:v>4.8284196556000003</c:v>
                </c:pt>
                <c:pt idx="382">
                  <c:v>4.8165269963000004</c:v>
                </c:pt>
                <c:pt idx="383">
                  <c:v>4.7735304589999998</c:v>
                </c:pt>
                <c:pt idx="384">
                  <c:v>4.7561488800999996</c:v>
                </c:pt>
                <c:pt idx="385">
                  <c:v>4.8064639769999999</c:v>
                </c:pt>
                <c:pt idx="386">
                  <c:v>4.8293344754999996</c:v>
                </c:pt>
                <c:pt idx="387">
                  <c:v>4.8823940321999997</c:v>
                </c:pt>
                <c:pt idx="388">
                  <c:v>4.8668420931999998</c:v>
                </c:pt>
                <c:pt idx="389">
                  <c:v>5.1129286576000004</c:v>
                </c:pt>
                <c:pt idx="390">
                  <c:v>5.2602146683999997</c:v>
                </c:pt>
                <c:pt idx="391">
                  <c:v>5.3004667457999997</c:v>
                </c:pt>
                <c:pt idx="392">
                  <c:v>5.3098672861000002</c:v>
                </c:pt>
                <c:pt idx="393">
                  <c:v>5.5654664877000002</c:v>
                </c:pt>
                <c:pt idx="394">
                  <c:v>5.6250146888000003</c:v>
                </c:pt>
                <c:pt idx="395">
                  <c:v>5.5700471185999998</c:v>
                </c:pt>
                <c:pt idx="396">
                  <c:v>5.5599697306999998</c:v>
                </c:pt>
                <c:pt idx="397">
                  <c:v>5.6066921654000001</c:v>
                </c:pt>
                <c:pt idx="398">
                  <c:v>5.8677881240999996</c:v>
                </c:pt>
                <c:pt idx="399">
                  <c:v>5.8632074933</c:v>
                </c:pt>
                <c:pt idx="400">
                  <c:v>5.8494656007000003</c:v>
                </c:pt>
                <c:pt idx="401">
                  <c:v>5.9520717318000003</c:v>
                </c:pt>
                <c:pt idx="402">
                  <c:v>5.9548201103</c:v>
                </c:pt>
                <c:pt idx="403">
                  <c:v>5.9823038955000003</c:v>
                </c:pt>
                <c:pt idx="404">
                  <c:v>6.0610907461999997</c:v>
                </c:pt>
                <c:pt idx="405">
                  <c:v>6.1380453445000001</c:v>
                </c:pt>
                <c:pt idx="406">
                  <c:v>6.1068970547000001</c:v>
                </c:pt>
                <c:pt idx="407">
                  <c:v>6.1380453445000001</c:v>
                </c:pt>
                <c:pt idx="408">
                  <c:v>6.1838516530999996</c:v>
                </c:pt>
                <c:pt idx="409">
                  <c:v>6.2049225549999996</c:v>
                </c:pt>
                <c:pt idx="410">
                  <c:v>6.2113354381999999</c:v>
                </c:pt>
                <c:pt idx="411">
                  <c:v>6.2754642700999996</c:v>
                </c:pt>
                <c:pt idx="412">
                  <c:v>6.4660185136999999</c:v>
                </c:pt>
                <c:pt idx="413">
                  <c:v>6.1920967885999998</c:v>
                </c:pt>
                <c:pt idx="414">
                  <c:v>6.3863155367999997</c:v>
                </c:pt>
                <c:pt idx="415">
                  <c:v>6.3652446348999998</c:v>
                </c:pt>
                <c:pt idx="416">
                  <c:v>6.3350124711999998</c:v>
                </c:pt>
                <c:pt idx="417">
                  <c:v>6.3414253544000001</c:v>
                </c:pt>
                <c:pt idx="418">
                  <c:v>6.6584050095</c:v>
                </c:pt>
                <c:pt idx="419">
                  <c:v>6.7637595191999997</c:v>
                </c:pt>
                <c:pt idx="420">
                  <c:v>6.9570621411999998</c:v>
                </c:pt>
                <c:pt idx="421">
                  <c:v>6.9625588983000002</c:v>
                </c:pt>
                <c:pt idx="422">
                  <c:v>6.1161963548999996</c:v>
                </c:pt>
                <c:pt idx="423">
                  <c:v>6.0474638551000002</c:v>
                </c:pt>
                <c:pt idx="424">
                  <c:v>6.0145917899999999</c:v>
                </c:pt>
                <c:pt idx="425">
                  <c:v>6.1161963548999996</c:v>
                </c:pt>
                <c:pt idx="426">
                  <c:v>6.0564289638000002</c:v>
                </c:pt>
                <c:pt idx="427">
                  <c:v>5.8472430949999996</c:v>
                </c:pt>
                <c:pt idx="428">
                  <c:v>6.1729753764000002</c:v>
                </c:pt>
                <c:pt idx="429">
                  <c:v>6.3751883830000002</c:v>
                </c:pt>
                <c:pt idx="430">
                  <c:v>6.2954985282000004</c:v>
                </c:pt>
                <c:pt idx="431">
                  <c:v>6.3054597599999997</c:v>
                </c:pt>
                <c:pt idx="432">
                  <c:v>6.2257699052</c:v>
                </c:pt>
                <c:pt idx="433">
                  <c:v>6.2297543979999999</c:v>
                </c:pt>
                <c:pt idx="434">
                  <c:v>6.1958862097000003</c:v>
                </c:pt>
                <c:pt idx="435">
                  <c:v>6.3233899772999997</c:v>
                </c:pt>
                <c:pt idx="436">
                  <c:v>6.2755760645000001</c:v>
                </c:pt>
                <c:pt idx="437">
                  <c:v>6.5843742517999999</c:v>
                </c:pt>
                <c:pt idx="438">
                  <c:v>6.6541028747000004</c:v>
                </c:pt>
                <c:pt idx="439">
                  <c:v>6.7238314976</c:v>
                </c:pt>
                <c:pt idx="440">
                  <c:v>6.7756299032999996</c:v>
                </c:pt>
                <c:pt idx="441">
                  <c:v>6.9091104100000003</c:v>
                </c:pt>
                <c:pt idx="442">
                  <c:v>7.0704823660000002</c:v>
                </c:pt>
                <c:pt idx="443">
                  <c:v>7.0575327646000003</c:v>
                </c:pt>
                <c:pt idx="444">
                  <c:v>7.3364472562999996</c:v>
                </c:pt>
                <c:pt idx="445">
                  <c:v>7.3593580895999997</c:v>
                </c:pt>
                <c:pt idx="446">
                  <c:v>7.0575327646000003</c:v>
                </c:pt>
                <c:pt idx="447">
                  <c:v>7.0714784892000004</c:v>
                </c:pt>
                <c:pt idx="448">
                  <c:v>7.3503929808999997</c:v>
                </c:pt>
                <c:pt idx="449">
                  <c:v>7.4749083790000004</c:v>
                </c:pt>
                <c:pt idx="450">
                  <c:v>7.6701485232</c:v>
                </c:pt>
                <c:pt idx="451">
                  <c:v>7.7797220736000003</c:v>
                </c:pt>
                <c:pt idx="452">
                  <c:v>7.4151409879000001</c:v>
                </c:pt>
                <c:pt idx="453">
                  <c:v>7.0664978732000003</c:v>
                </c:pt>
                <c:pt idx="454">
                  <c:v>7.2129279814</c:v>
                </c:pt>
                <c:pt idx="455">
                  <c:v>6.7547113163999999</c:v>
                </c:pt>
                <c:pt idx="456">
                  <c:v>7.0306374386000003</c:v>
                </c:pt>
                <c:pt idx="457">
                  <c:v>7.1113234166000003</c:v>
                </c:pt>
                <c:pt idx="458">
                  <c:v>7.1422032353000002</c:v>
                </c:pt>
                <c:pt idx="459">
                  <c:v>7.0625133805000004</c:v>
                </c:pt>
                <c:pt idx="460">
                  <c:v>6.7098857730999999</c:v>
                </c:pt>
                <c:pt idx="461">
                  <c:v>6.8314128016</c:v>
                </c:pt>
                <c:pt idx="462">
                  <c:v>6.9230561346000004</c:v>
                </c:pt>
                <c:pt idx="463">
                  <c:v>7.0107149749</c:v>
                </c:pt>
                <c:pt idx="464">
                  <c:v>7.0246606995</c:v>
                </c:pt>
                <c:pt idx="465">
                  <c:v>7.3314666404000004</c:v>
                </c:pt>
                <c:pt idx="466">
                  <c:v>7.1920093945000003</c:v>
                </c:pt>
                <c:pt idx="467">
                  <c:v>7.1720869307999999</c:v>
                </c:pt>
                <c:pt idx="468">
                  <c:v>7.4400440674999997</c:v>
                </c:pt>
                <c:pt idx="469">
                  <c:v>7.6701485232</c:v>
                </c:pt>
                <c:pt idx="470">
                  <c:v>7.8494506964999999</c:v>
                </c:pt>
                <c:pt idx="471">
                  <c:v>8.2459077241000003</c:v>
                </c:pt>
                <c:pt idx="472">
                  <c:v>8.3116518543000009</c:v>
                </c:pt>
                <c:pt idx="473">
                  <c:v>8.3495045352999995</c:v>
                </c:pt>
                <c:pt idx="474">
                  <c:v>8.7599072875000008</c:v>
                </c:pt>
                <c:pt idx="475">
                  <c:v>9.1384340976999994</c:v>
                </c:pt>
                <c:pt idx="476">
                  <c:v>9.1264806195000006</c:v>
                </c:pt>
                <c:pt idx="477">
                  <c:v>9.8496660516999999</c:v>
                </c:pt>
                <c:pt idx="478">
                  <c:v>10.089731739199999</c:v>
                </c:pt>
                <c:pt idx="479">
                  <c:v>10.1305727898</c:v>
                </c:pt>
                <c:pt idx="480">
                  <c:v>10.606719672100001</c:v>
                </c:pt>
                <c:pt idx="481">
                  <c:v>11.120719235499999</c:v>
                </c:pt>
                <c:pt idx="482">
                  <c:v>12.260284158999999</c:v>
                </c:pt>
                <c:pt idx="483">
                  <c:v>12.798190678799999</c:v>
                </c:pt>
                <c:pt idx="484">
                  <c:v>13.4377017634</c:v>
                </c:pt>
                <c:pt idx="485">
                  <c:v>14.109088789999999</c:v>
                </c:pt>
                <c:pt idx="486">
                  <c:v>13.7365387189</c:v>
                </c:pt>
                <c:pt idx="487">
                  <c:v>15.0454445838</c:v>
                </c:pt>
                <c:pt idx="488">
                  <c:v>15.307424981400001</c:v>
                </c:pt>
                <c:pt idx="489">
                  <c:v>16.072447587300001</c:v>
                </c:pt>
                <c:pt idx="490">
                  <c:v>16.870342258400001</c:v>
                </c:pt>
                <c:pt idx="491">
                  <c:v>16.029614290400001</c:v>
                </c:pt>
                <c:pt idx="492">
                  <c:v>15.3940876985</c:v>
                </c:pt>
                <c:pt idx="493">
                  <c:v>14.9707353449</c:v>
                </c:pt>
                <c:pt idx="494">
                  <c:v>14.260499514099999</c:v>
                </c:pt>
                <c:pt idx="495">
                  <c:v>14.985677192700001</c:v>
                </c:pt>
                <c:pt idx="496">
                  <c:v>14.035375674399999</c:v>
                </c:pt>
                <c:pt idx="497">
                  <c:v>13.719604624800001</c:v>
                </c:pt>
                <c:pt idx="498">
                  <c:v>13.0721245546</c:v>
                </c:pt>
                <c:pt idx="499">
                  <c:v>12.429625100399999</c:v>
                </c:pt>
                <c:pt idx="500">
                  <c:v>13.1089811125</c:v>
                </c:pt>
                <c:pt idx="501">
                  <c:v>13.4735621981</c:v>
                </c:pt>
                <c:pt idx="502">
                  <c:v>13.5462791906</c:v>
                </c:pt>
                <c:pt idx="503">
                  <c:v>14.115065529100001</c:v>
                </c:pt>
                <c:pt idx="504">
                  <c:v>14.7197123023</c:v>
                </c:pt>
                <c:pt idx="505">
                  <c:v>15.415006285400001</c:v>
                </c:pt>
                <c:pt idx="506">
                  <c:v>16.1850095072</c:v>
                </c:pt>
                <c:pt idx="507">
                  <c:v>16.824520591900001</c:v>
                </c:pt>
                <c:pt idx="508">
                  <c:v>17.7728298639</c:v>
                </c:pt>
                <c:pt idx="509">
                  <c:v>18.6075810928</c:v>
                </c:pt>
                <c:pt idx="510">
                  <c:v>19.524014422800001</c:v>
                </c:pt>
                <c:pt idx="511">
                  <c:v>20.5002151439</c:v>
                </c:pt>
                <c:pt idx="512">
                  <c:v>19.912502464900001</c:v>
                </c:pt>
                <c:pt idx="513">
                  <c:v>17.996163294799999</c:v>
                </c:pt>
                <c:pt idx="514">
                  <c:v>18.895555074499999</c:v>
                </c:pt>
                <c:pt idx="515">
                  <c:v>19.836585362400001</c:v>
                </c:pt>
                <c:pt idx="516">
                  <c:v>20.827581860399999</c:v>
                </c:pt>
                <c:pt idx="517">
                  <c:v>21.868544568299999</c:v>
                </c:pt>
                <c:pt idx="518">
                  <c:v>22.759608646299998</c:v>
                </c:pt>
                <c:pt idx="519">
                  <c:v>22.9011795746</c:v>
                </c:pt>
                <c:pt idx="520">
                  <c:v>23.983780790800001</c:v>
                </c:pt>
                <c:pt idx="521">
                  <c:v>24.275250349099998</c:v>
                </c:pt>
                <c:pt idx="522">
                  <c:v>25.4744393886</c:v>
                </c:pt>
                <c:pt idx="523">
                  <c:v>25.182969830400001</c:v>
                </c:pt>
                <c:pt idx="524">
                  <c:v>26.948442582999999</c:v>
                </c:pt>
                <c:pt idx="525">
                  <c:v>27.839506661000001</c:v>
                </c:pt>
                <c:pt idx="526">
                  <c:v>26.4487804832</c:v>
                </c:pt>
                <c:pt idx="527">
                  <c:v>28.364476446899999</c:v>
                </c:pt>
                <c:pt idx="528">
                  <c:v>28.2226540646</c:v>
                </c:pt>
                <c:pt idx="529">
                  <c:v>29.624192900800001</c:v>
                </c:pt>
                <c:pt idx="530">
                  <c:v>30.742086972500001</c:v>
                </c:pt>
                <c:pt idx="531">
                  <c:v>29.532425477</c:v>
                </c:pt>
                <c:pt idx="532">
                  <c:v>31.009046750900001</c:v>
                </c:pt>
                <c:pt idx="533">
                  <c:v>29.413471021599999</c:v>
                </c:pt>
                <c:pt idx="534">
                  <c:v>28.845330025100001</c:v>
                </c:pt>
                <c:pt idx="535">
                  <c:v>27.6846991321</c:v>
                </c:pt>
                <c:pt idx="536">
                  <c:v>26.353625940200001</c:v>
                </c:pt>
                <c:pt idx="537">
                  <c:v>25.761136043800001</c:v>
                </c:pt>
                <c:pt idx="538">
                  <c:v>27.002929936299999</c:v>
                </c:pt>
                <c:pt idx="539">
                  <c:v>26.0695554419</c:v>
                </c:pt>
                <c:pt idx="540">
                  <c:v>25.712438244099999</c:v>
                </c:pt>
                <c:pt idx="541">
                  <c:v>24.551807351099999</c:v>
                </c:pt>
                <c:pt idx="542">
                  <c:v>25.882880542999999</c:v>
                </c:pt>
                <c:pt idx="543">
                  <c:v>26.800022437500001</c:v>
                </c:pt>
                <c:pt idx="544">
                  <c:v>25.6069263447</c:v>
                </c:pt>
                <c:pt idx="545">
                  <c:v>25.493298145400001</c:v>
                </c:pt>
                <c:pt idx="546">
                  <c:v>24.3164346525</c:v>
                </c:pt>
                <c:pt idx="547">
                  <c:v>22.644476862699999</c:v>
                </c:pt>
                <c:pt idx="548">
                  <c:v>23.813224055599999</c:v>
                </c:pt>
                <c:pt idx="549">
                  <c:v>23.050291860200002</c:v>
                </c:pt>
                <c:pt idx="550">
                  <c:v>21.938358767</c:v>
                </c:pt>
                <c:pt idx="551">
                  <c:v>22.863616961400002</c:v>
                </c:pt>
                <c:pt idx="552">
                  <c:v>22.092568465999999</c:v>
                </c:pt>
                <c:pt idx="553">
                  <c:v>23.058408160199999</c:v>
                </c:pt>
                <c:pt idx="554">
                  <c:v>23.634665456699999</c:v>
                </c:pt>
                <c:pt idx="555">
                  <c:v>24.811528949500001</c:v>
                </c:pt>
                <c:pt idx="556">
                  <c:v>26.045206542100001</c:v>
                </c:pt>
                <c:pt idx="557">
                  <c:v>24.811528949500001</c:v>
                </c:pt>
                <c:pt idx="558">
                  <c:v>24.811528949500001</c:v>
                </c:pt>
                <c:pt idx="559">
                  <c:v>24.811528949500001</c:v>
                </c:pt>
                <c:pt idx="560">
                  <c:v>24.811528949500001</c:v>
                </c:pt>
                <c:pt idx="561">
                  <c:v>26.8974180369</c:v>
                </c:pt>
                <c:pt idx="562">
                  <c:v>25.728670844</c:v>
                </c:pt>
                <c:pt idx="563">
                  <c:v>26.6052312387</c:v>
                </c:pt>
                <c:pt idx="564">
                  <c:v>26.702626838099999</c:v>
                </c:pt>
                <c:pt idx="565">
                  <c:v>26.864952837099999</c:v>
                </c:pt>
                <c:pt idx="566">
                  <c:v>27.6116524326</c:v>
                </c:pt>
                <c:pt idx="567">
                  <c:v>28.756050725600002</c:v>
                </c:pt>
                <c:pt idx="568">
                  <c:v>30.135821717300001</c:v>
                </c:pt>
                <c:pt idx="569">
                  <c:v>29.583913320600001</c:v>
                </c:pt>
                <c:pt idx="570">
                  <c:v>28.626189926399999</c:v>
                </c:pt>
                <c:pt idx="571">
                  <c:v>27.424977533700002</c:v>
                </c:pt>
                <c:pt idx="572">
                  <c:v>27.140907035400001</c:v>
                </c:pt>
                <c:pt idx="573">
                  <c:v>26.986697336399999</c:v>
                </c:pt>
                <c:pt idx="574">
                  <c:v>26.4997193393</c:v>
                </c:pt>
                <c:pt idx="575">
                  <c:v>24.819645249499999</c:v>
                </c:pt>
                <c:pt idx="576">
                  <c:v>23.6995958563</c:v>
                </c:pt>
                <c:pt idx="577">
                  <c:v>23.204501559299999</c:v>
                </c:pt>
                <c:pt idx="578">
                  <c:v>23.821340355499999</c:v>
                </c:pt>
                <c:pt idx="579">
                  <c:v>24.478760651599998</c:v>
                </c:pt>
                <c:pt idx="580">
                  <c:v>23.172036359500002</c:v>
                </c:pt>
                <c:pt idx="581">
                  <c:v>22.7175235622</c:v>
                </c:pt>
                <c:pt idx="582">
                  <c:v>23.350594958399999</c:v>
                </c:pt>
                <c:pt idx="583">
                  <c:v>23.1476874596</c:v>
                </c:pt>
                <c:pt idx="584">
                  <c:v>22.563313863200001</c:v>
                </c:pt>
                <c:pt idx="585">
                  <c:v>23.334362358500002</c:v>
                </c:pt>
                <c:pt idx="586">
                  <c:v>23.050291860200002</c:v>
                </c:pt>
                <c:pt idx="587">
                  <c:v>23.066524460099998</c:v>
                </c:pt>
                <c:pt idx="588">
                  <c:v>22.1250336658</c:v>
                </c:pt>
                <c:pt idx="589">
                  <c:v>21.183542871499998</c:v>
                </c:pt>
                <c:pt idx="590">
                  <c:v>20.1690053777</c:v>
                </c:pt>
                <c:pt idx="591">
                  <c:v>19.1625841838</c:v>
                </c:pt>
                <c:pt idx="592">
                  <c:v>14.4810201372</c:v>
                </c:pt>
                <c:pt idx="593">
                  <c:v>13.913495959900001</c:v>
                </c:pt>
                <c:pt idx="594">
                  <c:v>13.2849476775</c:v>
                </c:pt>
                <c:pt idx="595">
                  <c:v>12.6686042161</c:v>
                </c:pt>
                <c:pt idx="596">
                  <c:v>12.9920319731</c:v>
                </c:pt>
                <c:pt idx="597">
                  <c:v>13.181206698800001</c:v>
                </c:pt>
                <c:pt idx="598">
                  <c:v>12.5038391324</c:v>
                </c:pt>
                <c:pt idx="599">
                  <c:v>12.741833142200001</c:v>
                </c:pt>
                <c:pt idx="600">
                  <c:v>13.364279014099999</c:v>
                </c:pt>
                <c:pt idx="601">
                  <c:v>12.699116268599999</c:v>
                </c:pt>
                <c:pt idx="602">
                  <c:v>12.0644655757</c:v>
                </c:pt>
                <c:pt idx="603">
                  <c:v>11.808164334400001</c:v>
                </c:pt>
                <c:pt idx="604">
                  <c:v>11.899700491999999</c:v>
                </c:pt>
                <c:pt idx="605">
                  <c:v>12.4000981537</c:v>
                </c:pt>
                <c:pt idx="606">
                  <c:v>12.741833142200001</c:v>
                </c:pt>
                <c:pt idx="607">
                  <c:v>13.3764838351</c:v>
                </c:pt>
                <c:pt idx="608">
                  <c:v>14.0355441701</c:v>
                </c:pt>
                <c:pt idx="609">
                  <c:v>14.6335803999</c:v>
                </c:pt>
                <c:pt idx="610">
                  <c:v>15.359767250499999</c:v>
                </c:pt>
                <c:pt idx="611">
                  <c:v>15.866267322700001</c:v>
                </c:pt>
                <c:pt idx="612">
                  <c:v>16.867062646099999</c:v>
                </c:pt>
                <c:pt idx="613">
                  <c:v>16.311743289799999</c:v>
                </c:pt>
                <c:pt idx="614">
                  <c:v>15.805243217599999</c:v>
                </c:pt>
                <c:pt idx="615">
                  <c:v>16.708399972900001</c:v>
                </c:pt>
                <c:pt idx="616">
                  <c:v>16.873165056600001</c:v>
                </c:pt>
                <c:pt idx="617">
                  <c:v>19.498826477600002</c:v>
                </c:pt>
                <c:pt idx="618">
                  <c:v>19.402535976399999</c:v>
                </c:pt>
                <c:pt idx="619">
                  <c:v>19.655298541899999</c:v>
                </c:pt>
                <c:pt idx="620">
                  <c:v>19.053482909900001</c:v>
                </c:pt>
                <c:pt idx="621">
                  <c:v>18.307231526199999</c:v>
                </c:pt>
                <c:pt idx="622">
                  <c:v>17.573016455099999</c:v>
                </c:pt>
                <c:pt idx="623">
                  <c:v>18.4516672779</c:v>
                </c:pt>
                <c:pt idx="624">
                  <c:v>18.9090471582</c:v>
                </c:pt>
                <c:pt idx="625">
                  <c:v>19.161809723600001</c:v>
                </c:pt>
                <c:pt idx="626">
                  <c:v>19.137737098399999</c:v>
                </c:pt>
                <c:pt idx="627">
                  <c:v>18.981265034</c:v>
                </c:pt>
                <c:pt idx="628">
                  <c:v>18.656284592700001</c:v>
                </c:pt>
                <c:pt idx="629">
                  <c:v>17.825779020500001</c:v>
                </c:pt>
                <c:pt idx="630">
                  <c:v>17.946142147</c:v>
                </c:pt>
                <c:pt idx="631">
                  <c:v>18.090577898599999</c:v>
                </c:pt>
                <c:pt idx="632">
                  <c:v>17.645234330899999</c:v>
                </c:pt>
                <c:pt idx="633">
                  <c:v>16.8749103219</c:v>
                </c:pt>
                <c:pt idx="634">
                  <c:v>16.236985751999999</c:v>
                </c:pt>
                <c:pt idx="635">
                  <c:v>16.489748317499998</c:v>
                </c:pt>
                <c:pt idx="636">
                  <c:v>17.038607335799998</c:v>
                </c:pt>
                <c:pt idx="637">
                  <c:v>16.479760885299999</c:v>
                </c:pt>
                <c:pt idx="638">
                  <c:v>15.896076814700001</c:v>
                </c:pt>
                <c:pt idx="639">
                  <c:v>15.188204644100001</c:v>
                </c:pt>
                <c:pt idx="640">
                  <c:v>15.5110937044</c:v>
                </c:pt>
                <c:pt idx="641">
                  <c:v>14.691452243600001</c:v>
                </c:pt>
                <c:pt idx="642">
                  <c:v>14.1450246031</c:v>
                </c:pt>
                <c:pt idx="643">
                  <c:v>13.4992464825</c:v>
                </c:pt>
                <c:pt idx="644">
                  <c:v>12.927981222</c:v>
                </c:pt>
                <c:pt idx="645">
                  <c:v>12.2822031014</c:v>
                </c:pt>
                <c:pt idx="646">
                  <c:v>9.8480140393000006</c:v>
                </c:pt>
                <c:pt idx="647">
                  <c:v>9.9532892136999997</c:v>
                </c:pt>
                <c:pt idx="648">
                  <c:v>10.422242263199999</c:v>
                </c:pt>
                <c:pt idx="649">
                  <c:v>10.9390476647</c:v>
                </c:pt>
                <c:pt idx="650">
                  <c:v>10.862483901499999</c:v>
                </c:pt>
                <c:pt idx="651">
                  <c:v>10.202121444099999</c:v>
                </c:pt>
                <c:pt idx="652">
                  <c:v>10.5083764968</c:v>
                </c:pt>
                <c:pt idx="653">
                  <c:v>10.8242020199</c:v>
                </c:pt>
                <c:pt idx="654">
                  <c:v>10.460524144800001</c:v>
                </c:pt>
                <c:pt idx="655">
                  <c:v>10.202121444099999</c:v>
                </c:pt>
                <c:pt idx="656">
                  <c:v>9.9245778025</c:v>
                </c:pt>
                <c:pt idx="657">
                  <c:v>9.3790609898999993</c:v>
                </c:pt>
                <c:pt idx="658">
                  <c:v>9.0440945259000003</c:v>
                </c:pt>
                <c:pt idx="659">
                  <c:v>9.5130475753999999</c:v>
                </c:pt>
                <c:pt idx="660">
                  <c:v>9.9724301544999996</c:v>
                </c:pt>
                <c:pt idx="661">
                  <c:v>10.450953674399999</c:v>
                </c:pt>
                <c:pt idx="662">
                  <c:v>11.0251818983</c:v>
                </c:pt>
                <c:pt idx="663">
                  <c:v>11.675973885299999</c:v>
                </c:pt>
                <c:pt idx="664">
                  <c:v>11.886524234099999</c:v>
                </c:pt>
                <c:pt idx="665">
                  <c:v>11.695114826099999</c:v>
                </c:pt>
                <c:pt idx="666">
                  <c:v>11.5802691813</c:v>
                </c:pt>
                <c:pt idx="667">
                  <c:v>12.2980544612</c:v>
                </c:pt>
                <c:pt idx="668">
                  <c:v>11.9917994085</c:v>
                </c:pt>
                <c:pt idx="669">
                  <c:v>12.0205108196</c:v>
                </c:pt>
                <c:pt idx="670">
                  <c:v>12.8531417443</c:v>
                </c:pt>
                <c:pt idx="671">
                  <c:v>12.412900106</c:v>
                </c:pt>
                <c:pt idx="672">
                  <c:v>12.412900106</c:v>
                </c:pt>
                <c:pt idx="673">
                  <c:v>12.173638346000001</c:v>
                </c:pt>
                <c:pt idx="674">
                  <c:v>12.164067875600001</c:v>
                </c:pt>
                <c:pt idx="675">
                  <c:v>11.8769537637</c:v>
                </c:pt>
                <c:pt idx="676">
                  <c:v>11.7812490597</c:v>
                </c:pt>
                <c:pt idx="677">
                  <c:v>11.5611282406</c:v>
                </c:pt>
                <c:pt idx="678">
                  <c:v>11.5611282406</c:v>
                </c:pt>
                <c:pt idx="679">
                  <c:v>11.963087997300001</c:v>
                </c:pt>
                <c:pt idx="680">
                  <c:v>11.6472624741</c:v>
                </c:pt>
                <c:pt idx="681">
                  <c:v>11.723826237300001</c:v>
                </c:pt>
                <c:pt idx="682">
                  <c:v>12.0013698789</c:v>
                </c:pt>
                <c:pt idx="683">
                  <c:v>11.896094704499999</c:v>
                </c:pt>
                <c:pt idx="684">
                  <c:v>12.03008129</c:v>
                </c:pt>
                <c:pt idx="685">
                  <c:v>12.786148451500001</c:v>
                </c:pt>
                <c:pt idx="686">
                  <c:v>12.9105645666</c:v>
                </c:pt>
                <c:pt idx="687">
                  <c:v>12.776577981100001</c:v>
                </c:pt>
                <c:pt idx="688">
                  <c:v>12.604309513900001</c:v>
                </c:pt>
                <c:pt idx="689">
                  <c:v>12.4511819875</c:v>
                </c:pt>
                <c:pt idx="690">
                  <c:v>12.2310611684</c:v>
                </c:pt>
                <c:pt idx="691">
                  <c:v>12.0205108196</c:v>
                </c:pt>
                <c:pt idx="692">
                  <c:v>11.7812490597</c:v>
                </c:pt>
                <c:pt idx="693">
                  <c:v>11.8291014117</c:v>
                </c:pt>
                <c:pt idx="694">
                  <c:v>11.513275888600001</c:v>
                </c:pt>
                <c:pt idx="695">
                  <c:v>11.3888597734</c:v>
                </c:pt>
                <c:pt idx="696">
                  <c:v>11.1783094246</c:v>
                </c:pt>
                <c:pt idx="697">
                  <c:v>11.0156114279</c:v>
                </c:pt>
                <c:pt idx="698">
                  <c:v>10.900765783100001</c:v>
                </c:pt>
                <c:pt idx="699">
                  <c:v>11.235732247</c:v>
                </c:pt>
                <c:pt idx="700">
                  <c:v>11.0060409575</c:v>
                </c:pt>
                <c:pt idx="701">
                  <c:v>10.881624842300001</c:v>
                </c:pt>
                <c:pt idx="702">
                  <c:v>10.680644964000001</c:v>
                </c:pt>
                <c:pt idx="703">
                  <c:v>10.872054371899999</c:v>
                </c:pt>
                <c:pt idx="704">
                  <c:v>10.661504023199999</c:v>
                </c:pt>
                <c:pt idx="705">
                  <c:v>10.5275174376</c:v>
                </c:pt>
                <c:pt idx="706">
                  <c:v>10.690215434400001</c:v>
                </c:pt>
                <c:pt idx="707">
                  <c:v>10.4988060264</c:v>
                </c:pt>
                <c:pt idx="708">
                  <c:v>11.111316131900001</c:v>
                </c:pt>
                <c:pt idx="709">
                  <c:v>11.5898396517</c:v>
                </c:pt>
                <c:pt idx="710">
                  <c:v>11.6089805925</c:v>
                </c:pt>
                <c:pt idx="711">
                  <c:v>11.341007421400001</c:v>
                </c:pt>
                <c:pt idx="712">
                  <c:v>11.073034250299999</c:v>
                </c:pt>
                <c:pt idx="713">
                  <c:v>10.7476382567</c:v>
                </c:pt>
                <c:pt idx="714">
                  <c:v>11.3888597734</c:v>
                </c:pt>
                <c:pt idx="715">
                  <c:v>11.484564477399999</c:v>
                </c:pt>
                <c:pt idx="716">
                  <c:v>11.312296010200001</c:v>
                </c:pt>
                <c:pt idx="717">
                  <c:v>12.0205108196</c:v>
                </c:pt>
                <c:pt idx="718">
                  <c:v>12.527745750699999</c:v>
                </c:pt>
                <c:pt idx="719">
                  <c:v>12.393759165200001</c:v>
                </c:pt>
                <c:pt idx="720">
                  <c:v>12.537316221099999</c:v>
                </c:pt>
                <c:pt idx="721">
                  <c:v>12.317195401999999</c:v>
                </c:pt>
                <c:pt idx="722">
                  <c:v>12.135356464399999</c:v>
                </c:pt>
                <c:pt idx="723">
                  <c:v>12.4224705764</c:v>
                </c:pt>
                <c:pt idx="724">
                  <c:v>11.8003900005</c:v>
                </c:pt>
                <c:pt idx="725">
                  <c:v>11.331436951000001</c:v>
                </c:pt>
                <c:pt idx="726">
                  <c:v>10.8050610791</c:v>
                </c:pt>
                <c:pt idx="727">
                  <c:v>10.9581886055</c:v>
                </c:pt>
                <c:pt idx="728">
                  <c:v>11.235732247</c:v>
                </c:pt>
                <c:pt idx="729">
                  <c:v>11.3601483622</c:v>
                </c:pt>
                <c:pt idx="730">
                  <c:v>11.886524234099999</c:v>
                </c:pt>
                <c:pt idx="731">
                  <c:v>11.943947056500001</c:v>
                </c:pt>
                <c:pt idx="732">
                  <c:v>11.762108118900001</c:v>
                </c:pt>
                <c:pt idx="733">
                  <c:v>11.723826237300001</c:v>
                </c:pt>
                <c:pt idx="734">
                  <c:v>11.943947056500001</c:v>
                </c:pt>
                <c:pt idx="735">
                  <c:v>11.886524234099999</c:v>
                </c:pt>
                <c:pt idx="736">
                  <c:v>11.6664034149</c:v>
                </c:pt>
                <c:pt idx="737">
                  <c:v>11.5898396517</c:v>
                </c:pt>
                <c:pt idx="738">
                  <c:v>11.484564477399999</c:v>
                </c:pt>
                <c:pt idx="739">
                  <c:v>11.5611282406</c:v>
                </c:pt>
                <c:pt idx="740">
                  <c:v>11.733396707700001</c:v>
                </c:pt>
                <c:pt idx="741">
                  <c:v>11.494134947799999</c:v>
                </c:pt>
                <c:pt idx="742">
                  <c:v>8.9215067471000005</c:v>
                </c:pt>
                <c:pt idx="743">
                  <c:v>8.8841782669999994</c:v>
                </c:pt>
                <c:pt idx="744">
                  <c:v>8.6228789062000004</c:v>
                </c:pt>
                <c:pt idx="745">
                  <c:v>8.5855504260999993</c:v>
                </c:pt>
                <c:pt idx="746">
                  <c:v>8.9886980113000003</c:v>
                </c:pt>
                <c:pt idx="747">
                  <c:v>9.2723944600999992</c:v>
                </c:pt>
                <c:pt idx="748">
                  <c:v>9.0782863636000002</c:v>
                </c:pt>
                <c:pt idx="749">
                  <c:v>9.0558892755000002</c:v>
                </c:pt>
                <c:pt idx="750">
                  <c:v>9.0932177555999996</c:v>
                </c:pt>
                <c:pt idx="751">
                  <c:v>9.1380119316999995</c:v>
                </c:pt>
                <c:pt idx="752">
                  <c:v>9.1454776278000001</c:v>
                </c:pt>
                <c:pt idx="753">
                  <c:v>8.8543154829000006</c:v>
                </c:pt>
                <c:pt idx="754">
                  <c:v>9.0036294032999997</c:v>
                </c:pt>
                <c:pt idx="755">
                  <c:v>9.1454776278000001</c:v>
                </c:pt>
                <c:pt idx="756">
                  <c:v>9.5710223009999993</c:v>
                </c:pt>
                <c:pt idx="757">
                  <c:v>9.5784879970999999</c:v>
                </c:pt>
                <c:pt idx="758">
                  <c:v>9.7290325450000008</c:v>
                </c:pt>
                <c:pt idx="759">
                  <c:v>9.9747539667999998</c:v>
                </c:pt>
                <c:pt idx="760">
                  <c:v>9.8749296391999994</c:v>
                </c:pt>
                <c:pt idx="761">
                  <c:v>9.7367113393999993</c:v>
                </c:pt>
                <c:pt idx="762">
                  <c:v>9.7443901338999996</c:v>
                </c:pt>
                <c:pt idx="763">
                  <c:v>9.7059961616999999</c:v>
                </c:pt>
                <c:pt idx="764">
                  <c:v>9.6983173672999996</c:v>
                </c:pt>
                <c:pt idx="765">
                  <c:v>7.7895010913</c:v>
                </c:pt>
                <c:pt idx="766">
                  <c:v>8.1140636367999992</c:v>
                </c:pt>
                <c:pt idx="767">
                  <c:v>8.4823172941999996</c:v>
                </c:pt>
                <c:pt idx="768">
                  <c:v>8.3762103081999992</c:v>
                </c:pt>
                <c:pt idx="769">
                  <c:v>8.3075528466000002</c:v>
                </c:pt>
                <c:pt idx="770">
                  <c:v>8.4635925318999998</c:v>
                </c:pt>
                <c:pt idx="771">
                  <c:v>8.8318461893000002</c:v>
                </c:pt>
                <c:pt idx="772">
                  <c:v>8.6445985668999992</c:v>
                </c:pt>
                <c:pt idx="773">
                  <c:v>8.6758065040000005</c:v>
                </c:pt>
                <c:pt idx="774">
                  <c:v>8.6758065040000005</c:v>
                </c:pt>
                <c:pt idx="775">
                  <c:v>8.8380877767000001</c:v>
                </c:pt>
                <c:pt idx="776">
                  <c:v>9.1002344481000002</c:v>
                </c:pt>
                <c:pt idx="777">
                  <c:v>8.9691611124000001</c:v>
                </c:pt>
                <c:pt idx="778">
                  <c:v>9.0066106368999996</c:v>
                </c:pt>
                <c:pt idx="779">
                  <c:v>8.9816442872</c:v>
                </c:pt>
                <c:pt idx="780">
                  <c:v>8.8505709514999999</c:v>
                </c:pt>
                <c:pt idx="781">
                  <c:v>8.9878858745999999</c:v>
                </c:pt>
                <c:pt idx="782">
                  <c:v>9.0128522242999995</c:v>
                </c:pt>
                <c:pt idx="783">
                  <c:v>9.0815096858000004</c:v>
                </c:pt>
                <c:pt idx="784">
                  <c:v>8.8755373011999996</c:v>
                </c:pt>
                <c:pt idx="785">
                  <c:v>8.6820480914000004</c:v>
                </c:pt>
                <c:pt idx="786">
                  <c:v>8.6570817417000008</c:v>
                </c:pt>
                <c:pt idx="787">
                  <c:v>8.7194976158999999</c:v>
                </c:pt>
                <c:pt idx="788">
                  <c:v>8.6508401543000009</c:v>
                </c:pt>
                <c:pt idx="789">
                  <c:v>8.6445985668999992</c:v>
                </c:pt>
                <c:pt idx="790">
                  <c:v>8.4573509444999999</c:v>
                </c:pt>
                <c:pt idx="791">
                  <c:v>8.4511093571</c:v>
                </c:pt>
                <c:pt idx="792">
                  <c:v>8.5322499935000007</c:v>
                </c:pt>
                <c:pt idx="793">
                  <c:v>8.6133906298999996</c:v>
                </c:pt>
                <c:pt idx="794">
                  <c:v>8.3637271332999994</c:v>
                </c:pt>
                <c:pt idx="795">
                  <c:v>8.1827210984000001</c:v>
                </c:pt>
                <c:pt idx="796">
                  <c:v>8.2763449096000006</c:v>
                </c:pt>
                <c:pt idx="797">
                  <c:v>8.1515131613000005</c:v>
                </c:pt>
                <c:pt idx="798">
                  <c:v>7.7832595039000001</c:v>
                </c:pt>
                <c:pt idx="799">
                  <c:v>7.5523207696999997</c:v>
                </c:pt>
                <c:pt idx="800">
                  <c:v>7.7395683919999998</c:v>
                </c:pt>
                <c:pt idx="801">
                  <c:v>7.52735442</c:v>
                </c:pt>
                <c:pt idx="802">
                  <c:v>7.7333268045999999</c:v>
                </c:pt>
                <c:pt idx="803">
                  <c:v>7.8956080774000004</c:v>
                </c:pt>
                <c:pt idx="804">
                  <c:v>8.1203052241999991</c:v>
                </c:pt>
                <c:pt idx="805">
                  <c:v>8.1140636367999992</c:v>
                </c:pt>
                <c:pt idx="806">
                  <c:v>8.1577547487000004</c:v>
                </c:pt>
                <c:pt idx="807">
                  <c:v>8.2201706227999995</c:v>
                </c:pt>
                <c:pt idx="808">
                  <c:v>8.1764795110000001</c:v>
                </c:pt>
                <c:pt idx="809">
                  <c:v>8.1203052241999991</c:v>
                </c:pt>
                <c:pt idx="810">
                  <c:v>8.1140636367999992</c:v>
                </c:pt>
                <c:pt idx="811">
                  <c:v>8.0141982382000005</c:v>
                </c:pt>
                <c:pt idx="812">
                  <c:v>8.0329230005000003</c:v>
                </c:pt>
                <c:pt idx="813">
                  <c:v>7.9892318886</c:v>
                </c:pt>
                <c:pt idx="814">
                  <c:v>7.7395683919999998</c:v>
                </c:pt>
                <c:pt idx="815">
                  <c:v>7.7395683919999998</c:v>
                </c:pt>
                <c:pt idx="816">
                  <c:v>8.0391645879000002</c:v>
                </c:pt>
                <c:pt idx="817">
                  <c:v>8.3137944340000001</c:v>
                </c:pt>
                <c:pt idx="818">
                  <c:v>8.5572163431000003</c:v>
                </c:pt>
                <c:pt idx="819">
                  <c:v>8.5509747557000004</c:v>
                </c:pt>
                <c:pt idx="820">
                  <c:v>6.54239967</c:v>
                </c:pt>
                <c:pt idx="821">
                  <c:v>6.4549733937999996</c:v>
                </c:pt>
                <c:pt idx="822">
                  <c:v>6.3141199488000002</c:v>
                </c:pt>
                <c:pt idx="823">
                  <c:v>6.3869751790000002</c:v>
                </c:pt>
                <c:pt idx="824">
                  <c:v>6.4598304091000003</c:v>
                </c:pt>
                <c:pt idx="825">
                  <c:v>6.3578330869000004</c:v>
                </c:pt>
                <c:pt idx="826">
                  <c:v>6.1684094884</c:v>
                </c:pt>
                <c:pt idx="827">
                  <c:v>6.3675471176</c:v>
                </c:pt>
                <c:pt idx="828">
                  <c:v>6.4598304091000003</c:v>
                </c:pt>
                <c:pt idx="829">
                  <c:v>6.6249689308999997</c:v>
                </c:pt>
                <c:pt idx="830">
                  <c:v>6.6686820689999999</c:v>
                </c:pt>
                <c:pt idx="831">
                  <c:v>6.4646874245000001</c:v>
                </c:pt>
                <c:pt idx="832">
                  <c:v>6.6395399769000001</c:v>
                </c:pt>
                <c:pt idx="833">
                  <c:v>6.6346829616000003</c:v>
                </c:pt>
                <c:pt idx="834">
                  <c:v>6.7512513298999997</c:v>
                </c:pt>
                <c:pt idx="835">
                  <c:v>6.6541110229999996</c:v>
                </c:pt>
                <c:pt idx="836">
                  <c:v>6.6298259462000004</c:v>
                </c:pt>
                <c:pt idx="837">
                  <c:v>6.4306883171000004</c:v>
                </c:pt>
                <c:pt idx="838">
                  <c:v>6.4258313016999997</c:v>
                </c:pt>
                <c:pt idx="839">
                  <c:v>6.3869751790000002</c:v>
                </c:pt>
                <c:pt idx="840">
                  <c:v>6.4258313016999997</c:v>
                </c:pt>
                <c:pt idx="841">
                  <c:v>6.3141199488000002</c:v>
                </c:pt>
                <c:pt idx="842">
                  <c:v>6.3238339794999998</c:v>
                </c:pt>
                <c:pt idx="843">
                  <c:v>6.4501163784999997</c:v>
                </c:pt>
                <c:pt idx="844">
                  <c:v>6.3724041328999999</c:v>
                </c:pt>
                <c:pt idx="845">
                  <c:v>6.2558357645999996</c:v>
                </c:pt>
                <c:pt idx="846">
                  <c:v>5.9547008131999997</c:v>
                </c:pt>
                <c:pt idx="847">
                  <c:v>6.0712691814999999</c:v>
                </c:pt>
                <c:pt idx="848">
                  <c:v>6.0615551508000003</c:v>
                </c:pt>
                <c:pt idx="849">
                  <c:v>6.1586954577000004</c:v>
                </c:pt>
                <c:pt idx="850">
                  <c:v>5.9741288745999999</c:v>
                </c:pt>
                <c:pt idx="851">
                  <c:v>6.119839335</c:v>
                </c:pt>
                <c:pt idx="852">
                  <c:v>6.3335480102000004</c:v>
                </c:pt>
                <c:pt idx="853">
                  <c:v>6.5666847467</c:v>
                </c:pt>
                <c:pt idx="854">
                  <c:v>6.8289635754000004</c:v>
                </c:pt>
                <c:pt idx="855">
                  <c:v>6.9552459744000004</c:v>
                </c:pt>
                <c:pt idx="856">
                  <c:v>7.0523862812999996</c:v>
                </c:pt>
                <c:pt idx="857">
                  <c:v>7.1592406189000002</c:v>
                </c:pt>
                <c:pt idx="858">
                  <c:v>7.0815283733000003</c:v>
                </c:pt>
                <c:pt idx="859">
                  <c:v>7.0329582199000003</c:v>
                </c:pt>
                <c:pt idx="860">
                  <c:v>7.0523862812999996</c:v>
                </c:pt>
                <c:pt idx="861">
                  <c:v>7.0912424039999999</c:v>
                </c:pt>
                <c:pt idx="862">
                  <c:v>7.0523862812999996</c:v>
                </c:pt>
                <c:pt idx="863">
                  <c:v>7.0329582199000003</c:v>
                </c:pt>
                <c:pt idx="864">
                  <c:v>7.0426722505999999</c:v>
                </c:pt>
                <c:pt idx="865">
                  <c:v>6.9455319436999998</c:v>
                </c:pt>
                <c:pt idx="866">
                  <c:v>6.9261038822999996</c:v>
                </c:pt>
                <c:pt idx="867">
                  <c:v>6.8483916367999997</c:v>
                </c:pt>
                <c:pt idx="868">
                  <c:v>6.9066758209000003</c:v>
                </c:pt>
                <c:pt idx="869">
                  <c:v>6.8872477595000001</c:v>
                </c:pt>
                <c:pt idx="870">
                  <c:v>6.8775337287999996</c:v>
                </c:pt>
                <c:pt idx="871">
                  <c:v>6.7803934219000004</c:v>
                </c:pt>
                <c:pt idx="872">
                  <c:v>6.5958268387999999</c:v>
                </c:pt>
                <c:pt idx="873">
                  <c:v>5.7980496134999999</c:v>
                </c:pt>
                <c:pt idx="874">
                  <c:v>5.8066520610000003</c:v>
                </c:pt>
                <c:pt idx="875">
                  <c:v>5.5829884261</c:v>
                </c:pt>
                <c:pt idx="876">
                  <c:v>5.4109394761000003</c:v>
                </c:pt>
                <c:pt idx="877">
                  <c:v>5.4969639510999997</c:v>
                </c:pt>
                <c:pt idx="878">
                  <c:v>5.6776153485999998</c:v>
                </c:pt>
                <c:pt idx="879">
                  <c:v>5.9184838785</c:v>
                </c:pt>
                <c:pt idx="880">
                  <c:v>6.0733279334999999</c:v>
                </c:pt>
                <c:pt idx="881">
                  <c:v>6.0819303810000003</c:v>
                </c:pt>
                <c:pt idx="882">
                  <c:v>6.0905328284999998</c:v>
                </c:pt>
                <c:pt idx="883">
                  <c:v>6.116340171</c:v>
                </c:pt>
                <c:pt idx="884">
                  <c:v>6.1421475134000003</c:v>
                </c:pt>
                <c:pt idx="885">
                  <c:v>6.0217132485000002</c:v>
                </c:pt>
                <c:pt idx="886">
                  <c:v>5.9873034584999996</c:v>
                </c:pt>
                <c:pt idx="887">
                  <c:v>5.8840740885000002</c:v>
                </c:pt>
                <c:pt idx="888">
                  <c:v>6.0303156959999997</c:v>
                </c:pt>
                <c:pt idx="889">
                  <c:v>5.9873034584999996</c:v>
                </c:pt>
                <c:pt idx="890">
                  <c:v>5.9442912210000003</c:v>
                </c:pt>
                <c:pt idx="891">
                  <c:v>6.0389181435000001</c:v>
                </c:pt>
                <c:pt idx="892">
                  <c:v>6.0389181435000001</c:v>
                </c:pt>
                <c:pt idx="893">
                  <c:v>6.0389181435000001</c:v>
                </c:pt>
                <c:pt idx="894">
                  <c:v>6.0475205909999996</c:v>
                </c:pt>
                <c:pt idx="895">
                  <c:v>5.995905906</c:v>
                </c:pt>
                <c:pt idx="896">
                  <c:v>6.1077377234999997</c:v>
                </c:pt>
                <c:pt idx="897">
                  <c:v>6.0647254860000004</c:v>
                </c:pt>
                <c:pt idx="898">
                  <c:v>5.8754716409999999</c:v>
                </c:pt>
                <c:pt idx="899">
                  <c:v>5.8066520610000003</c:v>
                </c:pt>
                <c:pt idx="900">
                  <c:v>5.7722422709999996</c:v>
                </c:pt>
                <c:pt idx="901">
                  <c:v>5.7292300335000004</c:v>
                </c:pt>
                <c:pt idx="902">
                  <c:v>6.0389181435000001</c:v>
                </c:pt>
                <c:pt idx="903">
                  <c:v>6.1421475134000003</c:v>
                </c:pt>
                <c:pt idx="904">
                  <c:v>6.1335450658999999</c:v>
                </c:pt>
                <c:pt idx="905">
                  <c:v>6.1937621984</c:v>
                </c:pt>
                <c:pt idx="906">
                  <c:v>6.1335450658999999</c:v>
                </c:pt>
                <c:pt idx="907">
                  <c:v>5.9528936684999998</c:v>
                </c:pt>
                <c:pt idx="908">
                  <c:v>5.9700985634999997</c:v>
                </c:pt>
                <c:pt idx="909">
                  <c:v>5.9873034584999996</c:v>
                </c:pt>
                <c:pt idx="910">
                  <c:v>6.0475205909999996</c:v>
                </c:pt>
                <c:pt idx="911">
                  <c:v>6.1249426184000004</c:v>
                </c:pt>
                <c:pt idx="912">
                  <c:v>6.3658111483999997</c:v>
                </c:pt>
                <c:pt idx="913">
                  <c:v>6.5378600983000004</c:v>
                </c:pt>
                <c:pt idx="914">
                  <c:v>6.4862454133999998</c:v>
                </c:pt>
                <c:pt idx="915">
                  <c:v>6.4862454133999998</c:v>
                </c:pt>
                <c:pt idx="916">
                  <c:v>6.3227989108999996</c:v>
                </c:pt>
                <c:pt idx="917">
                  <c:v>6.7443188382999999</c:v>
                </c:pt>
                <c:pt idx="918">
                  <c:v>6.7357163908000004</c:v>
                </c:pt>
                <c:pt idx="919">
                  <c:v>6.7099090483000001</c:v>
                </c:pt>
                <c:pt idx="920">
                  <c:v>6.5034503083999997</c:v>
                </c:pt>
                <c:pt idx="921">
                  <c:v>6.6066796782999999</c:v>
                </c:pt>
                <c:pt idx="922">
                  <c:v>6.5034503083999997</c:v>
                </c:pt>
                <c:pt idx="923">
                  <c:v>6.5980772308000004</c:v>
                </c:pt>
                <c:pt idx="924">
                  <c:v>6.2281719883999997</c:v>
                </c:pt>
                <c:pt idx="925">
                  <c:v>6.3830160433999996</c:v>
                </c:pt>
                <c:pt idx="926">
                  <c:v>6.4346307284000002</c:v>
                </c:pt>
                <c:pt idx="927">
                  <c:v>6.4346307284000002</c:v>
                </c:pt>
                <c:pt idx="928">
                  <c:v>6.4604380709000004</c:v>
                </c:pt>
                <c:pt idx="929">
                  <c:v>6.5120527559000001</c:v>
                </c:pt>
                <c:pt idx="930">
                  <c:v>6.5292576508</c:v>
                </c:pt>
                <c:pt idx="931">
                  <c:v>6.5034503083999997</c:v>
                </c:pt>
                <c:pt idx="932">
                  <c:v>6.5464625457999999</c:v>
                </c:pt>
                <c:pt idx="933">
                  <c:v>6.5206552032999996</c:v>
                </c:pt>
                <c:pt idx="934">
                  <c:v>6.5292576508</c:v>
                </c:pt>
                <c:pt idx="935">
                  <c:v>6.4862454133999998</c:v>
                </c:pt>
                <c:pt idx="936">
                  <c:v>6.4518356234000001</c:v>
                </c:pt>
                <c:pt idx="937">
                  <c:v>6.5292576508</c:v>
                </c:pt>
                <c:pt idx="938">
                  <c:v>6.4432331758999997</c:v>
                </c:pt>
                <c:pt idx="939">
                  <c:v>6.4518356234000001</c:v>
                </c:pt>
                <c:pt idx="940">
                  <c:v>6.3658111483999997</c:v>
                </c:pt>
                <c:pt idx="941">
                  <c:v>6.2883891208999998</c:v>
                </c:pt>
                <c:pt idx="942">
                  <c:v>6.3227989108999996</c:v>
                </c:pt>
                <c:pt idx="943">
                  <c:v>6.3400038059000003</c:v>
                </c:pt>
                <c:pt idx="944">
                  <c:v>6.3227989108999996</c:v>
                </c:pt>
                <c:pt idx="945">
                  <c:v>6.4432331758999997</c:v>
                </c:pt>
                <c:pt idx="946">
                  <c:v>6.5120527559000001</c:v>
                </c:pt>
                <c:pt idx="947">
                  <c:v>6.5550649933000003</c:v>
                </c:pt>
                <c:pt idx="948">
                  <c:v>6.4862454133999998</c:v>
                </c:pt>
                <c:pt idx="949">
                  <c:v>6.4948478609000002</c:v>
                </c:pt>
                <c:pt idx="950">
                  <c:v>6.4432331758999997</c:v>
                </c:pt>
                <c:pt idx="951">
                  <c:v>6.4174258334000003</c:v>
                </c:pt>
                <c:pt idx="952">
                  <c:v>6.3744135959000001</c:v>
                </c:pt>
                <c:pt idx="953">
                  <c:v>6.3658111483999997</c:v>
                </c:pt>
                <c:pt idx="954">
                  <c:v>6.3486062533999998</c:v>
                </c:pt>
                <c:pt idx="955">
                  <c:v>6.3055940158999997</c:v>
                </c:pt>
                <c:pt idx="956">
                  <c:v>6.3916184909</c:v>
                </c:pt>
                <c:pt idx="957">
                  <c:v>6.3744135959000001</c:v>
                </c:pt>
                <c:pt idx="958">
                  <c:v>6.2367744359000001</c:v>
                </c:pt>
                <c:pt idx="959">
                  <c:v>6.3055940158999997</c:v>
                </c:pt>
                <c:pt idx="960">
                  <c:v>6.4088233858999999</c:v>
                </c:pt>
                <c:pt idx="961">
                  <c:v>6.3830160433999996</c:v>
                </c:pt>
                <c:pt idx="962">
                  <c:v>6.4862454133999998</c:v>
                </c:pt>
                <c:pt idx="963">
                  <c:v>6.6410894682999997</c:v>
                </c:pt>
                <c:pt idx="964">
                  <c:v>6.5894747833</c:v>
                </c:pt>
                <c:pt idx="965">
                  <c:v>6.4604380709000004</c:v>
                </c:pt>
                <c:pt idx="966">
                  <c:v>5.9920287083000003</c:v>
                </c:pt>
                <c:pt idx="967">
                  <c:v>5.9361031071000001</c:v>
                </c:pt>
                <c:pt idx="968">
                  <c:v>5.8801775057999999</c:v>
                </c:pt>
                <c:pt idx="969">
                  <c:v>5.8242519044999996</c:v>
                </c:pt>
                <c:pt idx="970">
                  <c:v>5.7363688167999998</c:v>
                </c:pt>
                <c:pt idx="971">
                  <c:v>5.5446238981000002</c:v>
                </c:pt>
                <c:pt idx="972">
                  <c:v>5.3608683510999997</c:v>
                </c:pt>
                <c:pt idx="973">
                  <c:v>5.3848364659000003</c:v>
                </c:pt>
                <c:pt idx="974">
                  <c:v>5.3848364659000003</c:v>
                </c:pt>
                <c:pt idx="975">
                  <c:v>5.3928258375000002</c:v>
                </c:pt>
                <c:pt idx="976">
                  <c:v>5.2570065201</c:v>
                </c:pt>
                <c:pt idx="977">
                  <c:v>5.2649958916999999</c:v>
                </c:pt>
                <c:pt idx="978">
                  <c:v>5.3448896077999999</c:v>
                </c:pt>
                <c:pt idx="979">
                  <c:v>5.1291765742999997</c:v>
                </c:pt>
                <c:pt idx="980">
                  <c:v>5.1453851854000003</c:v>
                </c:pt>
                <c:pt idx="981">
                  <c:v>5.0015700714999998</c:v>
                </c:pt>
                <c:pt idx="982">
                  <c:v>4.9536317002999999</c:v>
                </c:pt>
                <c:pt idx="983">
                  <c:v>4.9855906144000004</c:v>
                </c:pt>
                <c:pt idx="984">
                  <c:v>4.8657446862000002</c:v>
                </c:pt>
                <c:pt idx="985">
                  <c:v>4.8817241432999996</c:v>
                </c:pt>
                <c:pt idx="986">
                  <c:v>4.0149314392999997</c:v>
                </c:pt>
                <c:pt idx="987">
                  <c:v>4.0073703630999997</c:v>
                </c:pt>
                <c:pt idx="988">
                  <c:v>4.0754200484999998</c:v>
                </c:pt>
                <c:pt idx="989">
                  <c:v>4.0905422008999999</c:v>
                </c:pt>
                <c:pt idx="990">
                  <c:v>4.0678589723999998</c:v>
                </c:pt>
                <c:pt idx="991">
                  <c:v>4.1283475815999999</c:v>
                </c:pt>
                <c:pt idx="992">
                  <c:v>4.1585918863</c:v>
                </c:pt>
                <c:pt idx="993">
                  <c:v>4.2493248002000001</c:v>
                </c:pt>
                <c:pt idx="994">
                  <c:v>4.2342026478000001</c:v>
                </c:pt>
                <c:pt idx="995">
                  <c:v>4.1963972671000001</c:v>
                </c:pt>
                <c:pt idx="996">
                  <c:v>4.3173744856000003</c:v>
                </c:pt>
                <c:pt idx="997">
                  <c:v>4.2266415717000001</c:v>
                </c:pt>
                <c:pt idx="998">
                  <c:v>4.2190804955000001</c:v>
                </c:pt>
                <c:pt idx="999">
                  <c:v>4.1283475815999999</c:v>
                </c:pt>
                <c:pt idx="1000">
                  <c:v>4.1132254292999999</c:v>
                </c:pt>
                <c:pt idx="1001">
                  <c:v>4.0527368200999998</c:v>
                </c:pt>
                <c:pt idx="1002">
                  <c:v>4.0300535915999998</c:v>
                </c:pt>
                <c:pt idx="1003">
                  <c:v>4.0300535915999998</c:v>
                </c:pt>
                <c:pt idx="1004">
                  <c:v>4.1283475815999999</c:v>
                </c:pt>
                <c:pt idx="1005">
                  <c:v>4.1585918863</c:v>
                </c:pt>
                <c:pt idx="1006">
                  <c:v>4.1207865054999999</c:v>
                </c:pt>
                <c:pt idx="1007">
                  <c:v>4.0829811246999999</c:v>
                </c:pt>
                <c:pt idx="1008">
                  <c:v>4.0451757438999998</c:v>
                </c:pt>
                <c:pt idx="1009">
                  <c:v>4.0451757438999998</c:v>
                </c:pt>
                <c:pt idx="1010">
                  <c:v>3.9620039062000001</c:v>
                </c:pt>
                <c:pt idx="1011">
                  <c:v>3.9544428300000001</c:v>
                </c:pt>
                <c:pt idx="1012">
                  <c:v>3.9544428300000001</c:v>
                </c:pt>
                <c:pt idx="1013">
                  <c:v>3.9241985254</c:v>
                </c:pt>
                <c:pt idx="1014">
                  <c:v>3.9090763731</c:v>
                </c:pt>
                <c:pt idx="1015">
                  <c:v>3.8183434591999998</c:v>
                </c:pt>
                <c:pt idx="1016">
                  <c:v>3.8334656114999999</c:v>
                </c:pt>
                <c:pt idx="1017">
                  <c:v>3.8410266876999999</c:v>
                </c:pt>
                <c:pt idx="1018">
                  <c:v>3.8561488399999999</c:v>
                </c:pt>
                <c:pt idx="1019">
                  <c:v>3.8485877637999999</c:v>
                </c:pt>
                <c:pt idx="1020">
                  <c:v>3.8183434591999998</c:v>
                </c:pt>
                <c:pt idx="1021">
                  <c:v>3.8107823830999998</c:v>
                </c:pt>
                <c:pt idx="1022">
                  <c:v>3.8032213068999998</c:v>
                </c:pt>
                <c:pt idx="1023">
                  <c:v>3.7956602306999998</c:v>
                </c:pt>
                <c:pt idx="1024">
                  <c:v>3.6822440884000001</c:v>
                </c:pt>
                <c:pt idx="1025">
                  <c:v>3.7276105453000001</c:v>
                </c:pt>
                <c:pt idx="1026">
                  <c:v>3.7502937738000002</c:v>
                </c:pt>
                <c:pt idx="1027">
                  <c:v>3.6610730751</c:v>
                </c:pt>
                <c:pt idx="1028">
                  <c:v>3.6905612722000001</c:v>
                </c:pt>
                <c:pt idx="1029">
                  <c:v>3.6746830122</c:v>
                </c:pt>
                <c:pt idx="1030">
                  <c:v>3.6610730751</c:v>
                </c:pt>
                <c:pt idx="1031">
                  <c:v>3.6671219361</c:v>
                </c:pt>
                <c:pt idx="1032">
                  <c:v>3.6603169675</c:v>
                </c:pt>
                <c:pt idx="1033">
                  <c:v>3.6928295950000001</c:v>
                </c:pt>
                <c:pt idx="1034">
                  <c:v>3.7767575403000002</c:v>
                </c:pt>
                <c:pt idx="1035">
                  <c:v>3.7344155139000001</c:v>
                </c:pt>
                <c:pt idx="1036">
                  <c:v>3.7200494692000001</c:v>
                </c:pt>
                <c:pt idx="1037">
                  <c:v>3.6746830122</c:v>
                </c:pt>
                <c:pt idx="1038">
                  <c:v>3.6769513351000001</c:v>
                </c:pt>
                <c:pt idx="1039">
                  <c:v>3.6792196579000001</c:v>
                </c:pt>
                <c:pt idx="1040">
                  <c:v>3.6792196579000001</c:v>
                </c:pt>
                <c:pt idx="1041">
                  <c:v>3.988593651</c:v>
                </c:pt>
                <c:pt idx="1042">
                  <c:v>3.9844783047000001</c:v>
                </c:pt>
                <c:pt idx="1043">
                  <c:v>3.8840638544999999</c:v>
                </c:pt>
                <c:pt idx="1044">
                  <c:v>3.8931176164000001</c:v>
                </c:pt>
                <c:pt idx="1045">
                  <c:v>3.8280951446000002</c:v>
                </c:pt>
                <c:pt idx="1046">
                  <c:v>3.8890022701000002</c:v>
                </c:pt>
                <c:pt idx="1047">
                  <c:v>4.0741928543999997</c:v>
                </c:pt>
                <c:pt idx="1048">
                  <c:v>4.0511469150000003</c:v>
                </c:pt>
                <c:pt idx="1049">
                  <c:v>4.0676083002999999</c:v>
                </c:pt>
                <c:pt idx="1050">
                  <c:v>4.1474460189000002</c:v>
                </c:pt>
                <c:pt idx="1051">
                  <c:v>4.3886053131000002</c:v>
                </c:pt>
                <c:pt idx="1052">
                  <c:v>4.6256492610000004</c:v>
                </c:pt>
                <c:pt idx="1053">
                  <c:v>4.9219541957999997</c:v>
                </c:pt>
                <c:pt idx="1054">
                  <c:v>4.8347088538999996</c:v>
                </c:pt>
                <c:pt idx="1055">
                  <c:v>4.9548769663999996</c:v>
                </c:pt>
                <c:pt idx="1056">
                  <c:v>5.1524135896000001</c:v>
                </c:pt>
                <c:pt idx="1057">
                  <c:v>5.0536452780000003</c:v>
                </c:pt>
                <c:pt idx="1058">
                  <c:v>5.0289532001000001</c:v>
                </c:pt>
                <c:pt idx="1059">
                  <c:v>5.0536452780000003</c:v>
                </c:pt>
                <c:pt idx="1060">
                  <c:v>5.0124918147999997</c:v>
                </c:pt>
                <c:pt idx="1061">
                  <c:v>4.8972621179000004</c:v>
                </c:pt>
                <c:pt idx="1062">
                  <c:v>4.8972621179000004</c:v>
                </c:pt>
                <c:pt idx="1063">
                  <c:v>4.9219541957999997</c:v>
                </c:pt>
                <c:pt idx="1064">
                  <c:v>4.9219541957999997</c:v>
                </c:pt>
                <c:pt idx="1065">
                  <c:v>4.8890314252999998</c:v>
                </c:pt>
                <c:pt idx="1066">
                  <c:v>4.8972621179000004</c:v>
                </c:pt>
                <c:pt idx="1067">
                  <c:v>4.9219541957999997</c:v>
                </c:pt>
                <c:pt idx="1068">
                  <c:v>4.8808007326</c:v>
                </c:pt>
                <c:pt idx="1069">
                  <c:v>5.0124918147999997</c:v>
                </c:pt>
                <c:pt idx="1070">
                  <c:v>5.0536452780000003</c:v>
                </c:pt>
                <c:pt idx="1071">
                  <c:v>5.1112601264000004</c:v>
                </c:pt>
                <c:pt idx="1072">
                  <c:v>5.1359522042999997</c:v>
                </c:pt>
                <c:pt idx="1073">
                  <c:v>5.1194908191000001</c:v>
                </c:pt>
                <c:pt idx="1074">
                  <c:v>5.1421417149000002</c:v>
                </c:pt>
                <c:pt idx="1075">
                  <c:v>5.0504665789000001</c:v>
                </c:pt>
                <c:pt idx="1076">
                  <c:v>5.0337983723999997</c:v>
                </c:pt>
                <c:pt idx="1077">
                  <c:v>5.2088145409999997</c:v>
                </c:pt>
                <c:pt idx="1078">
                  <c:v>5.4505035357000002</c:v>
                </c:pt>
                <c:pt idx="1079">
                  <c:v>5.7338630466999998</c:v>
                </c:pt>
                <c:pt idx="1080">
                  <c:v>5.74219715</c:v>
                </c:pt>
                <c:pt idx="1081">
                  <c:v>5.7338630466999998</c:v>
                </c:pt>
                <c:pt idx="1082">
                  <c:v>5.9255474218000002</c:v>
                </c:pt>
                <c:pt idx="1083">
                  <c:v>5.8172040793999997</c:v>
                </c:pt>
                <c:pt idx="1084">
                  <c:v>5.7755335629999998</c:v>
                </c:pt>
                <c:pt idx="1085">
                  <c:v>5.8005358728000003</c:v>
                </c:pt>
                <c:pt idx="1086">
                  <c:v>6.0922294871</c:v>
                </c:pt>
                <c:pt idx="1087">
                  <c:v>6.0088884545000001</c:v>
                </c:pt>
                <c:pt idx="1088">
                  <c:v>5.9922202478999997</c:v>
                </c:pt>
                <c:pt idx="1089">
                  <c:v>6.4089254112000003</c:v>
                </c:pt>
                <c:pt idx="1090">
                  <c:v>6.0922294871</c:v>
                </c:pt>
                <c:pt idx="1091">
                  <c:v>6.1255659001999998</c:v>
                </c:pt>
                <c:pt idx="1092">
                  <c:v>6.2172410360999999</c:v>
                </c:pt>
                <c:pt idx="1093">
                  <c:v>6.0505589708</c:v>
                </c:pt>
                <c:pt idx="1094">
                  <c:v>6.1422341067000001</c:v>
                </c:pt>
                <c:pt idx="1095">
                  <c:v>6.1589023132999996</c:v>
                </c:pt>
                <c:pt idx="1096">
                  <c:v>6.1672364164999998</c:v>
                </c:pt>
                <c:pt idx="1097">
                  <c:v>6.2839138622000004</c:v>
                </c:pt>
                <c:pt idx="1098">
                  <c:v>6.4005913080000001</c:v>
                </c:pt>
                <c:pt idx="1099">
                  <c:v>6.2755797590000002</c:v>
                </c:pt>
                <c:pt idx="1100">
                  <c:v>6.5172687536999998</c:v>
                </c:pt>
                <c:pt idx="1101">
                  <c:v>6.5922756830999996</c:v>
                </c:pt>
                <c:pt idx="1102">
                  <c:v>6.5839415798000003</c:v>
                </c:pt>
                <c:pt idx="1103">
                  <c:v>7.3057965193000003</c:v>
                </c:pt>
                <c:pt idx="1104">
                  <c:v>7.0376090520999997</c:v>
                </c:pt>
                <c:pt idx="1105">
                  <c:v>7.1763267076000004</c:v>
                </c:pt>
                <c:pt idx="1106">
                  <c:v>7.2410616134000003</c:v>
                </c:pt>
                <c:pt idx="1107">
                  <c:v>7.1578310201999997</c:v>
                </c:pt>
                <c:pt idx="1108">
                  <c:v>7.0376090520999997</c:v>
                </c:pt>
                <c:pt idx="1109">
                  <c:v>6.9913698337000003</c:v>
                </c:pt>
                <c:pt idx="1110">
                  <c:v>6.9266349278000003</c:v>
                </c:pt>
                <c:pt idx="1111">
                  <c:v>6.9358827715000002</c:v>
                </c:pt>
                <c:pt idx="1112">
                  <c:v>6.8988913966999998</c:v>
                </c:pt>
                <c:pt idx="1113">
                  <c:v>7.0006176774000002</c:v>
                </c:pt>
                <c:pt idx="1114">
                  <c:v>6.9173870840999996</c:v>
                </c:pt>
                <c:pt idx="1115">
                  <c:v>6.9728741462999997</c:v>
                </c:pt>
                <c:pt idx="1116">
                  <c:v>7.3705314252000003</c:v>
                </c:pt>
                <c:pt idx="1117">
                  <c:v>7.2780529881999998</c:v>
                </c:pt>
                <c:pt idx="1118">
                  <c:v>7.2133180822999998</c:v>
                </c:pt>
                <c:pt idx="1119">
                  <c:v>7.1948223950000001</c:v>
                </c:pt>
                <c:pt idx="1120">
                  <c:v>7.1670788638999996</c:v>
                </c:pt>
                <c:pt idx="1121">
                  <c:v>7.1485831764999999</c:v>
                </c:pt>
                <c:pt idx="1122">
                  <c:v>7.3242922067</c:v>
                </c:pt>
                <c:pt idx="1123">
                  <c:v>7.7866843914999997</c:v>
                </c:pt>
                <c:pt idx="1124">
                  <c:v>8.3230593257999992</c:v>
                </c:pt>
                <c:pt idx="1125">
                  <c:v>8.4617769811999999</c:v>
                </c:pt>
                <c:pt idx="1126">
                  <c:v>8.9334170096999994</c:v>
                </c:pt>
                <c:pt idx="1127">
                  <c:v>9.5252790061999999</c:v>
                </c:pt>
                <c:pt idx="1128">
                  <c:v>9.5900139119999999</c:v>
                </c:pt>
                <c:pt idx="1129">
                  <c:v>9.4790397876999997</c:v>
                </c:pt>
                <c:pt idx="1130">
                  <c:v>9.2663393827</c:v>
                </c:pt>
                <c:pt idx="1131">
                  <c:v>9.0721346651000001</c:v>
                </c:pt>
                <c:pt idx="1132">
                  <c:v>9.0998781962000006</c:v>
                </c:pt>
                <c:pt idx="1133">
                  <c:v>8.9056734786000007</c:v>
                </c:pt>
                <c:pt idx="1134">
                  <c:v>9.9183123632000001</c:v>
                </c:pt>
                <c:pt idx="1135">
                  <c:v>10.4176959228</c:v>
                </c:pt>
                <c:pt idx="1136">
                  <c:v>11.1112841999</c:v>
                </c:pt>
                <c:pt idx="1137">
                  <c:v>11.055797137700001</c:v>
                </c:pt>
                <c:pt idx="1138">
                  <c:v>11.3748477452</c:v>
                </c:pt>
                <c:pt idx="1139">
                  <c:v>11.166771262099999</c:v>
                </c:pt>
                <c:pt idx="1140">
                  <c:v>11.1945147932</c:v>
                </c:pt>
                <c:pt idx="1141">
                  <c:v>11.0419253722</c:v>
                </c:pt>
                <c:pt idx="1142">
                  <c:v>11.014181841099999</c:v>
                </c:pt>
                <c:pt idx="1143">
                  <c:v>11.1112841999</c:v>
                </c:pt>
                <c:pt idx="1144">
                  <c:v>11.4303348074</c:v>
                </c:pt>
                <c:pt idx="1145">
                  <c:v>11.4303348074</c:v>
                </c:pt>
                <c:pt idx="1146">
                  <c:v>11.014181841099999</c:v>
                </c:pt>
                <c:pt idx="1147">
                  <c:v>10.9586947789</c:v>
                </c:pt>
                <c:pt idx="1148">
                  <c:v>11.2361300898</c:v>
                </c:pt>
                <c:pt idx="1149">
                  <c:v>11.250001855300001</c:v>
                </c:pt>
                <c:pt idx="1150">
                  <c:v>11.208386558699999</c:v>
                </c:pt>
                <c:pt idx="1151">
                  <c:v>11.0696689033</c:v>
                </c:pt>
                <c:pt idx="1152">
                  <c:v>11.0419253722</c:v>
                </c:pt>
                <c:pt idx="1153">
                  <c:v>11.125155965499999</c:v>
                </c:pt>
                <c:pt idx="1154">
                  <c:v>11.097412434400001</c:v>
                </c:pt>
                <c:pt idx="1155">
                  <c:v>11.1806430276</c:v>
                </c:pt>
                <c:pt idx="1156">
                  <c:v>11.9158466014</c:v>
                </c:pt>
                <c:pt idx="1157">
                  <c:v>12.137794850100001</c:v>
                </c:pt>
                <c:pt idx="1158">
                  <c:v>12.137794850100001</c:v>
                </c:pt>
                <c:pt idx="1159">
                  <c:v>12.1516666156</c:v>
                </c:pt>
                <c:pt idx="1160">
                  <c:v>11.8464877737</c:v>
                </c:pt>
                <c:pt idx="1161">
                  <c:v>11.8742313048</c:v>
                </c:pt>
                <c:pt idx="1162">
                  <c:v>11.0696689033</c:v>
                </c:pt>
                <c:pt idx="1163">
                  <c:v>10.556413578200001</c:v>
                </c:pt>
                <c:pt idx="1164">
                  <c:v>10.9309512479</c:v>
                </c:pt>
                <c:pt idx="1165">
                  <c:v>10.792233592400001</c:v>
                </c:pt>
                <c:pt idx="1166">
                  <c:v>10.653515937</c:v>
                </c:pt>
                <c:pt idx="1167">
                  <c:v>11.1945147932</c:v>
                </c:pt>
                <c:pt idx="1168">
                  <c:v>10.9586947789</c:v>
                </c:pt>
                <c:pt idx="1169">
                  <c:v>10.9586947789</c:v>
                </c:pt>
                <c:pt idx="1170">
                  <c:v>10.8477206546</c:v>
                </c:pt>
                <c:pt idx="1171">
                  <c:v>10.98643831</c:v>
                </c:pt>
                <c:pt idx="1172">
                  <c:v>10.792233592400001</c:v>
                </c:pt>
                <c:pt idx="1173">
                  <c:v>10.6951312336</c:v>
                </c:pt>
                <c:pt idx="1174">
                  <c:v>10.639644171500001</c:v>
                </c:pt>
                <c:pt idx="1175">
                  <c:v>10.5286700471</c:v>
                </c:pt>
                <c:pt idx="1176">
                  <c:v>10.4870547505</c:v>
                </c:pt>
                <c:pt idx="1177">
                  <c:v>10.431567688299999</c:v>
                </c:pt>
                <c:pt idx="1178">
                  <c:v>10.4176959228</c:v>
                </c:pt>
                <c:pt idx="1179">
                  <c:v>10.4176959228</c:v>
                </c:pt>
                <c:pt idx="1180">
                  <c:v>10.403824157200001</c:v>
                </c:pt>
                <c:pt idx="1181">
                  <c:v>10.4176959228</c:v>
                </c:pt>
                <c:pt idx="1182">
                  <c:v>10.4593112194</c:v>
                </c:pt>
                <c:pt idx="1183">
                  <c:v>9.9321841287999995</c:v>
                </c:pt>
                <c:pt idx="1184">
                  <c:v>9.9183123632000001</c:v>
                </c:pt>
                <c:pt idx="1185">
                  <c:v>9.5853899901999995</c:v>
                </c:pt>
                <c:pt idx="1186">
                  <c:v>9.6963641144999997</c:v>
                </c:pt>
                <c:pt idx="1187">
                  <c:v>9.7379794111999995</c:v>
                </c:pt>
                <c:pt idx="1188">
                  <c:v>9.9460558943000006</c:v>
                </c:pt>
                <c:pt idx="1189">
                  <c:v>8.3269638294000003</c:v>
                </c:pt>
                <c:pt idx="1190">
                  <c:v>8.3151525331999991</c:v>
                </c:pt>
                <c:pt idx="1191">
                  <c:v>8.3387751255999998</c:v>
                </c:pt>
                <c:pt idx="1192">
                  <c:v>8.1852282748</c:v>
                </c:pt>
                <c:pt idx="1193">
                  <c:v>8.1497943862</c:v>
                </c:pt>
                <c:pt idx="1194">
                  <c:v>8.2442847559000008</c:v>
                </c:pt>
                <c:pt idx="1195">
                  <c:v>8.1734169786000006</c:v>
                </c:pt>
                <c:pt idx="1196">
                  <c:v>8.1616056823999994</c:v>
                </c:pt>
                <c:pt idx="1197">
                  <c:v>8.1616056823999994</c:v>
                </c:pt>
                <c:pt idx="1198">
                  <c:v>8.1616056823999994</c:v>
                </c:pt>
                <c:pt idx="1199">
                  <c:v>8.2679073482999996</c:v>
                </c:pt>
                <c:pt idx="1200">
                  <c:v>8.4805106801000001</c:v>
                </c:pt>
                <c:pt idx="1201">
                  <c:v>8.5631897535999997</c:v>
                </c:pt>
                <c:pt idx="1202">
                  <c:v>8.6222462347000004</c:v>
                </c:pt>
                <c:pt idx="1203">
                  <c:v>8.5277558649999996</c:v>
                </c:pt>
                <c:pt idx="1204">
                  <c:v>8.5986236422999998</c:v>
                </c:pt>
                <c:pt idx="1205">
                  <c:v>8.5277558649999996</c:v>
                </c:pt>
                <c:pt idx="1206">
                  <c:v>8.3151525331999991</c:v>
                </c:pt>
                <c:pt idx="1207">
                  <c:v>8.3963624579000005</c:v>
                </c:pt>
                <c:pt idx="1208">
                  <c:v>8.3843504944999996</c:v>
                </c:pt>
                <c:pt idx="1209">
                  <c:v>8.2642308598999996</c:v>
                </c:pt>
                <c:pt idx="1210">
                  <c:v>8.0960633714999997</c:v>
                </c:pt>
                <c:pt idx="1211">
                  <c:v>8.5645299464000004</c:v>
                </c:pt>
                <c:pt idx="1212">
                  <c:v>7.5593279073000001</c:v>
                </c:pt>
                <c:pt idx="1213">
                  <c:v>7.5593279073000001</c:v>
                </c:pt>
                <c:pt idx="1214">
                  <c:v>7.5706953177000003</c:v>
                </c:pt>
                <c:pt idx="1215">
                  <c:v>7.6047975488999997</c:v>
                </c:pt>
                <c:pt idx="1216">
                  <c:v>7.5706953177000003</c:v>
                </c:pt>
                <c:pt idx="1217">
                  <c:v>7.5820627281000004</c:v>
                </c:pt>
                <c:pt idx="1218">
                  <c:v>7.7525738839000002</c:v>
                </c:pt>
                <c:pt idx="1219">
                  <c:v>8.0253917331999993</c:v>
                </c:pt>
                <c:pt idx="1220">
                  <c:v>8.0708613746999998</c:v>
                </c:pt>
                <c:pt idx="1221">
                  <c:v>8.0822287850999999</c:v>
                </c:pt>
                <c:pt idx="1222">
                  <c:v>7.9912895019999999</c:v>
                </c:pt>
                <c:pt idx="1223">
                  <c:v>7.9571872709000004</c:v>
                </c:pt>
                <c:pt idx="1224">
                  <c:v>7.5593279073000001</c:v>
                </c:pt>
                <c:pt idx="1225">
                  <c:v>7.7071042422999998</c:v>
                </c:pt>
                <c:pt idx="1226">
                  <c:v>7.6843694215999996</c:v>
                </c:pt>
                <c:pt idx="1227">
                  <c:v>7.63889978</c:v>
                </c:pt>
                <c:pt idx="1228">
                  <c:v>7.6275323695999999</c:v>
                </c:pt>
                <c:pt idx="1229">
                  <c:v>7.5479604969</c:v>
                </c:pt>
                <c:pt idx="1230">
                  <c:v>7.6047975488999997</c:v>
                </c:pt>
                <c:pt idx="1231">
                  <c:v>7.6275323695999999</c:v>
                </c:pt>
                <c:pt idx="1232">
                  <c:v>7.5479604969</c:v>
                </c:pt>
                <c:pt idx="1233">
                  <c:v>7.6730020112000004</c:v>
                </c:pt>
                <c:pt idx="1234">
                  <c:v>7.8435131670000002</c:v>
                </c:pt>
                <c:pt idx="1235">
                  <c:v>8.2072702993999993</c:v>
                </c:pt>
                <c:pt idx="1236">
                  <c:v>8.3095769929000003</c:v>
                </c:pt>
                <c:pt idx="1237">
                  <c:v>8.3550466344000007</c:v>
                </c:pt>
                <c:pt idx="1238">
                  <c:v>8.3891488655999993</c:v>
                </c:pt>
                <c:pt idx="1239">
                  <c:v>8.4800881487000002</c:v>
                </c:pt>
                <c:pt idx="1240">
                  <c:v>8.4914555590000003</c:v>
                </c:pt>
                <c:pt idx="1241">
                  <c:v>8.5141903798000005</c:v>
                </c:pt>
                <c:pt idx="1242">
                  <c:v>8.5141903798000005</c:v>
                </c:pt>
                <c:pt idx="1243">
                  <c:v>8.3891488655999993</c:v>
                </c:pt>
                <c:pt idx="1244">
                  <c:v>8.4232510966999996</c:v>
                </c:pt>
                <c:pt idx="1245">
                  <c:v>8.4118836862999995</c:v>
                </c:pt>
                <c:pt idx="1246">
                  <c:v>8.3777814551999992</c:v>
                </c:pt>
                <c:pt idx="1247">
                  <c:v>8.4459859174999998</c:v>
                </c:pt>
                <c:pt idx="1248">
                  <c:v>8.4118836862999995</c:v>
                </c:pt>
                <c:pt idx="1249">
                  <c:v>8.4005162759999994</c:v>
                </c:pt>
                <c:pt idx="1250">
                  <c:v>8.3891488655999993</c:v>
                </c:pt>
                <c:pt idx="1251">
                  <c:v>8.4118836862999995</c:v>
                </c:pt>
                <c:pt idx="1252">
                  <c:v>8.4005162759999994</c:v>
                </c:pt>
                <c:pt idx="1253">
                  <c:v>8.2754747617</c:v>
                </c:pt>
                <c:pt idx="1254">
                  <c:v>8.1731680682000007</c:v>
                </c:pt>
                <c:pt idx="1255">
                  <c:v>8.1845354786000009</c:v>
                </c:pt>
                <c:pt idx="1256">
                  <c:v>8.0253917331999993</c:v>
                </c:pt>
                <c:pt idx="1257">
                  <c:v>7.9344524501000002</c:v>
                </c:pt>
                <c:pt idx="1258">
                  <c:v>7.9458198605000003</c:v>
                </c:pt>
                <c:pt idx="1259">
                  <c:v>7.9344524501000002</c:v>
                </c:pt>
                <c:pt idx="1260">
                  <c:v>7.9458198605000003</c:v>
                </c:pt>
                <c:pt idx="1261">
                  <c:v>7.8662479877999996</c:v>
                </c:pt>
                <c:pt idx="1262">
                  <c:v>7.9117176293</c:v>
                </c:pt>
                <c:pt idx="1263">
                  <c:v>7.9571872709000004</c:v>
                </c:pt>
                <c:pt idx="1264">
                  <c:v>7.9571872709000004</c:v>
                </c:pt>
                <c:pt idx="1265">
                  <c:v>7.9230850397000001</c:v>
                </c:pt>
                <c:pt idx="1266">
                  <c:v>7.9571872709000004</c:v>
                </c:pt>
                <c:pt idx="1267">
                  <c:v>7.9571872709000004</c:v>
                </c:pt>
                <c:pt idx="1268">
                  <c:v>7.9571872709000004</c:v>
                </c:pt>
                <c:pt idx="1269">
                  <c:v>7.9799220915999998</c:v>
                </c:pt>
                <c:pt idx="1270">
                  <c:v>7.9117176293</c:v>
                </c:pt>
                <c:pt idx="1271">
                  <c:v>6.9594690674999997</c:v>
                </c:pt>
                <c:pt idx="1272">
                  <c:v>6.9395278954000004</c:v>
                </c:pt>
                <c:pt idx="1273">
                  <c:v>6.8996455510999999</c:v>
                </c:pt>
                <c:pt idx="1274">
                  <c:v>6.9096161371999996</c:v>
                </c:pt>
                <c:pt idx="1275">
                  <c:v>6.7401161741999998</c:v>
                </c:pt>
                <c:pt idx="1276">
                  <c:v>6.9295573092999998</c:v>
                </c:pt>
                <c:pt idx="1277">
                  <c:v>6.8896749651000002</c:v>
                </c:pt>
                <c:pt idx="1278">
                  <c:v>6.8896749651000002</c:v>
                </c:pt>
                <c:pt idx="1279">
                  <c:v>6.8996455510999999</c:v>
                </c:pt>
                <c:pt idx="1280">
                  <c:v>6.9794102396</c:v>
                </c:pt>
                <c:pt idx="1281">
                  <c:v>6.9794102396</c:v>
                </c:pt>
                <c:pt idx="1282">
                  <c:v>7.0093219977999999</c:v>
                </c:pt>
                <c:pt idx="1283">
                  <c:v>7.0591749281</c:v>
                </c:pt>
                <c:pt idx="1284">
                  <c:v>7.0990572722999996</c:v>
                </c:pt>
                <c:pt idx="1285">
                  <c:v>7.0591749281</c:v>
                </c:pt>
                <c:pt idx="1286">
                  <c:v>7.0492043420000003</c:v>
                </c:pt>
                <c:pt idx="1287">
                  <c:v>6.9893808256999996</c:v>
                </c:pt>
                <c:pt idx="1288">
                  <c:v>6.9594690674999997</c:v>
                </c:pt>
                <c:pt idx="1289">
                  <c:v>6.9395278954000004</c:v>
                </c:pt>
                <c:pt idx="1290">
                  <c:v>6.8996455510999999</c:v>
                </c:pt>
                <c:pt idx="1291">
                  <c:v>6.9096161371999996</c:v>
                </c:pt>
                <c:pt idx="1292">
                  <c:v>6.8797043789999996</c:v>
                </c:pt>
                <c:pt idx="1293">
                  <c:v>6.8896749651000002</c:v>
                </c:pt>
                <c:pt idx="1294">
                  <c:v>6.9295573092999998</c:v>
                </c:pt>
                <c:pt idx="1295">
                  <c:v>6.8896749651000002</c:v>
                </c:pt>
                <c:pt idx="1296">
                  <c:v>6.9096161371999996</c:v>
                </c:pt>
                <c:pt idx="1297">
                  <c:v>6.9096161371999996</c:v>
                </c:pt>
                <c:pt idx="1298">
                  <c:v>6.9195867233000001</c:v>
                </c:pt>
                <c:pt idx="1299">
                  <c:v>7.0192925838000004</c:v>
                </c:pt>
                <c:pt idx="1300">
                  <c:v>7.0890866861999999</c:v>
                </c:pt>
                <c:pt idx="1301">
                  <c:v>7.5975865751000002</c:v>
                </c:pt>
                <c:pt idx="1302">
                  <c:v>7.4879101285000003</c:v>
                </c:pt>
                <c:pt idx="1303">
                  <c:v>7.5477336448000001</c:v>
                </c:pt>
                <c:pt idx="1304">
                  <c:v>7.5178218867000002</c:v>
                </c:pt>
                <c:pt idx="1305">
                  <c:v>7.2811223797000002</c:v>
                </c:pt>
                <c:pt idx="1306">
                  <c:v>7.3200588629999999</c:v>
                </c:pt>
                <c:pt idx="1307">
                  <c:v>7.2908565005000003</c:v>
                </c:pt>
                <c:pt idx="1308">
                  <c:v>7.2811223797000002</c:v>
                </c:pt>
                <c:pt idx="1309">
                  <c:v>7.2713882589000001</c:v>
                </c:pt>
                <c:pt idx="1310">
                  <c:v>7.2908565005000003</c:v>
                </c:pt>
                <c:pt idx="1311">
                  <c:v>7.4466024337999999</c:v>
                </c:pt>
                <c:pt idx="1312">
                  <c:v>7.5050071586999998</c:v>
                </c:pt>
                <c:pt idx="1313">
                  <c:v>7.5731460044999999</c:v>
                </c:pt>
                <c:pt idx="1314">
                  <c:v>7.4952730378999997</c:v>
                </c:pt>
                <c:pt idx="1315">
                  <c:v>7.4174000713000003</c:v>
                </c:pt>
                <c:pt idx="1316">
                  <c:v>7.3395271047000001</c:v>
                </c:pt>
                <c:pt idx="1317">
                  <c:v>7.2713882589000001</c:v>
                </c:pt>
                <c:pt idx="1318">
                  <c:v>7.2908565005000003</c:v>
                </c:pt>
                <c:pt idx="1319">
                  <c:v>7.2811223797000002</c:v>
                </c:pt>
                <c:pt idx="1320">
                  <c:v>7.2032494131</c:v>
                </c:pt>
                <c:pt idx="1321">
                  <c:v>7.2129835339000001</c:v>
                </c:pt>
                <c:pt idx="1322">
                  <c:v>7.1059082048000004</c:v>
                </c:pt>
                <c:pt idx="1323">
                  <c:v>7.2032494131</c:v>
                </c:pt>
                <c:pt idx="1324">
                  <c:v>7.1156423255999997</c:v>
                </c:pt>
                <c:pt idx="1325">
                  <c:v>7.1059082048000004</c:v>
                </c:pt>
                <c:pt idx="1326">
                  <c:v>7.0864399631000001</c:v>
                </c:pt>
                <c:pt idx="1327">
                  <c:v>7.1545788089000002</c:v>
                </c:pt>
                <c:pt idx="1328">
                  <c:v>7.2324517756000004</c:v>
                </c:pt>
                <c:pt idx="1329">
                  <c:v>7.3005906213999996</c:v>
                </c:pt>
                <c:pt idx="1330">
                  <c:v>7.3589953463000004</c:v>
                </c:pt>
                <c:pt idx="1331">
                  <c:v>7.2908565005000003</c:v>
                </c:pt>
                <c:pt idx="1332">
                  <c:v>7.2908565005000003</c:v>
                </c:pt>
                <c:pt idx="1333">
                  <c:v>7.2519200171999998</c:v>
                </c:pt>
                <c:pt idx="1334">
                  <c:v>6.7198368372999999</c:v>
                </c:pt>
                <c:pt idx="1335">
                  <c:v>6.7288932211999999</c:v>
                </c:pt>
                <c:pt idx="1336">
                  <c:v>6.7379496049999998</c:v>
                </c:pt>
                <c:pt idx="1337">
                  <c:v>6.7107804534</c:v>
                </c:pt>
                <c:pt idx="1338">
                  <c:v>6.7560623727999998</c:v>
                </c:pt>
                <c:pt idx="1339">
                  <c:v>6.7107804534</c:v>
                </c:pt>
                <c:pt idx="1340">
                  <c:v>6.7560623727999998</c:v>
                </c:pt>
                <c:pt idx="1341">
                  <c:v>6.7198368372999999</c:v>
                </c:pt>
                <c:pt idx="1342">
                  <c:v>6.6654985340000001</c:v>
                </c:pt>
                <c:pt idx="1343">
                  <c:v>6.6836113018000001</c:v>
                </c:pt>
                <c:pt idx="1344">
                  <c:v>6.6926676857</c:v>
                </c:pt>
                <c:pt idx="1345">
                  <c:v>6.6473857663000002</c:v>
                </c:pt>
                <c:pt idx="1346">
                  <c:v>6.5930474630000004</c:v>
                </c:pt>
                <c:pt idx="1347">
                  <c:v>6.5568219274999997</c:v>
                </c:pt>
                <c:pt idx="1348">
                  <c:v>6.5839910790999996</c:v>
                </c:pt>
                <c:pt idx="1349">
                  <c:v>6.5839910790999996</c:v>
                </c:pt>
                <c:pt idx="1350">
                  <c:v>6.6048207620000001</c:v>
                </c:pt>
                <c:pt idx="1351">
                  <c:v>7.0875260226999997</c:v>
                </c:pt>
                <c:pt idx="1352">
                  <c:v>7.0051129294000001</c:v>
                </c:pt>
                <c:pt idx="1353">
                  <c:v>7.0639794246000003</c:v>
                </c:pt>
                <c:pt idx="1354">
                  <c:v>7.0757527237</c:v>
                </c:pt>
                <c:pt idx="1355">
                  <c:v>7.0992993218000002</c:v>
                </c:pt>
                <c:pt idx="1356">
                  <c:v>7.1699391160000001</c:v>
                </c:pt>
                <c:pt idx="1357">
                  <c:v>7.2170323121999997</c:v>
                </c:pt>
                <c:pt idx="1358">
                  <c:v>7.2523522092999997</c:v>
                </c:pt>
                <c:pt idx="1359">
                  <c:v>7.3112187044999999</c:v>
                </c:pt>
                <c:pt idx="1360">
                  <c:v>7.5113647881999999</c:v>
                </c:pt>
                <c:pt idx="1361">
                  <c:v>7.7703773671</c:v>
                </c:pt>
                <c:pt idx="1362">
                  <c:v>8.0647098430999993</c:v>
                </c:pt>
                <c:pt idx="1363">
                  <c:v>8.3001758240000001</c:v>
                </c:pt>
                <c:pt idx="1364">
                  <c:v>8.1942161325999994</c:v>
                </c:pt>
                <c:pt idx="1365">
                  <c:v>8.1588962355000003</c:v>
                </c:pt>
                <c:pt idx="1366">
                  <c:v>8.1706695345</c:v>
                </c:pt>
                <c:pt idx="1367">
                  <c:v>8.1353496373999992</c:v>
                </c:pt>
                <c:pt idx="1368">
                  <c:v>8.1471229364000006</c:v>
                </c:pt>
                <c:pt idx="1369">
                  <c:v>8.1824428334999997</c:v>
                </c:pt>
                <c:pt idx="1370">
                  <c:v>8.2413093287999999</c:v>
                </c:pt>
                <c:pt idx="1371">
                  <c:v>8.3237224219999995</c:v>
                </c:pt>
                <c:pt idx="1372">
                  <c:v>8.3708156182</c:v>
                </c:pt>
                <c:pt idx="1373">
                  <c:v>8.5003219077000001</c:v>
                </c:pt>
                <c:pt idx="1374">
                  <c:v>8.2059894316000008</c:v>
                </c:pt>
                <c:pt idx="1375">
                  <c:v>8.2177627307000005</c:v>
                </c:pt>
                <c:pt idx="1376">
                  <c:v>8.2884025249000004</c:v>
                </c:pt>
                <c:pt idx="1377">
                  <c:v>8.3708156182</c:v>
                </c:pt>
                <c:pt idx="1378">
                  <c:v>8.4179088144000005</c:v>
                </c:pt>
                <c:pt idx="1379">
                  <c:v>9.0065737664000007</c:v>
                </c:pt>
                <c:pt idx="1380">
                  <c:v>9.1243067567999994</c:v>
                </c:pt>
                <c:pt idx="1381">
                  <c:v>9.1831732519999996</c:v>
                </c:pt>
                <c:pt idx="1382">
                  <c:v>9.1243067567999994</c:v>
                </c:pt>
                <c:pt idx="1383">
                  <c:v>9.1243067567999994</c:v>
                </c:pt>
                <c:pt idx="1384">
                  <c:v>9.2067198501000007</c:v>
                </c:pt>
                <c:pt idx="1385">
                  <c:v>9.1478533549000005</c:v>
                </c:pt>
                <c:pt idx="1386">
                  <c:v>9.0536669625999995</c:v>
                </c:pt>
                <c:pt idx="1387">
                  <c:v>8.9477072712000005</c:v>
                </c:pt>
                <c:pt idx="1388">
                  <c:v>8.8299742808000001</c:v>
                </c:pt>
                <c:pt idx="1389">
                  <c:v>8.6416014960999998</c:v>
                </c:pt>
                <c:pt idx="1390">
                  <c:v>8.4414554124999999</c:v>
                </c:pt>
                <c:pt idx="1391">
                  <c:v>8.4414554124999999</c:v>
                </c:pt>
                <c:pt idx="1392">
                  <c:v>8.3708156182</c:v>
                </c:pt>
                <c:pt idx="1393">
                  <c:v>8.3001758240000001</c:v>
                </c:pt>
                <c:pt idx="1394">
                  <c:v>8.1824428334999997</c:v>
                </c:pt>
                <c:pt idx="1395">
                  <c:v>7.9940700489000003</c:v>
                </c:pt>
                <c:pt idx="1396">
                  <c:v>8.0764831422000007</c:v>
                </c:pt>
                <c:pt idx="1397">
                  <c:v>8.3001758240000001</c:v>
                </c:pt>
                <c:pt idx="1398">
                  <c:v>8.3472690201000006</c:v>
                </c:pt>
                <c:pt idx="1399">
                  <c:v>8.1824428334999997</c:v>
                </c:pt>
                <c:pt idx="1400">
                  <c:v>8.2766292259000007</c:v>
                </c:pt>
                <c:pt idx="1401">
                  <c:v>8.1471229364000006</c:v>
                </c:pt>
                <c:pt idx="1402">
                  <c:v>8.0882564412000004</c:v>
                </c:pt>
                <c:pt idx="1403">
                  <c:v>8.1000297403000001</c:v>
                </c:pt>
                <c:pt idx="1404">
                  <c:v>8.1353496373999992</c:v>
                </c:pt>
                <c:pt idx="1405">
                  <c:v>8.2884025249000004</c:v>
                </c:pt>
                <c:pt idx="1406">
                  <c:v>8.4179088144000005</c:v>
                </c:pt>
                <c:pt idx="1407">
                  <c:v>8.4061355153000008</c:v>
                </c:pt>
                <c:pt idx="1408">
                  <c:v>8.3237224219999995</c:v>
                </c:pt>
                <c:pt idx="1409">
                  <c:v>8.2177627307000005</c:v>
                </c:pt>
                <c:pt idx="1410">
                  <c:v>8.2884025249000004</c:v>
                </c:pt>
                <c:pt idx="1411">
                  <c:v>8.4532287114999995</c:v>
                </c:pt>
                <c:pt idx="1412">
                  <c:v>8.4414554124999999</c:v>
                </c:pt>
                <c:pt idx="1413">
                  <c:v>8.4414554124999999</c:v>
                </c:pt>
                <c:pt idx="1414">
                  <c:v>8.2295360297000002</c:v>
                </c:pt>
                <c:pt idx="1415">
                  <c:v>8.1588962355000003</c:v>
                </c:pt>
                <c:pt idx="1416">
                  <c:v>8.7047729318999991</c:v>
                </c:pt>
                <c:pt idx="1417">
                  <c:v>8.8201528382000003</c:v>
                </c:pt>
                <c:pt idx="1418">
                  <c:v>8.8329728278000008</c:v>
                </c:pt>
                <c:pt idx="1419">
                  <c:v>8.8842527861999994</c:v>
                </c:pt>
                <c:pt idx="1420">
                  <c:v>9.0509126509000009</c:v>
                </c:pt>
                <c:pt idx="1421">
                  <c:v>9.1662925572000002</c:v>
                </c:pt>
                <c:pt idx="1422">
                  <c:v>9.1919325363999995</c:v>
                </c:pt>
                <c:pt idx="1423">
                  <c:v>9.1406525779999992</c:v>
                </c:pt>
                <c:pt idx="1424">
                  <c:v>9.1534725675999997</c:v>
                </c:pt>
                <c:pt idx="1425">
                  <c:v>9.2688524739000009</c:v>
                </c:pt>
                <c:pt idx="1426">
                  <c:v>9.3585924009999992</c:v>
                </c:pt>
                <c:pt idx="1427">
                  <c:v>9.8713919847000007</c:v>
                </c:pt>
                <c:pt idx="1428">
                  <c:v>9.8842119741999994</c:v>
                </c:pt>
                <c:pt idx="1429">
                  <c:v>9.7944720470999993</c:v>
                </c:pt>
                <c:pt idx="1430">
                  <c:v>9.8329320159000009</c:v>
                </c:pt>
                <c:pt idx="1431">
                  <c:v>10.3540594417</c:v>
                </c:pt>
                <c:pt idx="1432">
                  <c:v>10.3271657808</c:v>
                </c:pt>
                <c:pt idx="1433">
                  <c:v>10.3540594417</c:v>
                </c:pt>
                <c:pt idx="1434">
                  <c:v>10.300272119900001</c:v>
                </c:pt>
                <c:pt idx="1435">
                  <c:v>9.3727765337999998</c:v>
                </c:pt>
                <c:pt idx="1436">
                  <c:v>9.1237097447999993</c:v>
                </c:pt>
                <c:pt idx="1437">
                  <c:v>8.8746429557000006</c:v>
                </c:pt>
                <c:pt idx="1438">
                  <c:v>8.9008605124999995</c:v>
                </c:pt>
                <c:pt idx="1439">
                  <c:v>8.5207059397999991</c:v>
                </c:pt>
                <c:pt idx="1440">
                  <c:v>8.1143338102999998</c:v>
                </c:pt>
                <c:pt idx="1441">
                  <c:v>8.2847479290999999</c:v>
                </c:pt>
                <c:pt idx="1442">
                  <c:v>8.2454215939999997</c:v>
                </c:pt>
                <c:pt idx="1443">
                  <c:v>8.2192040373000008</c:v>
                </c:pt>
                <c:pt idx="1444">
                  <c:v>8.1929864806000001</c:v>
                </c:pt>
                <c:pt idx="1445">
                  <c:v>8.2323128157000003</c:v>
                </c:pt>
                <c:pt idx="1446">
                  <c:v>8.1405513671000005</c:v>
                </c:pt>
                <c:pt idx="1447">
                  <c:v>8.1143338102999998</c:v>
                </c:pt>
                <c:pt idx="1448">
                  <c:v>8.1929864806000001</c:v>
                </c:pt>
                <c:pt idx="1449">
                  <c:v>8.3502918210000008</c:v>
                </c:pt>
                <c:pt idx="1450">
                  <c:v>8.5075971613999997</c:v>
                </c:pt>
                <c:pt idx="1451">
                  <c:v>8.3765093776999997</c:v>
                </c:pt>
                <c:pt idx="1452">
                  <c:v>8.3371830425999995</c:v>
                </c:pt>
                <c:pt idx="1453">
                  <c:v>8.4420532696000006</c:v>
                </c:pt>
                <c:pt idx="1454">
                  <c:v>8.5731410533000005</c:v>
                </c:pt>
                <c:pt idx="1455">
                  <c:v>8.6255761667000002</c:v>
                </c:pt>
                <c:pt idx="1456">
                  <c:v>8.5993586099999995</c:v>
                </c:pt>
                <c:pt idx="1457">
                  <c:v>8.5862498316</c:v>
                </c:pt>
                <c:pt idx="1458">
                  <c:v>8.7697727287999996</c:v>
                </c:pt>
                <c:pt idx="1459">
                  <c:v>8.7173376153</c:v>
                </c:pt>
                <c:pt idx="1460">
                  <c:v>8.5862498316</c:v>
                </c:pt>
                <c:pt idx="1461">
                  <c:v>8.4551620479</c:v>
                </c:pt>
                <c:pt idx="1462">
                  <c:v>8.2978567074999994</c:v>
                </c:pt>
                <c:pt idx="1463">
                  <c:v>8.2323128157000003</c:v>
                </c:pt>
                <c:pt idx="1464">
                  <c:v>8.1667689237999994</c:v>
                </c:pt>
                <c:pt idx="1465">
                  <c:v>8.0750074751999996</c:v>
                </c:pt>
                <c:pt idx="1466">
                  <c:v>7.9177021347999998</c:v>
                </c:pt>
                <c:pt idx="1467">
                  <c:v>8.0225723618</c:v>
                </c:pt>
                <c:pt idx="1468">
                  <c:v>8.0094635834000005</c:v>
                </c:pt>
                <c:pt idx="1469">
                  <c:v>8.1798777022000007</c:v>
                </c:pt>
                <c:pt idx="1470">
                  <c:v>8.1274425886999992</c:v>
                </c:pt>
                <c:pt idx="1471">
                  <c:v>8.1405513671000005</c:v>
                </c:pt>
                <c:pt idx="1472">
                  <c:v>8.2978567074999994</c:v>
                </c:pt>
                <c:pt idx="1473">
                  <c:v>8.4682708262999995</c:v>
                </c:pt>
                <c:pt idx="1474">
                  <c:v>8.4682708262999995</c:v>
                </c:pt>
                <c:pt idx="1475">
                  <c:v>8.4551620479</c:v>
                </c:pt>
                <c:pt idx="1476">
                  <c:v>8.3896181560999992</c:v>
                </c:pt>
                <c:pt idx="1477">
                  <c:v>8.4027269345000004</c:v>
                </c:pt>
                <c:pt idx="1478">
                  <c:v>8.2978567074999994</c:v>
                </c:pt>
                <c:pt idx="1479">
                  <c:v>8.2192040373000008</c:v>
                </c:pt>
                <c:pt idx="1480">
                  <c:v>8.1405513671000005</c:v>
                </c:pt>
                <c:pt idx="1481">
                  <c:v>8.0750074751999996</c:v>
                </c:pt>
                <c:pt idx="1482">
                  <c:v>8.1274425886999992</c:v>
                </c:pt>
                <c:pt idx="1483">
                  <c:v>8.1405513670833205</c:v>
                </c:pt>
                <c:pt idx="1484">
                  <c:v>8.1405513671000005</c:v>
                </c:pt>
                <c:pt idx="1485">
                  <c:v>8.2060952588999996</c:v>
                </c:pt>
                <c:pt idx="1486">
                  <c:v>8.4158357127999999</c:v>
                </c:pt>
                <c:pt idx="1487">
                  <c:v>8.4027269345000004</c:v>
                </c:pt>
                <c:pt idx="1488">
                  <c:v>8.1667689237999994</c:v>
                </c:pt>
                <c:pt idx="1489">
                  <c:v>8.0356811400999995</c:v>
                </c:pt>
                <c:pt idx="1490">
                  <c:v>8.1143338102999998</c:v>
                </c:pt>
                <c:pt idx="1491">
                  <c:v>7.8783757996999997</c:v>
                </c:pt>
                <c:pt idx="1492">
                  <c:v>7.8167028484000003</c:v>
                </c:pt>
                <c:pt idx="1493">
                  <c:v>7.6962399620999999</c:v>
                </c:pt>
                <c:pt idx="1494">
                  <c:v>7.5623923105999999</c:v>
                </c:pt>
                <c:pt idx="1495">
                  <c:v>7.4017751286999998</c:v>
                </c:pt>
                <c:pt idx="1496">
                  <c:v>7.6159313712000003</c:v>
                </c:pt>
                <c:pt idx="1497">
                  <c:v>7.7631637877999999</c:v>
                </c:pt>
                <c:pt idx="1498">
                  <c:v>7.9907047954000001</c:v>
                </c:pt>
                <c:pt idx="1499">
                  <c:v>7.9371657347999998</c:v>
                </c:pt>
                <c:pt idx="1500">
                  <c:v>8.3253239241999992</c:v>
                </c:pt>
                <c:pt idx="1501">
                  <c:v>8.2048610378000006</c:v>
                </c:pt>
                <c:pt idx="1502">
                  <c:v>8.0710133863000006</c:v>
                </c:pt>
                <c:pt idx="1503">
                  <c:v>8.1647067423999999</c:v>
                </c:pt>
                <c:pt idx="1504">
                  <c:v>8.1379372120666744</c:v>
                </c:pt>
                <c:pt idx="1505">
                  <c:v>8.1780915074999996</c:v>
                </c:pt>
                <c:pt idx="1506">
                  <c:v>8.3387086893000006</c:v>
                </c:pt>
                <c:pt idx="1507">
                  <c:v>8.5796344620999996</c:v>
                </c:pt>
                <c:pt idx="1508">
                  <c:v>8.7268668786999992</c:v>
                </c:pt>
                <c:pt idx="1509">
                  <c:v>8.7268668786999992</c:v>
                </c:pt>
                <c:pt idx="1510">
                  <c:v>8.7536364090000003</c:v>
                </c:pt>
                <c:pt idx="1511">
                  <c:v>8.9945621817999992</c:v>
                </c:pt>
                <c:pt idx="1512">
                  <c:v>8.8740992954000006</c:v>
                </c:pt>
                <c:pt idx="1513">
                  <c:v>9.0748707727000006</c:v>
                </c:pt>
                <c:pt idx="1514">
                  <c:v>8.8071754696000006</c:v>
                </c:pt>
                <c:pt idx="1515">
                  <c:v>8.7134821135999996</c:v>
                </c:pt>
                <c:pt idx="1516">
                  <c:v>8.7402516439000006</c:v>
                </c:pt>
                <c:pt idx="1517">
                  <c:v>9.0079469469000006</c:v>
                </c:pt>
                <c:pt idx="1518">
                  <c:v>9.2622574847999992</c:v>
                </c:pt>
                <c:pt idx="1519">
                  <c:v>9.1016403029999999</c:v>
                </c:pt>
                <c:pt idx="1520">
                  <c:v>9.3827203710999996</c:v>
                </c:pt>
                <c:pt idx="1521">
                  <c:v>9.1284098332999992</c:v>
                </c:pt>
                <c:pt idx="1522">
                  <c:v>9.1284098332999992</c:v>
                </c:pt>
                <c:pt idx="1523">
                  <c:v>9.3693356059999999</c:v>
                </c:pt>
                <c:pt idx="1524">
                  <c:v>9.3559508408000003</c:v>
                </c:pt>
                <c:pt idx="1525">
                  <c:v>9.3291813104999992</c:v>
                </c:pt>
                <c:pt idx="1526">
                  <c:v>9.1614778928000007</c:v>
                </c:pt>
                <c:pt idx="1527">
                  <c:v>9.1614778928000007</c:v>
                </c:pt>
                <c:pt idx="1528">
                  <c:v>9.3503743442000005</c:v>
                </c:pt>
                <c:pt idx="1529">
                  <c:v>9.3233891367999995</c:v>
                </c:pt>
                <c:pt idx="1530">
                  <c:v>9.6202264175999996</c:v>
                </c:pt>
                <c:pt idx="1531">
                  <c:v>9.8361080763000004</c:v>
                </c:pt>
                <c:pt idx="1532">
                  <c:v>10.119452753399999</c:v>
                </c:pt>
                <c:pt idx="1533">
                  <c:v>10.294856601099999</c:v>
                </c:pt>
                <c:pt idx="1534">
                  <c:v>10.0924675461</c:v>
                </c:pt>
                <c:pt idx="1535">
                  <c:v>10.6456642966</c:v>
                </c:pt>
                <c:pt idx="1536">
                  <c:v>10.753605126</c:v>
                </c:pt>
                <c:pt idx="1537">
                  <c:v>10.834560747999999</c:v>
                </c:pt>
                <c:pt idx="1538">
                  <c:v>11.2258462545</c:v>
                </c:pt>
                <c:pt idx="1539">
                  <c:v>11.4282353095</c:v>
                </c:pt>
                <c:pt idx="1540">
                  <c:v>11.0099645957</c:v>
                </c:pt>
                <c:pt idx="1541">
                  <c:v>10.7401125223</c:v>
                </c:pt>
                <c:pt idx="1542">
                  <c:v>10.429782637900001</c:v>
                </c:pt>
                <c:pt idx="1543">
                  <c:v>10.2678713938</c:v>
                </c:pt>
                <c:pt idx="1544">
                  <c:v>10.5242308636</c:v>
                </c:pt>
                <c:pt idx="1545">
                  <c:v>10.8075755407</c:v>
                </c:pt>
                <c:pt idx="1546">
                  <c:v>11.036949803100001</c:v>
                </c:pt>
                <c:pt idx="1547">
                  <c:v>11.0099645957</c:v>
                </c:pt>
                <c:pt idx="1548">
                  <c:v>11.1313980288</c:v>
                </c:pt>
                <c:pt idx="1549">
                  <c:v>11.4147427059</c:v>
                </c:pt>
                <c:pt idx="1550">
                  <c:v>11.4687131205</c:v>
                </c:pt>
                <c:pt idx="1551">
                  <c:v>11.320294480199999</c:v>
                </c:pt>
                <c:pt idx="1552">
                  <c:v>11.3472796875</c:v>
                </c:pt>
                <c:pt idx="1553">
                  <c:v>11.4822057242</c:v>
                </c:pt>
                <c:pt idx="1554">
                  <c:v>11.2528314618</c:v>
                </c:pt>
                <c:pt idx="1555">
                  <c:v>10.088667254700001</c:v>
                </c:pt>
                <c:pt idx="1556">
                  <c:v>9.8682837466999995</c:v>
                </c:pt>
                <c:pt idx="1557">
                  <c:v>10.1253978393</c:v>
                </c:pt>
                <c:pt idx="1558">
                  <c:v>10.247833121499999</c:v>
                </c:pt>
                <c:pt idx="1559">
                  <c:v>10.247833121499999</c:v>
                </c:pt>
                <c:pt idx="1560">
                  <c:v>10.2111025369</c:v>
                </c:pt>
                <c:pt idx="1561">
                  <c:v>9.9784755007000001</c:v>
                </c:pt>
                <c:pt idx="1562">
                  <c:v>9.9539884442000002</c:v>
                </c:pt>
                <c:pt idx="1563">
                  <c:v>9.8560402184000004</c:v>
                </c:pt>
                <c:pt idx="1564">
                  <c:v>9.7580919927000007</c:v>
                </c:pt>
                <c:pt idx="1565">
                  <c:v>9.7703355208999998</c:v>
                </c:pt>
                <c:pt idx="1566">
                  <c:v>9.8070661056000006</c:v>
                </c:pt>
                <c:pt idx="1567">
                  <c:v>9.7825790491000006</c:v>
                </c:pt>
                <c:pt idx="1568">
                  <c:v>9.9295013878000002</c:v>
                </c:pt>
                <c:pt idx="1569">
                  <c:v>10.015206085299999</c:v>
                </c:pt>
                <c:pt idx="1570">
                  <c:v>9.9050143313000003</c:v>
                </c:pt>
                <c:pt idx="1571">
                  <c:v>9.6846308232999991</c:v>
                </c:pt>
                <c:pt idx="1572">
                  <c:v>9.7580919927000007</c:v>
                </c:pt>
                <c:pt idx="1573">
                  <c:v>9.9295013878000002</c:v>
                </c:pt>
                <c:pt idx="1574">
                  <c:v>10.223346065099999</c:v>
                </c:pt>
                <c:pt idx="1575">
                  <c:v>10.2845637062</c:v>
                </c:pt>
                <c:pt idx="1576">
                  <c:v>10.2845637062</c:v>
                </c:pt>
                <c:pt idx="1577">
                  <c:v>10.223346065099999</c:v>
                </c:pt>
                <c:pt idx="1578">
                  <c:v>10.5416777989</c:v>
                </c:pt>
                <c:pt idx="1579">
                  <c:v>10.823278948</c:v>
                </c:pt>
                <c:pt idx="1580">
                  <c:v>11.1416106817</c:v>
                </c:pt>
                <c:pt idx="1581">
                  <c:v>11.325263605</c:v>
                </c:pt>
                <c:pt idx="1582">
                  <c:v>11.1783412664</c:v>
                </c:pt>
                <c:pt idx="1583">
                  <c:v>11.239558907499999</c:v>
                </c:pt>
                <c:pt idx="1584">
                  <c:v>10.9212271737</c:v>
                </c:pt>
                <c:pt idx="1585">
                  <c:v>10.749817778600001</c:v>
                </c:pt>
                <c:pt idx="1586">
                  <c:v>10.8110354197</c:v>
                </c:pt>
                <c:pt idx="1587">
                  <c:v>10.5416777989</c:v>
                </c:pt>
                <c:pt idx="1588">
                  <c:v>10.5416777989</c:v>
                </c:pt>
                <c:pt idx="1589" formatCode="#,##0">
                  <c:v>10.725330722200001</c:v>
                </c:pt>
                <c:pt idx="1590" formatCode="#,##0">
                  <c:v>10.553921327099999</c:v>
                </c:pt>
                <c:pt idx="1591" formatCode="#,##0">
                  <c:v>10.82327894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B503-435E-8B2F-0ACE9EC02A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81631999"/>
        <c:axId val="781629087"/>
      </c:lineChart>
      <c:catAx>
        <c:axId val="781631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781629087"/>
        <c:crosses val="autoZero"/>
        <c:auto val="1"/>
        <c:lblAlgn val="ctr"/>
        <c:lblOffset val="100"/>
        <c:noMultiLvlLbl val="0"/>
      </c:catAx>
      <c:valAx>
        <c:axId val="781629087"/>
        <c:scaling>
          <c:orientation val="minMax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781631999"/>
        <c:crosses val="autoZero"/>
        <c:crossBetween val="between"/>
      </c:valAx>
      <c:spPr>
        <a:noFill/>
        <a:ln cmpd="sng">
          <a:solidFill>
            <a:schemeClr val="bg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Overall!$K$1</c:f>
              <c:strCache>
                <c:ptCount val="1"/>
                <c:pt idx="0">
                  <c:v>P/S</c:v>
                </c:pt>
              </c:strCache>
            </c:strRef>
          </c:tx>
          <c:spPr>
            <a:ln w="28575" cap="rnd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364"/>
            <c:marker>
              <c:symbol val="none"/>
            </c:marker>
            <c:bubble3D val="0"/>
            <c:spPr>
              <a:ln w="6350" cap="rnd" cmpd="sng">
                <a:solidFill>
                  <a:srgbClr val="FF0000"/>
                </a:solidFill>
                <a:prstDash val="solid"/>
                <a:round/>
                <a:headEnd type="none"/>
              </a:ln>
              <a:effectLst/>
            </c:spPr>
            <c:extLst>
              <c:ext xmlns:c16="http://schemas.microsoft.com/office/drawing/2014/chart" uri="{C3380CC4-5D6E-409C-BE32-E72D297353CC}">
                <c16:uniqueId val="{00000001-ED4A-4C45-BEA5-BC7FEB91EC1E}"/>
              </c:ext>
            </c:extLst>
          </c:dPt>
          <c:dLbls>
            <c:dLbl>
              <c:idx val="69"/>
              <c:layout>
                <c:manualLayout>
                  <c:x val="-2.5628386615607474E-2"/>
                  <c:y val="3.505776954371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D4A-4C45-BEA5-BC7FEB91EC1E}"/>
                </c:ext>
              </c:extLst>
            </c:dLbl>
            <c:dLbl>
              <c:idx val="532"/>
              <c:layout>
                <c:manualLayout>
                  <c:x val="-3.257348150630112E-2"/>
                  <c:y val="-3.06474696745959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D4A-4C45-BEA5-BC7FEB91EC1E}"/>
                </c:ext>
              </c:extLst>
            </c:dLbl>
            <c:dLbl>
              <c:idx val="1047"/>
              <c:layout>
                <c:manualLayout>
                  <c:x val="-2.8318162357364902E-2"/>
                  <c:y val="3.48939206423055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D4A-4C45-BEA5-BC7FEB91EC1E}"/>
                </c:ext>
              </c:extLst>
            </c:dLbl>
            <c:dLbl>
              <c:idx val="1161"/>
              <c:layout>
                <c:manualLayout>
                  <c:x val="-2.4318288082841998E-2"/>
                  <c:y val="-3.09529555616835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D4A-4C45-BEA5-BC7FEB91EC1E}"/>
                </c:ext>
              </c:extLst>
            </c:dLbl>
            <c:dLbl>
              <c:idx val="146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5.1884895398857142E-2"/>
                      <c:h val="9.781033785671840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ED4A-4C45-BEA5-BC7FEB91EC1E}"/>
                </c:ext>
              </c:extLst>
            </c:dLbl>
            <c:dLbl>
              <c:idx val="155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217432118485593E-2"/>
                      <c:h val="7.239291652095586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ED4A-4C45-BEA5-BC7FEB91EC1E}"/>
                </c:ext>
              </c:extLst>
            </c:dLbl>
            <c:dLbl>
              <c:idx val="1556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D4A-4C45-BEA5-BC7FEB91EC1E}"/>
                </c:ext>
              </c:extLst>
            </c:dLbl>
            <c:dLbl>
              <c:idx val="1581"/>
              <c:layout>
                <c:manualLayout>
                  <c:x val="-9.3223541174507034E-3"/>
                  <c:y val="-2.71509938840643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D4A-4C45-BEA5-BC7FEB91EC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verall!$A$2:$A$1593</c:f>
              <c:strCache>
                <c:ptCount val="1592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14</c:v>
                </c:pt>
                <c:pt idx="5">
                  <c:v>1397-01-15</c:v>
                </c:pt>
                <c:pt idx="6">
                  <c:v>1397-01-18</c:v>
                </c:pt>
                <c:pt idx="7">
                  <c:v>1397-01-19</c:v>
                </c:pt>
                <c:pt idx="8">
                  <c:v>1397-01-20</c:v>
                </c:pt>
                <c:pt idx="9">
                  <c:v>1397-01-21</c:v>
                </c:pt>
                <c:pt idx="10">
                  <c:v>1397-01-22</c:v>
                </c:pt>
                <c:pt idx="11">
                  <c:v>1397-01-26</c:v>
                </c:pt>
                <c:pt idx="12">
                  <c:v>1397-01-27</c:v>
                </c:pt>
                <c:pt idx="13">
                  <c:v>1397-01-28</c:v>
                </c:pt>
                <c:pt idx="14">
                  <c:v>1397-01-29</c:v>
                </c:pt>
                <c:pt idx="15">
                  <c:v>1397-02-01</c:v>
                </c:pt>
                <c:pt idx="16">
                  <c:v>1397-02-02</c:v>
                </c:pt>
                <c:pt idx="17">
                  <c:v>1397-02-03</c:v>
                </c:pt>
                <c:pt idx="18">
                  <c:v>1397-02-04</c:v>
                </c:pt>
                <c:pt idx="19">
                  <c:v>1397-02-05</c:v>
                </c:pt>
                <c:pt idx="20">
                  <c:v>1397-02-08</c:v>
                </c:pt>
                <c:pt idx="21">
                  <c:v>1397-02-09</c:v>
                </c:pt>
                <c:pt idx="22">
                  <c:v>1397-02-10</c:v>
                </c:pt>
                <c:pt idx="23">
                  <c:v>1397-02-11</c:v>
                </c:pt>
                <c:pt idx="24">
                  <c:v>1397-02-15</c:v>
                </c:pt>
                <c:pt idx="25">
                  <c:v>1397-02-16</c:v>
                </c:pt>
                <c:pt idx="26">
                  <c:v>1397-02-17</c:v>
                </c:pt>
                <c:pt idx="27">
                  <c:v>1397-02-18</c:v>
                </c:pt>
                <c:pt idx="28">
                  <c:v>1397-02-19</c:v>
                </c:pt>
                <c:pt idx="29">
                  <c:v>1397-02-22</c:v>
                </c:pt>
                <c:pt idx="30">
                  <c:v>1397-02-23</c:v>
                </c:pt>
                <c:pt idx="31">
                  <c:v>1397-02-24</c:v>
                </c:pt>
                <c:pt idx="32">
                  <c:v>1397-02-25</c:v>
                </c:pt>
                <c:pt idx="33">
                  <c:v>1397-02-26</c:v>
                </c:pt>
                <c:pt idx="34">
                  <c:v>1397-02-29</c:v>
                </c:pt>
                <c:pt idx="35">
                  <c:v>1397-02-30</c:v>
                </c:pt>
                <c:pt idx="36">
                  <c:v>1397-02-31</c:v>
                </c:pt>
                <c:pt idx="37">
                  <c:v>1397-03-01</c:v>
                </c:pt>
                <c:pt idx="38">
                  <c:v>1397-03-02</c:v>
                </c:pt>
                <c:pt idx="39">
                  <c:v>1397-03-05</c:v>
                </c:pt>
                <c:pt idx="40">
                  <c:v>1397-03-06</c:v>
                </c:pt>
                <c:pt idx="41">
                  <c:v>1397-03-07</c:v>
                </c:pt>
                <c:pt idx="42">
                  <c:v>1397-03-08</c:v>
                </c:pt>
                <c:pt idx="43">
                  <c:v>1397-03-09</c:v>
                </c:pt>
                <c:pt idx="44">
                  <c:v>1397-03-12</c:v>
                </c:pt>
                <c:pt idx="45">
                  <c:v>1397-03-13</c:v>
                </c:pt>
                <c:pt idx="46">
                  <c:v>1397-03-19</c:v>
                </c:pt>
                <c:pt idx="47">
                  <c:v>1397-03-20</c:v>
                </c:pt>
                <c:pt idx="48">
                  <c:v>1397-03-21</c:v>
                </c:pt>
                <c:pt idx="49">
                  <c:v>1397-03-22</c:v>
                </c:pt>
                <c:pt idx="50">
                  <c:v>1397-03-23</c:v>
                </c:pt>
                <c:pt idx="51">
                  <c:v>1397-03-29</c:v>
                </c:pt>
                <c:pt idx="52">
                  <c:v>1397-03-30</c:v>
                </c:pt>
                <c:pt idx="53">
                  <c:v>1397-04-02</c:v>
                </c:pt>
                <c:pt idx="54">
                  <c:v>1397-04-03</c:v>
                </c:pt>
                <c:pt idx="55">
                  <c:v>1397-04-04</c:v>
                </c:pt>
                <c:pt idx="56">
                  <c:v>1397-04-05</c:v>
                </c:pt>
                <c:pt idx="57">
                  <c:v>1397-04-06</c:v>
                </c:pt>
                <c:pt idx="58">
                  <c:v>1397-04-09</c:v>
                </c:pt>
                <c:pt idx="59">
                  <c:v>1397-04-10</c:v>
                </c:pt>
                <c:pt idx="60">
                  <c:v>1397-04-11</c:v>
                </c:pt>
                <c:pt idx="61">
                  <c:v>1397-04-12</c:v>
                </c:pt>
                <c:pt idx="62">
                  <c:v>1397-04-13</c:v>
                </c:pt>
                <c:pt idx="63">
                  <c:v>1397-04-20</c:v>
                </c:pt>
                <c:pt idx="64">
                  <c:v>1397-04-23</c:v>
                </c:pt>
                <c:pt idx="65">
                  <c:v>1397-04-24</c:v>
                </c:pt>
                <c:pt idx="66">
                  <c:v>1397-04-25</c:v>
                </c:pt>
                <c:pt idx="67">
                  <c:v>1397-04-26</c:v>
                </c:pt>
                <c:pt idx="68">
                  <c:v>1397-04-27</c:v>
                </c:pt>
                <c:pt idx="69">
                  <c:v>1397-04-30</c:v>
                </c:pt>
                <c:pt idx="70">
                  <c:v>1397-04-31</c:v>
                </c:pt>
                <c:pt idx="71">
                  <c:v>1397-05-01</c:v>
                </c:pt>
                <c:pt idx="72">
                  <c:v>1397-05-02</c:v>
                </c:pt>
                <c:pt idx="73">
                  <c:v>1397-05-03</c:v>
                </c:pt>
                <c:pt idx="74">
                  <c:v>1397-05-06</c:v>
                </c:pt>
                <c:pt idx="75">
                  <c:v>1397-05-07</c:v>
                </c:pt>
                <c:pt idx="76">
                  <c:v>1397-05-08</c:v>
                </c:pt>
                <c:pt idx="77">
                  <c:v>1397-05-09</c:v>
                </c:pt>
                <c:pt idx="78">
                  <c:v>1397-05-10</c:v>
                </c:pt>
                <c:pt idx="79">
                  <c:v>1397-05-13</c:v>
                </c:pt>
                <c:pt idx="80">
                  <c:v>1397-05-14</c:v>
                </c:pt>
                <c:pt idx="81">
                  <c:v>1397-05-15</c:v>
                </c:pt>
                <c:pt idx="82">
                  <c:v>1397-05-16</c:v>
                </c:pt>
                <c:pt idx="83">
                  <c:v>1397-05-21</c:v>
                </c:pt>
                <c:pt idx="84">
                  <c:v>1397-05-22</c:v>
                </c:pt>
                <c:pt idx="85">
                  <c:v>1397-05-23</c:v>
                </c:pt>
                <c:pt idx="86">
                  <c:v>1397-05-24</c:v>
                </c:pt>
                <c:pt idx="87">
                  <c:v>1397-05-27</c:v>
                </c:pt>
                <c:pt idx="88">
                  <c:v>1397-05-28</c:v>
                </c:pt>
                <c:pt idx="89">
                  <c:v>1397-05-29</c:v>
                </c:pt>
                <c:pt idx="90">
                  <c:v>1397-05-30</c:v>
                </c:pt>
                <c:pt idx="91">
                  <c:v>1397-06-03</c:v>
                </c:pt>
                <c:pt idx="92">
                  <c:v>1397-06-04</c:v>
                </c:pt>
                <c:pt idx="93">
                  <c:v>1397-06-05</c:v>
                </c:pt>
                <c:pt idx="94">
                  <c:v>1397-06-06</c:v>
                </c:pt>
                <c:pt idx="95">
                  <c:v>1397-06-07</c:v>
                </c:pt>
                <c:pt idx="96">
                  <c:v>1397-06-10</c:v>
                </c:pt>
                <c:pt idx="97">
                  <c:v>1397-06-11</c:v>
                </c:pt>
                <c:pt idx="98">
                  <c:v>1397-06-12</c:v>
                </c:pt>
                <c:pt idx="99">
                  <c:v>1397-06-13</c:v>
                </c:pt>
                <c:pt idx="100">
                  <c:v>1397-06-14</c:v>
                </c:pt>
                <c:pt idx="101">
                  <c:v>1397-06-17</c:v>
                </c:pt>
                <c:pt idx="102">
                  <c:v>1397-06-18</c:v>
                </c:pt>
                <c:pt idx="103">
                  <c:v>1397-06-19</c:v>
                </c:pt>
                <c:pt idx="104">
                  <c:v>1397-06-20</c:v>
                </c:pt>
                <c:pt idx="105">
                  <c:v>1397-06-21</c:v>
                </c:pt>
                <c:pt idx="106">
                  <c:v>1397-06-24</c:v>
                </c:pt>
                <c:pt idx="107">
                  <c:v>1397-06-25</c:v>
                </c:pt>
                <c:pt idx="108">
                  <c:v>1397-06-26</c:v>
                </c:pt>
                <c:pt idx="109">
                  <c:v>1397-06-27</c:v>
                </c:pt>
                <c:pt idx="110">
                  <c:v>1397-06-31</c:v>
                </c:pt>
                <c:pt idx="111">
                  <c:v>1397-07-01</c:v>
                </c:pt>
                <c:pt idx="112">
                  <c:v>1397-07-02</c:v>
                </c:pt>
                <c:pt idx="113">
                  <c:v>1397-07-03</c:v>
                </c:pt>
                <c:pt idx="114">
                  <c:v>1397-07-04</c:v>
                </c:pt>
                <c:pt idx="115">
                  <c:v>1397-07-07</c:v>
                </c:pt>
                <c:pt idx="116">
                  <c:v>1397-07-08</c:v>
                </c:pt>
                <c:pt idx="117">
                  <c:v>1397-07-09</c:v>
                </c:pt>
                <c:pt idx="118">
                  <c:v>1397-07-10</c:v>
                </c:pt>
                <c:pt idx="119">
                  <c:v>1397-07-11</c:v>
                </c:pt>
                <c:pt idx="120">
                  <c:v>1397-07-14</c:v>
                </c:pt>
                <c:pt idx="121">
                  <c:v>1397-07-15</c:v>
                </c:pt>
                <c:pt idx="122">
                  <c:v>1397-07-16</c:v>
                </c:pt>
                <c:pt idx="123">
                  <c:v>1397-07-17</c:v>
                </c:pt>
                <c:pt idx="124">
                  <c:v>1397-07-18</c:v>
                </c:pt>
                <c:pt idx="125">
                  <c:v>1397-07-21</c:v>
                </c:pt>
                <c:pt idx="126">
                  <c:v>1397-07-22</c:v>
                </c:pt>
                <c:pt idx="127">
                  <c:v>1397-07-23</c:v>
                </c:pt>
                <c:pt idx="128">
                  <c:v>1397-07-24</c:v>
                </c:pt>
                <c:pt idx="129">
                  <c:v>1397-07-25</c:v>
                </c:pt>
                <c:pt idx="130">
                  <c:v>1397-07-28</c:v>
                </c:pt>
                <c:pt idx="131">
                  <c:v>1397-07-29</c:v>
                </c:pt>
                <c:pt idx="132">
                  <c:v>1397-07-30</c:v>
                </c:pt>
                <c:pt idx="133">
                  <c:v>1397-08-01</c:v>
                </c:pt>
                <c:pt idx="134">
                  <c:v>1397-08-02</c:v>
                </c:pt>
                <c:pt idx="135">
                  <c:v>1397-08-05</c:v>
                </c:pt>
                <c:pt idx="136">
                  <c:v>1397-08-06</c:v>
                </c:pt>
                <c:pt idx="137">
                  <c:v>1397-08-07</c:v>
                </c:pt>
                <c:pt idx="138">
                  <c:v>1397-08-09</c:v>
                </c:pt>
                <c:pt idx="139">
                  <c:v>1397-08-12</c:v>
                </c:pt>
                <c:pt idx="140">
                  <c:v>1397-08-13</c:v>
                </c:pt>
                <c:pt idx="141">
                  <c:v>1397-08-14</c:v>
                </c:pt>
                <c:pt idx="142">
                  <c:v>1397-08-15</c:v>
                </c:pt>
                <c:pt idx="143">
                  <c:v>1397-08-19</c:v>
                </c:pt>
                <c:pt idx="144">
                  <c:v>1397-08-20</c:v>
                </c:pt>
                <c:pt idx="145">
                  <c:v>1397-08-21</c:v>
                </c:pt>
                <c:pt idx="146">
                  <c:v>1397-08-22</c:v>
                </c:pt>
                <c:pt idx="147">
                  <c:v>1397-08-23</c:v>
                </c:pt>
                <c:pt idx="148">
                  <c:v>1397-08-26</c:v>
                </c:pt>
                <c:pt idx="149">
                  <c:v>1397-08-27</c:v>
                </c:pt>
                <c:pt idx="150">
                  <c:v>1397-08-28</c:v>
                </c:pt>
                <c:pt idx="151">
                  <c:v>1397-08-29</c:v>
                </c:pt>
                <c:pt idx="152">
                  <c:v>1397-08-30</c:v>
                </c:pt>
                <c:pt idx="153">
                  <c:v>1397-09-03</c:v>
                </c:pt>
                <c:pt idx="154">
                  <c:v>1397-09-05</c:v>
                </c:pt>
                <c:pt idx="155">
                  <c:v>1397-09-06</c:v>
                </c:pt>
                <c:pt idx="156">
                  <c:v>1397-09-07</c:v>
                </c:pt>
                <c:pt idx="157">
                  <c:v>1397-09-10</c:v>
                </c:pt>
                <c:pt idx="158">
                  <c:v>1397-09-11</c:v>
                </c:pt>
                <c:pt idx="159">
                  <c:v>1397-09-12</c:v>
                </c:pt>
                <c:pt idx="160">
                  <c:v>1397-09-13</c:v>
                </c:pt>
                <c:pt idx="161">
                  <c:v>1397-09-14</c:v>
                </c:pt>
                <c:pt idx="162">
                  <c:v>1397-09-17</c:v>
                </c:pt>
                <c:pt idx="163">
                  <c:v>1397-09-18</c:v>
                </c:pt>
                <c:pt idx="164">
                  <c:v>1397-09-19</c:v>
                </c:pt>
                <c:pt idx="165">
                  <c:v>1397-09-20</c:v>
                </c:pt>
                <c:pt idx="166">
                  <c:v>1397-09-21</c:v>
                </c:pt>
                <c:pt idx="167">
                  <c:v>1397-09-24</c:v>
                </c:pt>
                <c:pt idx="168">
                  <c:v>1397-09-25</c:v>
                </c:pt>
                <c:pt idx="169">
                  <c:v>1397-09-26</c:v>
                </c:pt>
                <c:pt idx="170">
                  <c:v>1397-10-03</c:v>
                </c:pt>
                <c:pt idx="171">
                  <c:v>1397-10-04</c:v>
                </c:pt>
                <c:pt idx="172">
                  <c:v>1397-10-05</c:v>
                </c:pt>
                <c:pt idx="173">
                  <c:v>1397-10-08</c:v>
                </c:pt>
                <c:pt idx="174">
                  <c:v>1397-10-09</c:v>
                </c:pt>
                <c:pt idx="175">
                  <c:v>1397-10-10</c:v>
                </c:pt>
                <c:pt idx="176">
                  <c:v>1397-10-11</c:v>
                </c:pt>
                <c:pt idx="177">
                  <c:v>1397-10-12</c:v>
                </c:pt>
                <c:pt idx="178">
                  <c:v>1397-10-15</c:v>
                </c:pt>
                <c:pt idx="179">
                  <c:v>1397-10-16</c:v>
                </c:pt>
                <c:pt idx="180">
                  <c:v>1397-10-17</c:v>
                </c:pt>
                <c:pt idx="181">
                  <c:v>1397-10-18</c:v>
                </c:pt>
                <c:pt idx="182">
                  <c:v>1397-10-19</c:v>
                </c:pt>
                <c:pt idx="183">
                  <c:v>1397-10-22</c:v>
                </c:pt>
                <c:pt idx="184">
                  <c:v>1397-10-23</c:v>
                </c:pt>
                <c:pt idx="185">
                  <c:v>1397-10-24</c:v>
                </c:pt>
                <c:pt idx="186">
                  <c:v>1397-10-25</c:v>
                </c:pt>
                <c:pt idx="187">
                  <c:v>1397-10-26</c:v>
                </c:pt>
                <c:pt idx="188">
                  <c:v>1397-10-29</c:v>
                </c:pt>
                <c:pt idx="189">
                  <c:v>1397-10-30</c:v>
                </c:pt>
                <c:pt idx="190">
                  <c:v>1397-11-01</c:v>
                </c:pt>
                <c:pt idx="191">
                  <c:v>1397-11-02</c:v>
                </c:pt>
                <c:pt idx="192">
                  <c:v>1397-11-03</c:v>
                </c:pt>
                <c:pt idx="193">
                  <c:v>1397-11-06</c:v>
                </c:pt>
                <c:pt idx="194">
                  <c:v>1397-11-07</c:v>
                </c:pt>
                <c:pt idx="195">
                  <c:v>1397-11-08</c:v>
                </c:pt>
                <c:pt idx="196">
                  <c:v>1397-11-09</c:v>
                </c:pt>
                <c:pt idx="197">
                  <c:v>1397-11-10</c:v>
                </c:pt>
                <c:pt idx="198">
                  <c:v>1397-11-13</c:v>
                </c:pt>
                <c:pt idx="199">
                  <c:v>1397-11-14</c:v>
                </c:pt>
                <c:pt idx="200">
                  <c:v>1397-11-15</c:v>
                </c:pt>
                <c:pt idx="201">
                  <c:v>1397-11-16</c:v>
                </c:pt>
                <c:pt idx="202">
                  <c:v>1397-11-17</c:v>
                </c:pt>
                <c:pt idx="203">
                  <c:v>1397-11-21</c:v>
                </c:pt>
                <c:pt idx="204">
                  <c:v>1397-11-23</c:v>
                </c:pt>
                <c:pt idx="205">
                  <c:v>1397-11-24</c:v>
                </c:pt>
                <c:pt idx="206">
                  <c:v>1397-11-27</c:v>
                </c:pt>
                <c:pt idx="207">
                  <c:v>1397-11-28</c:v>
                </c:pt>
                <c:pt idx="208">
                  <c:v>1397-11-29</c:v>
                </c:pt>
                <c:pt idx="209">
                  <c:v>1397-11-30</c:v>
                </c:pt>
                <c:pt idx="210">
                  <c:v>1397-12-01</c:v>
                </c:pt>
                <c:pt idx="211">
                  <c:v>1397-12-04</c:v>
                </c:pt>
                <c:pt idx="212">
                  <c:v>1397-12-05</c:v>
                </c:pt>
                <c:pt idx="213">
                  <c:v>1397-12-06</c:v>
                </c:pt>
                <c:pt idx="214">
                  <c:v>1397-12-07</c:v>
                </c:pt>
                <c:pt idx="215">
                  <c:v>1397-12-08</c:v>
                </c:pt>
                <c:pt idx="216">
                  <c:v>1397-12-11</c:v>
                </c:pt>
                <c:pt idx="217">
                  <c:v>1397-12-12</c:v>
                </c:pt>
                <c:pt idx="218">
                  <c:v>1397-12-13</c:v>
                </c:pt>
                <c:pt idx="219">
                  <c:v>1397-12-14</c:v>
                </c:pt>
                <c:pt idx="220">
                  <c:v>1397-12-15</c:v>
                </c:pt>
                <c:pt idx="221">
                  <c:v>1397-12-18</c:v>
                </c:pt>
                <c:pt idx="222">
                  <c:v>1397-12-19</c:v>
                </c:pt>
                <c:pt idx="223">
                  <c:v>1397-12-20</c:v>
                </c:pt>
                <c:pt idx="224">
                  <c:v>1397-12-21</c:v>
                </c:pt>
                <c:pt idx="225">
                  <c:v>1397-12-22</c:v>
                </c:pt>
                <c:pt idx="226">
                  <c:v>1397-12-25</c:v>
                </c:pt>
                <c:pt idx="227">
                  <c:v>1397-12-26</c:v>
                </c:pt>
                <c:pt idx="228">
                  <c:v>1397-12-27</c:v>
                </c:pt>
                <c:pt idx="229">
                  <c:v>1397-12-28</c:v>
                </c:pt>
                <c:pt idx="230">
                  <c:v>1398-01-05</c:v>
                </c:pt>
                <c:pt idx="231">
                  <c:v>1398-01-06</c:v>
                </c:pt>
                <c:pt idx="232">
                  <c:v>1398-01-07</c:v>
                </c:pt>
                <c:pt idx="233">
                  <c:v>1398-01-10</c:v>
                </c:pt>
                <c:pt idx="234">
                  <c:v>1398-01-11</c:v>
                </c:pt>
                <c:pt idx="235">
                  <c:v>1398-01-17</c:v>
                </c:pt>
                <c:pt idx="236">
                  <c:v>1398-01-18</c:v>
                </c:pt>
                <c:pt idx="237">
                  <c:v>1398-01-19</c:v>
                </c:pt>
                <c:pt idx="238">
                  <c:v>1398-01-20</c:v>
                </c:pt>
                <c:pt idx="239">
                  <c:v>1398-01-21</c:v>
                </c:pt>
                <c:pt idx="240">
                  <c:v>1398-01-24</c:v>
                </c:pt>
                <c:pt idx="241">
                  <c:v>1398-01-25</c:v>
                </c:pt>
                <c:pt idx="242">
                  <c:v>1398-01-26</c:v>
                </c:pt>
                <c:pt idx="243">
                  <c:v>1398-01-27</c:v>
                </c:pt>
                <c:pt idx="244">
                  <c:v>1398-01-28</c:v>
                </c:pt>
                <c:pt idx="245">
                  <c:v>1398-01-31</c:v>
                </c:pt>
                <c:pt idx="246">
                  <c:v>1398-02-02</c:v>
                </c:pt>
                <c:pt idx="247">
                  <c:v>1398-02-03</c:v>
                </c:pt>
                <c:pt idx="248">
                  <c:v>1398-02-04</c:v>
                </c:pt>
                <c:pt idx="249">
                  <c:v>1398-02-07</c:v>
                </c:pt>
                <c:pt idx="250">
                  <c:v>1398-02-08</c:v>
                </c:pt>
                <c:pt idx="251">
                  <c:v>1398-02-09</c:v>
                </c:pt>
                <c:pt idx="252">
                  <c:v>1398-02-10</c:v>
                </c:pt>
                <c:pt idx="253">
                  <c:v>1398-02-11</c:v>
                </c:pt>
                <c:pt idx="254">
                  <c:v>1398-02-14</c:v>
                </c:pt>
                <c:pt idx="255">
                  <c:v>1398-02-15</c:v>
                </c:pt>
                <c:pt idx="256">
                  <c:v>1398-02-16</c:v>
                </c:pt>
                <c:pt idx="257">
                  <c:v>1398-02-17</c:v>
                </c:pt>
                <c:pt idx="258">
                  <c:v>1398-02-18</c:v>
                </c:pt>
                <c:pt idx="259">
                  <c:v>1398-02-21</c:v>
                </c:pt>
                <c:pt idx="260">
                  <c:v>1398-02-22</c:v>
                </c:pt>
                <c:pt idx="261">
                  <c:v>1398-02-23</c:v>
                </c:pt>
                <c:pt idx="262">
                  <c:v>1398-02-24</c:v>
                </c:pt>
                <c:pt idx="263">
                  <c:v>1398-02-25</c:v>
                </c:pt>
                <c:pt idx="264">
                  <c:v>1398-02-28</c:v>
                </c:pt>
                <c:pt idx="265">
                  <c:v>1398-02-29</c:v>
                </c:pt>
                <c:pt idx="266">
                  <c:v>1398-02-30</c:v>
                </c:pt>
                <c:pt idx="267">
                  <c:v>1398-02-31</c:v>
                </c:pt>
                <c:pt idx="268">
                  <c:v>1398-03-01</c:v>
                </c:pt>
                <c:pt idx="269">
                  <c:v>1398-03-04</c:v>
                </c:pt>
                <c:pt idx="270">
                  <c:v>1398-03-05</c:v>
                </c:pt>
                <c:pt idx="271">
                  <c:v>1398-03-07</c:v>
                </c:pt>
                <c:pt idx="272">
                  <c:v>1398-03-08</c:v>
                </c:pt>
                <c:pt idx="273">
                  <c:v>1398-03-11</c:v>
                </c:pt>
                <c:pt idx="274">
                  <c:v>1398-03-12</c:v>
                </c:pt>
                <c:pt idx="275">
                  <c:v>1398-03-13</c:v>
                </c:pt>
                <c:pt idx="276">
                  <c:v>1398-03-18</c:v>
                </c:pt>
                <c:pt idx="277">
                  <c:v>1398-03-19</c:v>
                </c:pt>
                <c:pt idx="278">
                  <c:v>1398-03-20</c:v>
                </c:pt>
                <c:pt idx="279">
                  <c:v>1398-03-21</c:v>
                </c:pt>
                <c:pt idx="280">
                  <c:v>1398-03-22</c:v>
                </c:pt>
                <c:pt idx="281">
                  <c:v>1398-03-25</c:v>
                </c:pt>
                <c:pt idx="282">
                  <c:v>1398-03-26</c:v>
                </c:pt>
                <c:pt idx="283">
                  <c:v>1398-03-27</c:v>
                </c:pt>
                <c:pt idx="284">
                  <c:v>1398-03-28</c:v>
                </c:pt>
                <c:pt idx="285">
                  <c:v>1398-03-29</c:v>
                </c:pt>
                <c:pt idx="286">
                  <c:v>1398-04-01</c:v>
                </c:pt>
                <c:pt idx="287">
                  <c:v>1398-04-02</c:v>
                </c:pt>
                <c:pt idx="288">
                  <c:v>1398-04-03</c:v>
                </c:pt>
                <c:pt idx="289">
                  <c:v>1398-04-04</c:v>
                </c:pt>
                <c:pt idx="290">
                  <c:v>1398-04-05</c:v>
                </c:pt>
                <c:pt idx="291">
                  <c:v>1398-04-09</c:v>
                </c:pt>
                <c:pt idx="292">
                  <c:v>1398-04-10</c:v>
                </c:pt>
                <c:pt idx="293">
                  <c:v>1398-04-11</c:v>
                </c:pt>
                <c:pt idx="294">
                  <c:v>1398-04-12</c:v>
                </c:pt>
                <c:pt idx="295">
                  <c:v>1398-04-15</c:v>
                </c:pt>
                <c:pt idx="296">
                  <c:v>1398-04-16</c:v>
                </c:pt>
                <c:pt idx="297">
                  <c:v>1398-04-17</c:v>
                </c:pt>
                <c:pt idx="298">
                  <c:v>1398-04-18</c:v>
                </c:pt>
                <c:pt idx="299">
                  <c:v>1398-04-19</c:v>
                </c:pt>
                <c:pt idx="300">
                  <c:v>1398-04-22</c:v>
                </c:pt>
                <c:pt idx="301">
                  <c:v>1398-04-29</c:v>
                </c:pt>
                <c:pt idx="302">
                  <c:v>1398-04-30</c:v>
                </c:pt>
                <c:pt idx="303">
                  <c:v>1398-04-31</c:v>
                </c:pt>
                <c:pt idx="304">
                  <c:v>1398-05-01</c:v>
                </c:pt>
                <c:pt idx="305">
                  <c:v>1398-05-02</c:v>
                </c:pt>
                <c:pt idx="306">
                  <c:v>1398-05-05</c:v>
                </c:pt>
                <c:pt idx="307">
                  <c:v>1398-05-06</c:v>
                </c:pt>
                <c:pt idx="308">
                  <c:v>1398-05-07</c:v>
                </c:pt>
                <c:pt idx="309">
                  <c:v>1398-05-08</c:v>
                </c:pt>
                <c:pt idx="310">
                  <c:v>1398-05-09</c:v>
                </c:pt>
                <c:pt idx="311">
                  <c:v>1398-05-12</c:v>
                </c:pt>
                <c:pt idx="312">
                  <c:v>1398-05-13</c:v>
                </c:pt>
                <c:pt idx="313">
                  <c:v>1398-05-14</c:v>
                </c:pt>
                <c:pt idx="314">
                  <c:v>1398-05-15</c:v>
                </c:pt>
                <c:pt idx="315">
                  <c:v>1398-05-16</c:v>
                </c:pt>
                <c:pt idx="316">
                  <c:v>1398-05-19</c:v>
                </c:pt>
                <c:pt idx="317">
                  <c:v>1398-05-20</c:v>
                </c:pt>
                <c:pt idx="318">
                  <c:v>1398-05-22</c:v>
                </c:pt>
                <c:pt idx="319">
                  <c:v>1398-05-23</c:v>
                </c:pt>
                <c:pt idx="320">
                  <c:v>1398-05-26</c:v>
                </c:pt>
                <c:pt idx="321">
                  <c:v>1398-05-27</c:v>
                </c:pt>
                <c:pt idx="322">
                  <c:v>1398-05-28</c:v>
                </c:pt>
                <c:pt idx="323">
                  <c:v>1398-05-30</c:v>
                </c:pt>
                <c:pt idx="324">
                  <c:v>1398-06-02</c:v>
                </c:pt>
                <c:pt idx="325">
                  <c:v>1398-06-03</c:v>
                </c:pt>
                <c:pt idx="326">
                  <c:v>1398-06-04</c:v>
                </c:pt>
                <c:pt idx="327">
                  <c:v>1398-06-05</c:v>
                </c:pt>
                <c:pt idx="328">
                  <c:v>1398-06-06</c:v>
                </c:pt>
                <c:pt idx="329">
                  <c:v>1398-06-09</c:v>
                </c:pt>
                <c:pt idx="330">
                  <c:v>1398-06-10</c:v>
                </c:pt>
                <c:pt idx="331">
                  <c:v>1398-06-11</c:v>
                </c:pt>
                <c:pt idx="332">
                  <c:v>1398-06-12</c:v>
                </c:pt>
                <c:pt idx="333">
                  <c:v>1398-06-13</c:v>
                </c:pt>
                <c:pt idx="334">
                  <c:v>1398-06-16</c:v>
                </c:pt>
                <c:pt idx="335">
                  <c:v>1398-06-17</c:v>
                </c:pt>
                <c:pt idx="336">
                  <c:v>1398-06-20</c:v>
                </c:pt>
                <c:pt idx="337">
                  <c:v>1398-06-23</c:v>
                </c:pt>
                <c:pt idx="338">
                  <c:v>1398-06-24</c:v>
                </c:pt>
                <c:pt idx="339">
                  <c:v>1398-06-25</c:v>
                </c:pt>
                <c:pt idx="340">
                  <c:v>1398-06-26</c:v>
                </c:pt>
                <c:pt idx="341">
                  <c:v>1398-06-27</c:v>
                </c:pt>
                <c:pt idx="342">
                  <c:v>1398-06-30</c:v>
                </c:pt>
                <c:pt idx="343">
                  <c:v>1398-06-31</c:v>
                </c:pt>
                <c:pt idx="344">
                  <c:v>1398-07-01</c:v>
                </c:pt>
                <c:pt idx="345">
                  <c:v>1398-07-02</c:v>
                </c:pt>
                <c:pt idx="346">
                  <c:v>1398-07-03</c:v>
                </c:pt>
                <c:pt idx="347">
                  <c:v>1398-07-06</c:v>
                </c:pt>
                <c:pt idx="348">
                  <c:v>1398-07-07</c:v>
                </c:pt>
                <c:pt idx="349">
                  <c:v>1398-07-08</c:v>
                </c:pt>
                <c:pt idx="350">
                  <c:v>1398-07-09</c:v>
                </c:pt>
                <c:pt idx="351">
                  <c:v>1398-07-10</c:v>
                </c:pt>
                <c:pt idx="352">
                  <c:v>1398-07-13</c:v>
                </c:pt>
                <c:pt idx="353">
                  <c:v>1398-07-14</c:v>
                </c:pt>
                <c:pt idx="354">
                  <c:v>1398-07-15</c:v>
                </c:pt>
                <c:pt idx="355">
                  <c:v>1398-07-16</c:v>
                </c:pt>
                <c:pt idx="356">
                  <c:v>1398-07-17</c:v>
                </c:pt>
                <c:pt idx="357">
                  <c:v>1398-07-20</c:v>
                </c:pt>
                <c:pt idx="358">
                  <c:v>1398-07-21</c:v>
                </c:pt>
                <c:pt idx="359">
                  <c:v>1398-07-22</c:v>
                </c:pt>
                <c:pt idx="360">
                  <c:v>1398-07-23</c:v>
                </c:pt>
                <c:pt idx="361">
                  <c:v>1398-07-24</c:v>
                </c:pt>
                <c:pt idx="362">
                  <c:v>1398-07-28</c:v>
                </c:pt>
                <c:pt idx="363">
                  <c:v>1398-07-29</c:v>
                </c:pt>
                <c:pt idx="364">
                  <c:v>1398-07-30</c:v>
                </c:pt>
                <c:pt idx="365">
                  <c:v>1398-08-01</c:v>
                </c:pt>
                <c:pt idx="366">
                  <c:v>1398-08-04</c:v>
                </c:pt>
                <c:pt idx="367">
                  <c:v>1398-08-06</c:v>
                </c:pt>
                <c:pt idx="368">
                  <c:v>1398-08-08</c:v>
                </c:pt>
                <c:pt idx="369">
                  <c:v>1398-08-11</c:v>
                </c:pt>
                <c:pt idx="370">
                  <c:v>1398-08-12</c:v>
                </c:pt>
                <c:pt idx="371">
                  <c:v>1398-08-13</c:v>
                </c:pt>
                <c:pt idx="372">
                  <c:v>1398-08-14</c:v>
                </c:pt>
                <c:pt idx="373">
                  <c:v>1398-08-18</c:v>
                </c:pt>
                <c:pt idx="374">
                  <c:v>1398-08-19</c:v>
                </c:pt>
                <c:pt idx="375">
                  <c:v>1398-08-20</c:v>
                </c:pt>
                <c:pt idx="376">
                  <c:v>1398-08-21</c:v>
                </c:pt>
                <c:pt idx="377">
                  <c:v>1398-08-22</c:v>
                </c:pt>
                <c:pt idx="378">
                  <c:v>1398-08-25</c:v>
                </c:pt>
                <c:pt idx="379">
                  <c:v>1398-08-26</c:v>
                </c:pt>
                <c:pt idx="380">
                  <c:v>1398-08-27</c:v>
                </c:pt>
                <c:pt idx="381">
                  <c:v>1398-08-28</c:v>
                </c:pt>
                <c:pt idx="382">
                  <c:v>1398-08-29</c:v>
                </c:pt>
                <c:pt idx="383">
                  <c:v>1398-09-02</c:v>
                </c:pt>
                <c:pt idx="384">
                  <c:v>1398-09-03</c:v>
                </c:pt>
                <c:pt idx="385">
                  <c:v>1398-09-04</c:v>
                </c:pt>
                <c:pt idx="386">
                  <c:v>1398-09-05</c:v>
                </c:pt>
                <c:pt idx="387">
                  <c:v>1398-09-06</c:v>
                </c:pt>
                <c:pt idx="388">
                  <c:v>1398-09-09</c:v>
                </c:pt>
                <c:pt idx="389">
                  <c:v>1398-09-10</c:v>
                </c:pt>
                <c:pt idx="390">
                  <c:v>1398-09-11</c:v>
                </c:pt>
                <c:pt idx="391">
                  <c:v>1398-09-12</c:v>
                </c:pt>
                <c:pt idx="392">
                  <c:v>1398-09-13</c:v>
                </c:pt>
                <c:pt idx="393">
                  <c:v>1398-09-16</c:v>
                </c:pt>
                <c:pt idx="394">
                  <c:v>1398-09-17</c:v>
                </c:pt>
                <c:pt idx="395">
                  <c:v>1398-09-18</c:v>
                </c:pt>
                <c:pt idx="396">
                  <c:v>1398-09-19</c:v>
                </c:pt>
                <c:pt idx="397">
                  <c:v>1398-09-20</c:v>
                </c:pt>
                <c:pt idx="398">
                  <c:v>1398-09-23</c:v>
                </c:pt>
                <c:pt idx="399">
                  <c:v>1398-09-24</c:v>
                </c:pt>
                <c:pt idx="400">
                  <c:v>1398-09-25</c:v>
                </c:pt>
                <c:pt idx="401">
                  <c:v>1398-09-26</c:v>
                </c:pt>
                <c:pt idx="402">
                  <c:v>1398-09-27</c:v>
                </c:pt>
                <c:pt idx="403">
                  <c:v>1398-09-30</c:v>
                </c:pt>
                <c:pt idx="404">
                  <c:v>1398-10-01</c:v>
                </c:pt>
                <c:pt idx="405">
                  <c:v>1398-10-02</c:v>
                </c:pt>
                <c:pt idx="406">
                  <c:v>1398-10-03</c:v>
                </c:pt>
                <c:pt idx="407">
                  <c:v>1398-10-04</c:v>
                </c:pt>
                <c:pt idx="408">
                  <c:v>1398-10-07</c:v>
                </c:pt>
                <c:pt idx="409">
                  <c:v>1398-10-08</c:v>
                </c:pt>
                <c:pt idx="410">
                  <c:v>1398-10-09</c:v>
                </c:pt>
                <c:pt idx="411">
                  <c:v>1398-10-10</c:v>
                </c:pt>
                <c:pt idx="412">
                  <c:v>1398-10-11</c:v>
                </c:pt>
                <c:pt idx="413">
                  <c:v>1398-10-14</c:v>
                </c:pt>
                <c:pt idx="414">
                  <c:v>1398-10-15</c:v>
                </c:pt>
                <c:pt idx="415">
                  <c:v>1398-10-17</c:v>
                </c:pt>
                <c:pt idx="416">
                  <c:v>1398-10-18</c:v>
                </c:pt>
                <c:pt idx="417">
                  <c:v>1398-10-21</c:v>
                </c:pt>
                <c:pt idx="418">
                  <c:v>1398-10-22</c:v>
                </c:pt>
                <c:pt idx="419">
                  <c:v>1398-10-23</c:v>
                </c:pt>
                <c:pt idx="420">
                  <c:v>1398-10-24</c:v>
                </c:pt>
                <c:pt idx="421">
                  <c:v>1398-10-25</c:v>
                </c:pt>
                <c:pt idx="422">
                  <c:v>1398-11-02</c:v>
                </c:pt>
                <c:pt idx="423">
                  <c:v>1398-11-05</c:v>
                </c:pt>
                <c:pt idx="424">
                  <c:v>1398-11-06</c:v>
                </c:pt>
                <c:pt idx="425">
                  <c:v>1398-11-07</c:v>
                </c:pt>
                <c:pt idx="426">
                  <c:v>1398-11-08</c:v>
                </c:pt>
                <c:pt idx="427">
                  <c:v>1398-11-12</c:v>
                </c:pt>
                <c:pt idx="428">
                  <c:v>1398-11-13</c:v>
                </c:pt>
                <c:pt idx="429">
                  <c:v>1398-11-14</c:v>
                </c:pt>
                <c:pt idx="430">
                  <c:v>1398-11-15</c:v>
                </c:pt>
                <c:pt idx="431">
                  <c:v>1398-11-16</c:v>
                </c:pt>
                <c:pt idx="432">
                  <c:v>1398-11-19</c:v>
                </c:pt>
                <c:pt idx="433">
                  <c:v>1398-11-20</c:v>
                </c:pt>
                <c:pt idx="434">
                  <c:v>1398-11-21</c:v>
                </c:pt>
                <c:pt idx="435">
                  <c:v>1398-11-23</c:v>
                </c:pt>
                <c:pt idx="436">
                  <c:v>1398-11-26</c:v>
                </c:pt>
                <c:pt idx="437">
                  <c:v>1398-11-27</c:v>
                </c:pt>
                <c:pt idx="438">
                  <c:v>1398-11-28</c:v>
                </c:pt>
                <c:pt idx="439">
                  <c:v>1398-11-29</c:v>
                </c:pt>
                <c:pt idx="440">
                  <c:v>1398-11-30</c:v>
                </c:pt>
                <c:pt idx="441">
                  <c:v>1398-12-03</c:v>
                </c:pt>
                <c:pt idx="442">
                  <c:v>1398-12-04</c:v>
                </c:pt>
                <c:pt idx="443">
                  <c:v>1398-12-05</c:v>
                </c:pt>
                <c:pt idx="444">
                  <c:v>1398-12-06</c:v>
                </c:pt>
                <c:pt idx="445">
                  <c:v>1398-12-07</c:v>
                </c:pt>
                <c:pt idx="446">
                  <c:v>1398-12-10</c:v>
                </c:pt>
                <c:pt idx="447">
                  <c:v>1398-12-11</c:v>
                </c:pt>
                <c:pt idx="448">
                  <c:v>1398-12-12</c:v>
                </c:pt>
                <c:pt idx="449">
                  <c:v>1398-12-13</c:v>
                </c:pt>
                <c:pt idx="450">
                  <c:v>1398-12-14</c:v>
                </c:pt>
                <c:pt idx="451">
                  <c:v>1398-12-17</c:v>
                </c:pt>
                <c:pt idx="452">
                  <c:v>1398-12-19</c:v>
                </c:pt>
                <c:pt idx="453">
                  <c:v>1398-12-20</c:v>
                </c:pt>
                <c:pt idx="454">
                  <c:v>1398-12-21</c:v>
                </c:pt>
                <c:pt idx="455">
                  <c:v>1398-12-24</c:v>
                </c:pt>
                <c:pt idx="456">
                  <c:v>1398-12-25</c:v>
                </c:pt>
                <c:pt idx="457">
                  <c:v>1398-12-26</c:v>
                </c:pt>
                <c:pt idx="458">
                  <c:v>1398-12-27</c:v>
                </c:pt>
                <c:pt idx="459">
                  <c:v>1398-12-28</c:v>
                </c:pt>
                <c:pt idx="460">
                  <c:v>1399-01-05</c:v>
                </c:pt>
                <c:pt idx="461">
                  <c:v>1399-01-06</c:v>
                </c:pt>
                <c:pt idx="462">
                  <c:v>1399-01-09</c:v>
                </c:pt>
                <c:pt idx="463">
                  <c:v>1399-01-10</c:v>
                </c:pt>
                <c:pt idx="464">
                  <c:v>1399-01-11</c:v>
                </c:pt>
                <c:pt idx="465">
                  <c:v>1399-01-16</c:v>
                </c:pt>
                <c:pt idx="466">
                  <c:v>1399-01-17</c:v>
                </c:pt>
                <c:pt idx="467">
                  <c:v>1399-01-18</c:v>
                </c:pt>
                <c:pt idx="468">
                  <c:v>1399-01-19</c:v>
                </c:pt>
                <c:pt idx="469">
                  <c:v>1399-01-20</c:v>
                </c:pt>
                <c:pt idx="470">
                  <c:v>1399-01-23</c:v>
                </c:pt>
                <c:pt idx="471">
                  <c:v>1399-01-24</c:v>
                </c:pt>
                <c:pt idx="472">
                  <c:v>1399-01-25</c:v>
                </c:pt>
                <c:pt idx="473">
                  <c:v>1399-01-26</c:v>
                </c:pt>
                <c:pt idx="474">
                  <c:v>1399-01-27</c:v>
                </c:pt>
                <c:pt idx="475">
                  <c:v>1399-01-30</c:v>
                </c:pt>
                <c:pt idx="476">
                  <c:v>1399-01-31</c:v>
                </c:pt>
                <c:pt idx="477">
                  <c:v>1399-02-01</c:v>
                </c:pt>
                <c:pt idx="478">
                  <c:v>1399-02-02</c:v>
                </c:pt>
                <c:pt idx="479">
                  <c:v>1399-02-03</c:v>
                </c:pt>
                <c:pt idx="480">
                  <c:v>1399-02-06</c:v>
                </c:pt>
                <c:pt idx="481">
                  <c:v>1399-02-07</c:v>
                </c:pt>
                <c:pt idx="482">
                  <c:v>1399-02-10</c:v>
                </c:pt>
                <c:pt idx="483">
                  <c:v>1399-02-13</c:v>
                </c:pt>
                <c:pt idx="484">
                  <c:v>1399-02-14</c:v>
                </c:pt>
                <c:pt idx="485">
                  <c:v>1399-02-15</c:v>
                </c:pt>
                <c:pt idx="486">
                  <c:v>1399-02-16</c:v>
                </c:pt>
                <c:pt idx="487">
                  <c:v>1399-02-17</c:v>
                </c:pt>
                <c:pt idx="488">
                  <c:v>1399-02-20</c:v>
                </c:pt>
                <c:pt idx="489">
                  <c:v>1399-02-21</c:v>
                </c:pt>
                <c:pt idx="490">
                  <c:v>1399-02-22</c:v>
                </c:pt>
                <c:pt idx="491">
                  <c:v>1399-02-23</c:v>
                </c:pt>
                <c:pt idx="492">
                  <c:v>1399-02-24</c:v>
                </c:pt>
                <c:pt idx="493">
                  <c:v>1399-02-27</c:v>
                </c:pt>
                <c:pt idx="494">
                  <c:v>1399-02-28</c:v>
                </c:pt>
                <c:pt idx="495">
                  <c:v>1399-02-29</c:v>
                </c:pt>
                <c:pt idx="496">
                  <c:v>1399-02-30</c:v>
                </c:pt>
                <c:pt idx="497">
                  <c:v>1399-02-31</c:v>
                </c:pt>
                <c:pt idx="498">
                  <c:v>1399-03-03</c:v>
                </c:pt>
                <c:pt idx="499">
                  <c:v>1399-03-06</c:v>
                </c:pt>
                <c:pt idx="500">
                  <c:v>1399-03-07</c:v>
                </c:pt>
                <c:pt idx="501">
                  <c:v>1399-03-10</c:v>
                </c:pt>
                <c:pt idx="502">
                  <c:v>1399-03-11</c:v>
                </c:pt>
                <c:pt idx="503">
                  <c:v>1399-03-12</c:v>
                </c:pt>
                <c:pt idx="504">
                  <c:v>1399-03-13</c:v>
                </c:pt>
                <c:pt idx="505">
                  <c:v>1399-03-17</c:v>
                </c:pt>
                <c:pt idx="506">
                  <c:v>1399-03-18</c:v>
                </c:pt>
                <c:pt idx="507">
                  <c:v>1399-03-19</c:v>
                </c:pt>
                <c:pt idx="508">
                  <c:v>1399-03-20</c:v>
                </c:pt>
                <c:pt idx="509">
                  <c:v>1399-03-21</c:v>
                </c:pt>
                <c:pt idx="510">
                  <c:v>1399-03-24</c:v>
                </c:pt>
                <c:pt idx="511">
                  <c:v>1399-03-25</c:v>
                </c:pt>
                <c:pt idx="512">
                  <c:v>1399-03-26</c:v>
                </c:pt>
                <c:pt idx="513">
                  <c:v>1399-03-31</c:v>
                </c:pt>
                <c:pt idx="514">
                  <c:v>1399-04-01</c:v>
                </c:pt>
                <c:pt idx="515">
                  <c:v>1399-04-02</c:v>
                </c:pt>
                <c:pt idx="516">
                  <c:v>1399-04-03</c:v>
                </c:pt>
                <c:pt idx="517">
                  <c:v>1399-04-04</c:v>
                </c:pt>
                <c:pt idx="518">
                  <c:v>1399-04-07</c:v>
                </c:pt>
                <c:pt idx="519">
                  <c:v>1399-04-08</c:v>
                </c:pt>
                <c:pt idx="520">
                  <c:v>1399-04-09</c:v>
                </c:pt>
                <c:pt idx="521">
                  <c:v>1399-04-10</c:v>
                </c:pt>
                <c:pt idx="522">
                  <c:v>1399-04-11</c:v>
                </c:pt>
                <c:pt idx="523">
                  <c:v>1399-04-14</c:v>
                </c:pt>
                <c:pt idx="524">
                  <c:v>1399-04-15</c:v>
                </c:pt>
                <c:pt idx="525">
                  <c:v>1399-04-16</c:v>
                </c:pt>
                <c:pt idx="526">
                  <c:v>1399-04-18</c:v>
                </c:pt>
                <c:pt idx="527">
                  <c:v>1399-04-21</c:v>
                </c:pt>
                <c:pt idx="528">
                  <c:v>1399-04-22</c:v>
                </c:pt>
                <c:pt idx="529">
                  <c:v>1399-04-23</c:v>
                </c:pt>
                <c:pt idx="530">
                  <c:v>1399-04-24</c:v>
                </c:pt>
                <c:pt idx="531">
                  <c:v>1399-04-28</c:v>
                </c:pt>
                <c:pt idx="532">
                  <c:v>1399-04-29</c:v>
                </c:pt>
                <c:pt idx="533">
                  <c:v>1399-05-04</c:v>
                </c:pt>
                <c:pt idx="534">
                  <c:v>1399-05-05</c:v>
                </c:pt>
                <c:pt idx="535">
                  <c:v>1399-05-06</c:v>
                </c:pt>
                <c:pt idx="536">
                  <c:v>1399-05-07</c:v>
                </c:pt>
                <c:pt idx="537">
                  <c:v>1399-05-08</c:v>
                </c:pt>
                <c:pt idx="538">
                  <c:v>1399-05-11</c:v>
                </c:pt>
                <c:pt idx="539">
                  <c:v>1399-05-12</c:v>
                </c:pt>
                <c:pt idx="540">
                  <c:v>1399-05-13</c:v>
                </c:pt>
                <c:pt idx="541">
                  <c:v>1399-05-14</c:v>
                </c:pt>
                <c:pt idx="542">
                  <c:v>1399-05-15</c:v>
                </c:pt>
                <c:pt idx="543">
                  <c:v>1399-05-19</c:v>
                </c:pt>
                <c:pt idx="544">
                  <c:v>1399-05-20</c:v>
                </c:pt>
                <c:pt idx="545">
                  <c:v>1399-05-21</c:v>
                </c:pt>
                <c:pt idx="546">
                  <c:v>1399-05-22</c:v>
                </c:pt>
                <c:pt idx="547">
                  <c:v>1399-05-26</c:v>
                </c:pt>
                <c:pt idx="548">
                  <c:v>1399-05-27</c:v>
                </c:pt>
                <c:pt idx="549">
                  <c:v>1399-05-28</c:v>
                </c:pt>
                <c:pt idx="550">
                  <c:v>1399-05-29</c:v>
                </c:pt>
                <c:pt idx="551">
                  <c:v>1399-06-01</c:v>
                </c:pt>
                <c:pt idx="552">
                  <c:v>1399-06-02</c:v>
                </c:pt>
                <c:pt idx="553">
                  <c:v>1399-06-03</c:v>
                </c:pt>
                <c:pt idx="554">
                  <c:v>1399-06-04</c:v>
                </c:pt>
                <c:pt idx="555">
                  <c:v>1399-06-05</c:v>
                </c:pt>
                <c:pt idx="556">
                  <c:v>1399-06-10</c:v>
                </c:pt>
                <c:pt idx="557">
                  <c:v>1399-06-11</c:v>
                </c:pt>
                <c:pt idx="558">
                  <c:v>1399-06-12</c:v>
                </c:pt>
                <c:pt idx="559">
                  <c:v>1399-06-15</c:v>
                </c:pt>
                <c:pt idx="560">
                  <c:v>1399-06-16</c:v>
                </c:pt>
                <c:pt idx="561">
                  <c:v>1399-06-17</c:v>
                </c:pt>
                <c:pt idx="562">
                  <c:v>1399-06-18</c:v>
                </c:pt>
                <c:pt idx="563">
                  <c:v>1399-06-19</c:v>
                </c:pt>
                <c:pt idx="564">
                  <c:v>1399-06-22</c:v>
                </c:pt>
                <c:pt idx="565">
                  <c:v>1399-06-23</c:v>
                </c:pt>
                <c:pt idx="566">
                  <c:v>1399-06-24</c:v>
                </c:pt>
                <c:pt idx="567">
                  <c:v>1399-06-25</c:v>
                </c:pt>
                <c:pt idx="568">
                  <c:v>1399-06-26</c:v>
                </c:pt>
                <c:pt idx="569">
                  <c:v>1399-06-29</c:v>
                </c:pt>
                <c:pt idx="570">
                  <c:v>1399-06-30</c:v>
                </c:pt>
                <c:pt idx="571">
                  <c:v>1399-06-31</c:v>
                </c:pt>
                <c:pt idx="572">
                  <c:v>1399-07-01</c:v>
                </c:pt>
                <c:pt idx="573">
                  <c:v>1399-07-02</c:v>
                </c:pt>
                <c:pt idx="574">
                  <c:v>1399-07-05</c:v>
                </c:pt>
                <c:pt idx="575">
                  <c:v>1399-07-06</c:v>
                </c:pt>
                <c:pt idx="576">
                  <c:v>1399-07-07</c:v>
                </c:pt>
                <c:pt idx="577">
                  <c:v>1399-07-08</c:v>
                </c:pt>
                <c:pt idx="578">
                  <c:v>1399-07-09</c:v>
                </c:pt>
                <c:pt idx="579">
                  <c:v>1399-07-12</c:v>
                </c:pt>
                <c:pt idx="580">
                  <c:v>1399-07-13</c:v>
                </c:pt>
                <c:pt idx="581">
                  <c:v>1399-07-14</c:v>
                </c:pt>
                <c:pt idx="582">
                  <c:v>1399-07-15</c:v>
                </c:pt>
                <c:pt idx="583">
                  <c:v>1399-07-16</c:v>
                </c:pt>
                <c:pt idx="584">
                  <c:v>1399-07-19</c:v>
                </c:pt>
                <c:pt idx="585">
                  <c:v>1399-07-20</c:v>
                </c:pt>
                <c:pt idx="586">
                  <c:v>1399-07-21</c:v>
                </c:pt>
                <c:pt idx="587">
                  <c:v>1399-07-22</c:v>
                </c:pt>
                <c:pt idx="588">
                  <c:v>1399-07-23</c:v>
                </c:pt>
                <c:pt idx="589">
                  <c:v>1399-07-27</c:v>
                </c:pt>
                <c:pt idx="590">
                  <c:v>1399-07-28</c:v>
                </c:pt>
                <c:pt idx="591">
                  <c:v>1399-07-29</c:v>
                </c:pt>
                <c:pt idx="592">
                  <c:v>1399-07-30</c:v>
                </c:pt>
                <c:pt idx="593">
                  <c:v>1399-08-03</c:v>
                </c:pt>
                <c:pt idx="594">
                  <c:v>1399-08-05</c:v>
                </c:pt>
                <c:pt idx="595">
                  <c:v>1399-08-06</c:v>
                </c:pt>
                <c:pt idx="596">
                  <c:v>1399-08-07</c:v>
                </c:pt>
                <c:pt idx="597">
                  <c:v>1399-08-10</c:v>
                </c:pt>
                <c:pt idx="598">
                  <c:v>1399-08-11</c:v>
                </c:pt>
                <c:pt idx="599">
                  <c:v>1399-08-12</c:v>
                </c:pt>
                <c:pt idx="600">
                  <c:v>1399-08-14</c:v>
                </c:pt>
                <c:pt idx="601">
                  <c:v>1399-08-17</c:v>
                </c:pt>
                <c:pt idx="602">
                  <c:v>1399-08-18</c:v>
                </c:pt>
                <c:pt idx="603">
                  <c:v>1399-08-19</c:v>
                </c:pt>
                <c:pt idx="604">
                  <c:v>1399-08-20</c:v>
                </c:pt>
                <c:pt idx="605">
                  <c:v>1399-08-21</c:v>
                </c:pt>
                <c:pt idx="606">
                  <c:v>1399-08-24</c:v>
                </c:pt>
                <c:pt idx="607">
                  <c:v>1399-08-25</c:v>
                </c:pt>
                <c:pt idx="608">
                  <c:v>1399-08-26</c:v>
                </c:pt>
                <c:pt idx="609">
                  <c:v>1399-08-27</c:v>
                </c:pt>
                <c:pt idx="610">
                  <c:v>1399-08-28</c:v>
                </c:pt>
                <c:pt idx="611">
                  <c:v>1399-09-01</c:v>
                </c:pt>
                <c:pt idx="612">
                  <c:v>1399-09-02</c:v>
                </c:pt>
                <c:pt idx="613">
                  <c:v>1399-09-03</c:v>
                </c:pt>
                <c:pt idx="614">
                  <c:v>1399-09-04</c:v>
                </c:pt>
                <c:pt idx="615">
                  <c:v>1399-09-05</c:v>
                </c:pt>
                <c:pt idx="616">
                  <c:v>1399-09-08</c:v>
                </c:pt>
                <c:pt idx="617">
                  <c:v>1399-09-18</c:v>
                </c:pt>
                <c:pt idx="618">
                  <c:v>1399-09-19</c:v>
                </c:pt>
                <c:pt idx="619">
                  <c:v>1399-09-22</c:v>
                </c:pt>
                <c:pt idx="620">
                  <c:v>1399-09-23</c:v>
                </c:pt>
                <c:pt idx="621">
                  <c:v>1399-09-24</c:v>
                </c:pt>
                <c:pt idx="622">
                  <c:v>1399-09-25</c:v>
                </c:pt>
                <c:pt idx="623">
                  <c:v>1399-09-26</c:v>
                </c:pt>
                <c:pt idx="624">
                  <c:v>1399-09-29</c:v>
                </c:pt>
                <c:pt idx="625">
                  <c:v>1399-09-30</c:v>
                </c:pt>
                <c:pt idx="626">
                  <c:v>1399-10-01</c:v>
                </c:pt>
                <c:pt idx="627">
                  <c:v>1399-10-02</c:v>
                </c:pt>
                <c:pt idx="628">
                  <c:v>1399-10-03</c:v>
                </c:pt>
                <c:pt idx="629">
                  <c:v>1399-10-06</c:v>
                </c:pt>
                <c:pt idx="630">
                  <c:v>1399-10-07</c:v>
                </c:pt>
                <c:pt idx="631">
                  <c:v>1399-10-08</c:v>
                </c:pt>
                <c:pt idx="632">
                  <c:v>1399-10-09</c:v>
                </c:pt>
                <c:pt idx="633">
                  <c:v>1399-10-10</c:v>
                </c:pt>
                <c:pt idx="634">
                  <c:v>1399-10-13</c:v>
                </c:pt>
                <c:pt idx="635">
                  <c:v>1399-10-14</c:v>
                </c:pt>
                <c:pt idx="636">
                  <c:v>1399-10-15</c:v>
                </c:pt>
                <c:pt idx="637">
                  <c:v>1399-10-16</c:v>
                </c:pt>
                <c:pt idx="638">
                  <c:v>1399-10-17</c:v>
                </c:pt>
                <c:pt idx="639">
                  <c:v>1399-10-20</c:v>
                </c:pt>
                <c:pt idx="640">
                  <c:v>1399-10-21</c:v>
                </c:pt>
                <c:pt idx="641">
                  <c:v>1399-10-22</c:v>
                </c:pt>
                <c:pt idx="642">
                  <c:v>1399-10-23</c:v>
                </c:pt>
                <c:pt idx="643">
                  <c:v>1399-10-24</c:v>
                </c:pt>
                <c:pt idx="644">
                  <c:v>1399-10-27</c:v>
                </c:pt>
                <c:pt idx="645">
                  <c:v>1399-10-29</c:v>
                </c:pt>
                <c:pt idx="646">
                  <c:v>1399-10-30</c:v>
                </c:pt>
                <c:pt idx="647">
                  <c:v>1399-11-01</c:v>
                </c:pt>
                <c:pt idx="648">
                  <c:v>1399-11-04</c:v>
                </c:pt>
                <c:pt idx="649">
                  <c:v>1399-11-05</c:v>
                </c:pt>
                <c:pt idx="650">
                  <c:v>1399-11-06</c:v>
                </c:pt>
                <c:pt idx="651">
                  <c:v>1399-11-07</c:v>
                </c:pt>
                <c:pt idx="652">
                  <c:v>1399-11-08</c:v>
                </c:pt>
                <c:pt idx="653">
                  <c:v>1399-11-11</c:v>
                </c:pt>
                <c:pt idx="654">
                  <c:v>1399-11-12</c:v>
                </c:pt>
                <c:pt idx="655">
                  <c:v>1399-11-13</c:v>
                </c:pt>
                <c:pt idx="656">
                  <c:v>1399-11-14</c:v>
                </c:pt>
                <c:pt idx="657">
                  <c:v>1399-11-15</c:v>
                </c:pt>
                <c:pt idx="658">
                  <c:v>1399-11-18</c:v>
                </c:pt>
                <c:pt idx="659">
                  <c:v>1399-11-19</c:v>
                </c:pt>
                <c:pt idx="660">
                  <c:v>1399-11-20</c:v>
                </c:pt>
                <c:pt idx="661">
                  <c:v>1399-11-21</c:v>
                </c:pt>
                <c:pt idx="662">
                  <c:v>1399-11-25</c:v>
                </c:pt>
                <c:pt idx="663">
                  <c:v>1399-11-26</c:v>
                </c:pt>
                <c:pt idx="664">
                  <c:v>1399-11-27</c:v>
                </c:pt>
                <c:pt idx="665">
                  <c:v>1399-11-28</c:v>
                </c:pt>
                <c:pt idx="666">
                  <c:v>1399-11-29</c:v>
                </c:pt>
                <c:pt idx="667">
                  <c:v>1399-12-02</c:v>
                </c:pt>
                <c:pt idx="668">
                  <c:v>1399-12-03</c:v>
                </c:pt>
                <c:pt idx="669">
                  <c:v>1399-12-04</c:v>
                </c:pt>
                <c:pt idx="670">
                  <c:v>1399-12-05</c:v>
                </c:pt>
                <c:pt idx="671">
                  <c:v>1399-12-06</c:v>
                </c:pt>
                <c:pt idx="672">
                  <c:v>1399-12-09</c:v>
                </c:pt>
                <c:pt idx="673">
                  <c:v>1399-12-10</c:v>
                </c:pt>
                <c:pt idx="674">
                  <c:v>1399-12-11</c:v>
                </c:pt>
                <c:pt idx="675">
                  <c:v>1399-12-12</c:v>
                </c:pt>
                <c:pt idx="676">
                  <c:v>1399-12-13</c:v>
                </c:pt>
                <c:pt idx="677">
                  <c:v>1399-12-16</c:v>
                </c:pt>
                <c:pt idx="678">
                  <c:v>1399-12-17</c:v>
                </c:pt>
                <c:pt idx="679">
                  <c:v>1399-12-18</c:v>
                </c:pt>
                <c:pt idx="680">
                  <c:v>1399-12-19</c:v>
                </c:pt>
                <c:pt idx="681">
                  <c:v>1399-12-20</c:v>
                </c:pt>
                <c:pt idx="682">
                  <c:v>1399-12-23</c:v>
                </c:pt>
                <c:pt idx="683">
                  <c:v>1399-12-24</c:v>
                </c:pt>
                <c:pt idx="684">
                  <c:v>1399-12-25</c:v>
                </c:pt>
                <c:pt idx="685">
                  <c:v>1399-12-26</c:v>
                </c:pt>
                <c:pt idx="686">
                  <c:v>1399-12-27</c:v>
                </c:pt>
                <c:pt idx="687">
                  <c:v>1400-01-07</c:v>
                </c:pt>
                <c:pt idx="688">
                  <c:v>1400-01-08</c:v>
                </c:pt>
                <c:pt idx="689">
                  <c:v>1400-01-10</c:v>
                </c:pt>
                <c:pt idx="690">
                  <c:v>1400-01-11</c:v>
                </c:pt>
                <c:pt idx="691">
                  <c:v>1400-01-14</c:v>
                </c:pt>
                <c:pt idx="692">
                  <c:v>1400-01-15</c:v>
                </c:pt>
                <c:pt idx="693">
                  <c:v>1400-01-16</c:v>
                </c:pt>
                <c:pt idx="694">
                  <c:v>1400-01-17</c:v>
                </c:pt>
                <c:pt idx="695">
                  <c:v>1400-01-18</c:v>
                </c:pt>
                <c:pt idx="696">
                  <c:v>1400-01-21</c:v>
                </c:pt>
                <c:pt idx="697">
                  <c:v>1400-01-22</c:v>
                </c:pt>
                <c:pt idx="698">
                  <c:v>1400-01-23</c:v>
                </c:pt>
                <c:pt idx="699">
                  <c:v>1400-01-24</c:v>
                </c:pt>
                <c:pt idx="700">
                  <c:v>1400-01-25</c:v>
                </c:pt>
                <c:pt idx="701">
                  <c:v>1400-01-28</c:v>
                </c:pt>
                <c:pt idx="702">
                  <c:v>1400-01-29</c:v>
                </c:pt>
                <c:pt idx="703">
                  <c:v>1400-01-30</c:v>
                </c:pt>
                <c:pt idx="704">
                  <c:v>1400-01-31</c:v>
                </c:pt>
                <c:pt idx="705">
                  <c:v>1400-02-01</c:v>
                </c:pt>
                <c:pt idx="706">
                  <c:v>1400-02-04</c:v>
                </c:pt>
                <c:pt idx="707">
                  <c:v>1400-02-05</c:v>
                </c:pt>
                <c:pt idx="708">
                  <c:v>1400-02-06</c:v>
                </c:pt>
                <c:pt idx="709">
                  <c:v>1400-02-07</c:v>
                </c:pt>
                <c:pt idx="710">
                  <c:v>1400-02-08</c:v>
                </c:pt>
                <c:pt idx="711">
                  <c:v>1400-02-11</c:v>
                </c:pt>
                <c:pt idx="712">
                  <c:v>1400-02-12</c:v>
                </c:pt>
                <c:pt idx="713">
                  <c:v>1400-02-13</c:v>
                </c:pt>
                <c:pt idx="714">
                  <c:v>1400-02-15</c:v>
                </c:pt>
                <c:pt idx="715">
                  <c:v>1400-02-18</c:v>
                </c:pt>
                <c:pt idx="716">
                  <c:v>1400-02-19</c:v>
                </c:pt>
                <c:pt idx="717">
                  <c:v>1400-02-20</c:v>
                </c:pt>
                <c:pt idx="718">
                  <c:v>1400-02-21</c:v>
                </c:pt>
                <c:pt idx="719">
                  <c:v>1400-02-22</c:v>
                </c:pt>
                <c:pt idx="720">
                  <c:v>1400-02-25</c:v>
                </c:pt>
                <c:pt idx="721">
                  <c:v>1400-02-26</c:v>
                </c:pt>
                <c:pt idx="722">
                  <c:v>1400-02-27</c:v>
                </c:pt>
                <c:pt idx="723">
                  <c:v>1400-02-28</c:v>
                </c:pt>
                <c:pt idx="724">
                  <c:v>1400-02-29</c:v>
                </c:pt>
                <c:pt idx="725">
                  <c:v>1400-03-01</c:v>
                </c:pt>
                <c:pt idx="726">
                  <c:v>1400-03-02</c:v>
                </c:pt>
                <c:pt idx="727">
                  <c:v>1400-03-03</c:v>
                </c:pt>
                <c:pt idx="728">
                  <c:v>1400-03-04</c:v>
                </c:pt>
                <c:pt idx="729">
                  <c:v>1400-03-05</c:v>
                </c:pt>
                <c:pt idx="730">
                  <c:v>1400-03-08</c:v>
                </c:pt>
                <c:pt idx="731">
                  <c:v>1400-03-09</c:v>
                </c:pt>
                <c:pt idx="732">
                  <c:v>1400-03-10</c:v>
                </c:pt>
                <c:pt idx="733">
                  <c:v>1400-03-11</c:v>
                </c:pt>
                <c:pt idx="734">
                  <c:v>1400-03-12</c:v>
                </c:pt>
                <c:pt idx="735">
                  <c:v>1400-03-17</c:v>
                </c:pt>
                <c:pt idx="736">
                  <c:v>1400-03-18</c:v>
                </c:pt>
                <c:pt idx="737">
                  <c:v>1400-03-19</c:v>
                </c:pt>
                <c:pt idx="738">
                  <c:v>1400-03-22</c:v>
                </c:pt>
                <c:pt idx="739">
                  <c:v>1400-03-23</c:v>
                </c:pt>
                <c:pt idx="740">
                  <c:v>1400-03-24</c:v>
                </c:pt>
                <c:pt idx="741">
                  <c:v>1400-03-25</c:v>
                </c:pt>
                <c:pt idx="742">
                  <c:v>1400-03-26</c:v>
                </c:pt>
                <c:pt idx="743">
                  <c:v>1400-03-29</c:v>
                </c:pt>
                <c:pt idx="744">
                  <c:v>1400-03-30</c:v>
                </c:pt>
                <c:pt idx="745">
                  <c:v>1400-03-31</c:v>
                </c:pt>
                <c:pt idx="746">
                  <c:v>1400-04-01</c:v>
                </c:pt>
                <c:pt idx="747">
                  <c:v>1400-04-02</c:v>
                </c:pt>
                <c:pt idx="748">
                  <c:v>1400-04-05</c:v>
                </c:pt>
                <c:pt idx="749">
                  <c:v>1400-04-06</c:v>
                </c:pt>
                <c:pt idx="750">
                  <c:v>1400-04-07</c:v>
                </c:pt>
                <c:pt idx="751">
                  <c:v>1400-04-08</c:v>
                </c:pt>
                <c:pt idx="752">
                  <c:v>1400-04-09</c:v>
                </c:pt>
                <c:pt idx="753">
                  <c:v>1400-04-12</c:v>
                </c:pt>
                <c:pt idx="754">
                  <c:v>1400-04-13</c:v>
                </c:pt>
                <c:pt idx="755">
                  <c:v>1400-04-14</c:v>
                </c:pt>
                <c:pt idx="756">
                  <c:v>1400-04-15</c:v>
                </c:pt>
                <c:pt idx="757">
                  <c:v>1400-04-16</c:v>
                </c:pt>
                <c:pt idx="758">
                  <c:v>1400-04-19</c:v>
                </c:pt>
                <c:pt idx="759">
                  <c:v>1400-04-20</c:v>
                </c:pt>
                <c:pt idx="760">
                  <c:v>1400-04-21</c:v>
                </c:pt>
                <c:pt idx="761">
                  <c:v>1400-04-22</c:v>
                </c:pt>
                <c:pt idx="762">
                  <c:v>1400-04-23</c:v>
                </c:pt>
                <c:pt idx="763">
                  <c:v>1400-04-26</c:v>
                </c:pt>
                <c:pt idx="764">
                  <c:v>1400-04-27</c:v>
                </c:pt>
                <c:pt idx="765">
                  <c:v>1400-05-05</c:v>
                </c:pt>
                <c:pt idx="766">
                  <c:v>1400-05-06</c:v>
                </c:pt>
                <c:pt idx="767">
                  <c:v>1400-05-09</c:v>
                </c:pt>
                <c:pt idx="768">
                  <c:v>1400-05-10</c:v>
                </c:pt>
                <c:pt idx="769">
                  <c:v>1400-05-11</c:v>
                </c:pt>
                <c:pt idx="770">
                  <c:v>1400-05-12</c:v>
                </c:pt>
                <c:pt idx="771">
                  <c:v>1400-05-13</c:v>
                </c:pt>
                <c:pt idx="772">
                  <c:v>1400-05-16</c:v>
                </c:pt>
                <c:pt idx="773">
                  <c:v>1400-05-17</c:v>
                </c:pt>
                <c:pt idx="774">
                  <c:v>1400-05-18</c:v>
                </c:pt>
                <c:pt idx="775">
                  <c:v>1400-05-19</c:v>
                </c:pt>
                <c:pt idx="776">
                  <c:v>1400-05-20</c:v>
                </c:pt>
                <c:pt idx="777">
                  <c:v>1400-05-23</c:v>
                </c:pt>
                <c:pt idx="778">
                  <c:v>1400-05-24</c:v>
                </c:pt>
                <c:pt idx="779">
                  <c:v>1400-05-31</c:v>
                </c:pt>
                <c:pt idx="780">
                  <c:v>1400-06-01</c:v>
                </c:pt>
                <c:pt idx="781">
                  <c:v>1400-06-02</c:v>
                </c:pt>
                <c:pt idx="782">
                  <c:v>1400-06-03</c:v>
                </c:pt>
                <c:pt idx="783">
                  <c:v>1400-06-06</c:v>
                </c:pt>
                <c:pt idx="784">
                  <c:v>1400-06-07</c:v>
                </c:pt>
                <c:pt idx="785">
                  <c:v>1400-06-08</c:v>
                </c:pt>
                <c:pt idx="786">
                  <c:v>1400-06-09</c:v>
                </c:pt>
                <c:pt idx="787">
                  <c:v>1400-06-10</c:v>
                </c:pt>
                <c:pt idx="788">
                  <c:v>1400-06-13</c:v>
                </c:pt>
                <c:pt idx="789">
                  <c:v>1400-06-14</c:v>
                </c:pt>
                <c:pt idx="790">
                  <c:v>1400-06-15</c:v>
                </c:pt>
                <c:pt idx="791">
                  <c:v>1400-06-16</c:v>
                </c:pt>
                <c:pt idx="792">
                  <c:v>1400-06-17</c:v>
                </c:pt>
                <c:pt idx="793">
                  <c:v>1400-06-20</c:v>
                </c:pt>
                <c:pt idx="794">
                  <c:v>1400-06-21</c:v>
                </c:pt>
                <c:pt idx="795">
                  <c:v>1400-06-22</c:v>
                </c:pt>
                <c:pt idx="796">
                  <c:v>1400-06-23</c:v>
                </c:pt>
                <c:pt idx="797">
                  <c:v>1400-06-24</c:v>
                </c:pt>
                <c:pt idx="798">
                  <c:v>1400-06-27</c:v>
                </c:pt>
                <c:pt idx="799">
                  <c:v>1400-06-28</c:v>
                </c:pt>
                <c:pt idx="800">
                  <c:v>1400-06-29</c:v>
                </c:pt>
                <c:pt idx="801">
                  <c:v>1400-06-30</c:v>
                </c:pt>
                <c:pt idx="802">
                  <c:v>1400-06-31</c:v>
                </c:pt>
                <c:pt idx="803">
                  <c:v>1400-07-03</c:v>
                </c:pt>
                <c:pt idx="804">
                  <c:v>1400-07-04</c:v>
                </c:pt>
                <c:pt idx="805">
                  <c:v>1400-07-06</c:v>
                </c:pt>
                <c:pt idx="806">
                  <c:v>1400-07-07</c:v>
                </c:pt>
                <c:pt idx="807">
                  <c:v>1400-07-10</c:v>
                </c:pt>
                <c:pt idx="808">
                  <c:v>1400-07-11</c:v>
                </c:pt>
                <c:pt idx="809">
                  <c:v>1400-07-12</c:v>
                </c:pt>
                <c:pt idx="810">
                  <c:v>1400-07-14</c:v>
                </c:pt>
                <c:pt idx="811">
                  <c:v>1400-07-17</c:v>
                </c:pt>
                <c:pt idx="812">
                  <c:v>1400-07-18</c:v>
                </c:pt>
                <c:pt idx="813">
                  <c:v>1400-07-19</c:v>
                </c:pt>
                <c:pt idx="814">
                  <c:v>1400-07-20</c:v>
                </c:pt>
                <c:pt idx="815">
                  <c:v>1400-07-21</c:v>
                </c:pt>
                <c:pt idx="816">
                  <c:v>1400-07-24</c:v>
                </c:pt>
                <c:pt idx="817">
                  <c:v>1400-07-25</c:v>
                </c:pt>
                <c:pt idx="818">
                  <c:v>1400-07-26</c:v>
                </c:pt>
                <c:pt idx="819">
                  <c:v>1400-07-27</c:v>
                </c:pt>
                <c:pt idx="820">
                  <c:v>1400-07-28</c:v>
                </c:pt>
                <c:pt idx="821">
                  <c:v>1400-08-01</c:v>
                </c:pt>
                <c:pt idx="822">
                  <c:v>1400-08-03</c:v>
                </c:pt>
                <c:pt idx="823">
                  <c:v>1400-08-04</c:v>
                </c:pt>
                <c:pt idx="824">
                  <c:v>1400-08-05</c:v>
                </c:pt>
                <c:pt idx="825">
                  <c:v>1400-08-08</c:v>
                </c:pt>
                <c:pt idx="826">
                  <c:v>1400-08-09</c:v>
                </c:pt>
                <c:pt idx="827">
                  <c:v>1400-08-10</c:v>
                </c:pt>
                <c:pt idx="828">
                  <c:v>1400-08-11</c:v>
                </c:pt>
                <c:pt idx="829">
                  <c:v>1400-08-12</c:v>
                </c:pt>
                <c:pt idx="830">
                  <c:v>1400-08-15</c:v>
                </c:pt>
                <c:pt idx="831">
                  <c:v>1400-08-16</c:v>
                </c:pt>
                <c:pt idx="832">
                  <c:v>1400-08-17</c:v>
                </c:pt>
                <c:pt idx="833">
                  <c:v>1400-08-18</c:v>
                </c:pt>
                <c:pt idx="834">
                  <c:v>1400-08-19</c:v>
                </c:pt>
                <c:pt idx="835">
                  <c:v>1400-08-22</c:v>
                </c:pt>
                <c:pt idx="836">
                  <c:v>1400-08-23</c:v>
                </c:pt>
                <c:pt idx="837">
                  <c:v>1400-08-24</c:v>
                </c:pt>
                <c:pt idx="838">
                  <c:v>1400-08-25</c:v>
                </c:pt>
                <c:pt idx="839">
                  <c:v>1400-08-26</c:v>
                </c:pt>
                <c:pt idx="840">
                  <c:v>1400-08-30</c:v>
                </c:pt>
                <c:pt idx="841">
                  <c:v>1400-09-15</c:v>
                </c:pt>
                <c:pt idx="842">
                  <c:v>1400-09-16</c:v>
                </c:pt>
                <c:pt idx="843">
                  <c:v>1400-09-17</c:v>
                </c:pt>
                <c:pt idx="844">
                  <c:v>1400-09-20</c:v>
                </c:pt>
                <c:pt idx="845">
                  <c:v>1400-09-21</c:v>
                </c:pt>
                <c:pt idx="846">
                  <c:v>1400-09-22</c:v>
                </c:pt>
                <c:pt idx="847">
                  <c:v>1400-09-23</c:v>
                </c:pt>
                <c:pt idx="848">
                  <c:v>1400-09-24</c:v>
                </c:pt>
                <c:pt idx="849">
                  <c:v>1400-09-27</c:v>
                </c:pt>
                <c:pt idx="850">
                  <c:v>1400-09-28</c:v>
                </c:pt>
                <c:pt idx="851">
                  <c:v>1400-09-29</c:v>
                </c:pt>
                <c:pt idx="852">
                  <c:v>1400-09-30</c:v>
                </c:pt>
                <c:pt idx="853">
                  <c:v>1400-10-01</c:v>
                </c:pt>
                <c:pt idx="854">
                  <c:v>1400-10-04</c:v>
                </c:pt>
                <c:pt idx="855">
                  <c:v>1400-10-05</c:v>
                </c:pt>
                <c:pt idx="856">
                  <c:v>1400-10-06</c:v>
                </c:pt>
                <c:pt idx="857">
                  <c:v>1400-10-07</c:v>
                </c:pt>
                <c:pt idx="858">
                  <c:v>1400-10-08</c:v>
                </c:pt>
                <c:pt idx="859">
                  <c:v>1400-10-11</c:v>
                </c:pt>
                <c:pt idx="860">
                  <c:v>1400-10-12</c:v>
                </c:pt>
                <c:pt idx="861">
                  <c:v>1400-10-13</c:v>
                </c:pt>
                <c:pt idx="862">
                  <c:v>1400-10-14</c:v>
                </c:pt>
                <c:pt idx="863">
                  <c:v>1400-10-15</c:v>
                </c:pt>
                <c:pt idx="864">
                  <c:v>1400-10-18</c:v>
                </c:pt>
                <c:pt idx="865">
                  <c:v>1400-10-19</c:v>
                </c:pt>
                <c:pt idx="866">
                  <c:v>1400-10-20</c:v>
                </c:pt>
                <c:pt idx="867">
                  <c:v>1400-10-21</c:v>
                </c:pt>
                <c:pt idx="868">
                  <c:v>1400-10-22</c:v>
                </c:pt>
                <c:pt idx="869">
                  <c:v>1400-10-25</c:v>
                </c:pt>
                <c:pt idx="870">
                  <c:v>1400-10-26</c:v>
                </c:pt>
                <c:pt idx="871">
                  <c:v>1400-10-27</c:v>
                </c:pt>
                <c:pt idx="872">
                  <c:v>1400-10-28</c:v>
                </c:pt>
                <c:pt idx="873">
                  <c:v>1400-10-29</c:v>
                </c:pt>
                <c:pt idx="874">
                  <c:v>1400-11-02</c:v>
                </c:pt>
                <c:pt idx="875">
                  <c:v>1400-11-03</c:v>
                </c:pt>
                <c:pt idx="876">
                  <c:v>1400-11-04</c:v>
                </c:pt>
                <c:pt idx="877">
                  <c:v>1400-11-05</c:v>
                </c:pt>
                <c:pt idx="878">
                  <c:v>1400-11-06</c:v>
                </c:pt>
                <c:pt idx="879">
                  <c:v>1400-11-09</c:v>
                </c:pt>
                <c:pt idx="880">
                  <c:v>1400-11-10</c:v>
                </c:pt>
                <c:pt idx="881">
                  <c:v>1400-11-11</c:v>
                </c:pt>
                <c:pt idx="882">
                  <c:v>1400-11-12</c:v>
                </c:pt>
                <c:pt idx="883">
                  <c:v>1400-11-13</c:v>
                </c:pt>
                <c:pt idx="884">
                  <c:v>1400-11-16</c:v>
                </c:pt>
                <c:pt idx="885">
                  <c:v>1400-11-17</c:v>
                </c:pt>
                <c:pt idx="886">
                  <c:v>1400-11-18</c:v>
                </c:pt>
                <c:pt idx="887">
                  <c:v>1400-11-19</c:v>
                </c:pt>
                <c:pt idx="888">
                  <c:v>1400-11-20</c:v>
                </c:pt>
                <c:pt idx="889">
                  <c:v>1400-11-23</c:v>
                </c:pt>
                <c:pt idx="890">
                  <c:v>1400-11-24</c:v>
                </c:pt>
                <c:pt idx="891">
                  <c:v>1400-11-25</c:v>
                </c:pt>
                <c:pt idx="892">
                  <c:v>1400-11-27</c:v>
                </c:pt>
                <c:pt idx="893">
                  <c:v>1400-11-30</c:v>
                </c:pt>
                <c:pt idx="894">
                  <c:v>1400-12-01</c:v>
                </c:pt>
                <c:pt idx="895">
                  <c:v>1400-12-02</c:v>
                </c:pt>
                <c:pt idx="896">
                  <c:v>1400-12-03</c:v>
                </c:pt>
                <c:pt idx="897">
                  <c:v>1400-12-04</c:v>
                </c:pt>
                <c:pt idx="898">
                  <c:v>1400-12-07</c:v>
                </c:pt>
                <c:pt idx="899">
                  <c:v>1400-12-08</c:v>
                </c:pt>
                <c:pt idx="900">
                  <c:v>1400-12-09</c:v>
                </c:pt>
                <c:pt idx="901">
                  <c:v>1400-12-11</c:v>
                </c:pt>
                <c:pt idx="902">
                  <c:v>1400-12-14</c:v>
                </c:pt>
                <c:pt idx="903">
                  <c:v>1400-12-15</c:v>
                </c:pt>
                <c:pt idx="904">
                  <c:v>1400-12-16</c:v>
                </c:pt>
                <c:pt idx="905">
                  <c:v>1400-12-17</c:v>
                </c:pt>
                <c:pt idx="906">
                  <c:v>1400-12-18</c:v>
                </c:pt>
                <c:pt idx="907">
                  <c:v>1400-12-21</c:v>
                </c:pt>
                <c:pt idx="908">
                  <c:v>1400-12-22</c:v>
                </c:pt>
                <c:pt idx="909">
                  <c:v>1400-12-23</c:v>
                </c:pt>
                <c:pt idx="910">
                  <c:v>1400-12-24</c:v>
                </c:pt>
                <c:pt idx="911">
                  <c:v>1400-12-25</c:v>
                </c:pt>
                <c:pt idx="912">
                  <c:v>1400-12-28</c:v>
                </c:pt>
                <c:pt idx="913">
                  <c:v>1401-01-06</c:v>
                </c:pt>
                <c:pt idx="914">
                  <c:v>1401-01-07</c:v>
                </c:pt>
                <c:pt idx="915">
                  <c:v>1401-01-08</c:v>
                </c:pt>
                <c:pt idx="916">
                  <c:v>1401-01-09</c:v>
                </c:pt>
                <c:pt idx="917">
                  <c:v>1401-01-14</c:v>
                </c:pt>
                <c:pt idx="918">
                  <c:v>1401-01-15</c:v>
                </c:pt>
                <c:pt idx="919">
                  <c:v>1401-01-16</c:v>
                </c:pt>
                <c:pt idx="920">
                  <c:v>1401-01-17</c:v>
                </c:pt>
                <c:pt idx="921">
                  <c:v>1401-01-20</c:v>
                </c:pt>
                <c:pt idx="922">
                  <c:v>1401-01-21</c:v>
                </c:pt>
                <c:pt idx="923">
                  <c:v>1401-01-22</c:v>
                </c:pt>
                <c:pt idx="924">
                  <c:v>1401-01-23</c:v>
                </c:pt>
                <c:pt idx="925">
                  <c:v>1401-01-24</c:v>
                </c:pt>
                <c:pt idx="926">
                  <c:v>1401-01-27</c:v>
                </c:pt>
                <c:pt idx="927">
                  <c:v>1401-01-28</c:v>
                </c:pt>
                <c:pt idx="928">
                  <c:v>1401-01-29</c:v>
                </c:pt>
                <c:pt idx="929">
                  <c:v>1401-01-30</c:v>
                </c:pt>
                <c:pt idx="930">
                  <c:v>1401-01-31</c:v>
                </c:pt>
                <c:pt idx="931">
                  <c:v>1401-02-04</c:v>
                </c:pt>
                <c:pt idx="932">
                  <c:v>1401-02-05</c:v>
                </c:pt>
                <c:pt idx="933">
                  <c:v>1401-02-06</c:v>
                </c:pt>
                <c:pt idx="934">
                  <c:v>1401-02-07</c:v>
                </c:pt>
                <c:pt idx="935">
                  <c:v>1401-02-10</c:v>
                </c:pt>
                <c:pt idx="936">
                  <c:v>1401-02-11</c:v>
                </c:pt>
                <c:pt idx="937">
                  <c:v>1401-02-12</c:v>
                </c:pt>
                <c:pt idx="938">
                  <c:v>1401-02-17</c:v>
                </c:pt>
                <c:pt idx="939">
                  <c:v>1401-02-18</c:v>
                </c:pt>
                <c:pt idx="940">
                  <c:v>1401-02-19</c:v>
                </c:pt>
                <c:pt idx="941">
                  <c:v>1401-02-20</c:v>
                </c:pt>
                <c:pt idx="942">
                  <c:v>1401-02-21</c:v>
                </c:pt>
                <c:pt idx="943">
                  <c:v>1401-02-24</c:v>
                </c:pt>
                <c:pt idx="944">
                  <c:v>1401-02-25</c:v>
                </c:pt>
                <c:pt idx="945">
                  <c:v>1401-02-26</c:v>
                </c:pt>
                <c:pt idx="946">
                  <c:v>1401-02-27</c:v>
                </c:pt>
                <c:pt idx="947">
                  <c:v>1401-02-28</c:v>
                </c:pt>
                <c:pt idx="948">
                  <c:v>1401-02-31</c:v>
                </c:pt>
                <c:pt idx="949">
                  <c:v>1401-03-01</c:v>
                </c:pt>
                <c:pt idx="950">
                  <c:v>1401-03-02</c:v>
                </c:pt>
                <c:pt idx="951">
                  <c:v>1401-03-03</c:v>
                </c:pt>
                <c:pt idx="952">
                  <c:v>1401-03-04</c:v>
                </c:pt>
                <c:pt idx="953">
                  <c:v>1401-03-07</c:v>
                </c:pt>
                <c:pt idx="954">
                  <c:v>1401-03-08</c:v>
                </c:pt>
                <c:pt idx="955">
                  <c:v>1401-03-09</c:v>
                </c:pt>
                <c:pt idx="956">
                  <c:v>1401-03-10</c:v>
                </c:pt>
                <c:pt idx="957">
                  <c:v>1401-03-11</c:v>
                </c:pt>
                <c:pt idx="958">
                  <c:v>1401-03-16</c:v>
                </c:pt>
                <c:pt idx="959">
                  <c:v>1401-03-17</c:v>
                </c:pt>
                <c:pt idx="960">
                  <c:v>1401-03-18</c:v>
                </c:pt>
                <c:pt idx="961">
                  <c:v>1401-03-21</c:v>
                </c:pt>
                <c:pt idx="962">
                  <c:v>1401-03-22</c:v>
                </c:pt>
                <c:pt idx="963">
                  <c:v>1401-03-23</c:v>
                </c:pt>
                <c:pt idx="964">
                  <c:v>1401-03-24</c:v>
                </c:pt>
                <c:pt idx="965">
                  <c:v>1401-03-25</c:v>
                </c:pt>
                <c:pt idx="966">
                  <c:v>1401-03-28</c:v>
                </c:pt>
                <c:pt idx="967">
                  <c:v>1401-03-29</c:v>
                </c:pt>
                <c:pt idx="968">
                  <c:v>1401-03-30</c:v>
                </c:pt>
                <c:pt idx="969">
                  <c:v>1401-03-31</c:v>
                </c:pt>
                <c:pt idx="970">
                  <c:v>1401-04-01</c:v>
                </c:pt>
                <c:pt idx="971">
                  <c:v>1401-04-04</c:v>
                </c:pt>
                <c:pt idx="972">
                  <c:v>1401-04-05</c:v>
                </c:pt>
                <c:pt idx="973">
                  <c:v>1401-04-06</c:v>
                </c:pt>
                <c:pt idx="974">
                  <c:v>1401-04-07</c:v>
                </c:pt>
                <c:pt idx="975">
                  <c:v>1401-04-08</c:v>
                </c:pt>
                <c:pt idx="976">
                  <c:v>1401-04-12</c:v>
                </c:pt>
                <c:pt idx="977">
                  <c:v>1401-04-13</c:v>
                </c:pt>
                <c:pt idx="978">
                  <c:v>1401-04-14</c:v>
                </c:pt>
                <c:pt idx="979">
                  <c:v>1401-04-15</c:v>
                </c:pt>
                <c:pt idx="980">
                  <c:v>1401-04-18</c:v>
                </c:pt>
                <c:pt idx="981">
                  <c:v>1401-04-20</c:v>
                </c:pt>
                <c:pt idx="982">
                  <c:v>1401-04-21</c:v>
                </c:pt>
                <c:pt idx="983">
                  <c:v>1401-04-22</c:v>
                </c:pt>
                <c:pt idx="984">
                  <c:v>1401-04-25</c:v>
                </c:pt>
                <c:pt idx="985">
                  <c:v>1401-04-26</c:v>
                </c:pt>
                <c:pt idx="986">
                  <c:v>1401-05-04</c:v>
                </c:pt>
                <c:pt idx="987">
                  <c:v>1401-05-05</c:v>
                </c:pt>
                <c:pt idx="988">
                  <c:v>1401-05-08</c:v>
                </c:pt>
                <c:pt idx="989">
                  <c:v>1401-05-09</c:v>
                </c:pt>
                <c:pt idx="990">
                  <c:v>1401-05-10</c:v>
                </c:pt>
                <c:pt idx="991">
                  <c:v>1401-05-11</c:v>
                </c:pt>
                <c:pt idx="992">
                  <c:v>1401-05-12</c:v>
                </c:pt>
                <c:pt idx="993">
                  <c:v>1401-05-15</c:v>
                </c:pt>
                <c:pt idx="994">
                  <c:v>1401-05-18</c:v>
                </c:pt>
                <c:pt idx="995">
                  <c:v>1401-05-19</c:v>
                </c:pt>
                <c:pt idx="996">
                  <c:v>1401-05-22</c:v>
                </c:pt>
                <c:pt idx="997">
                  <c:v>1401-05-23</c:v>
                </c:pt>
                <c:pt idx="998">
                  <c:v>1401-05-24</c:v>
                </c:pt>
                <c:pt idx="999">
                  <c:v>1401-05-25</c:v>
                </c:pt>
                <c:pt idx="1000">
                  <c:v>1401-05-26</c:v>
                </c:pt>
                <c:pt idx="1001">
                  <c:v>1401-05-29</c:v>
                </c:pt>
                <c:pt idx="1002">
                  <c:v>1401-05-30</c:v>
                </c:pt>
                <c:pt idx="1003">
                  <c:v>1401-05-31</c:v>
                </c:pt>
                <c:pt idx="1004">
                  <c:v>1401-06-01</c:v>
                </c:pt>
                <c:pt idx="1005">
                  <c:v>1401-06-02</c:v>
                </c:pt>
                <c:pt idx="1006">
                  <c:v>1401-06-05</c:v>
                </c:pt>
                <c:pt idx="1007">
                  <c:v>1401-06-06</c:v>
                </c:pt>
                <c:pt idx="1008">
                  <c:v>1401-06-07</c:v>
                </c:pt>
                <c:pt idx="1009">
                  <c:v>1401-06-09</c:v>
                </c:pt>
                <c:pt idx="1010">
                  <c:v>1401-06-12</c:v>
                </c:pt>
                <c:pt idx="1011">
                  <c:v>1401-06-13</c:v>
                </c:pt>
                <c:pt idx="1012">
                  <c:v>1401-06-14</c:v>
                </c:pt>
                <c:pt idx="1013">
                  <c:v>1401-06-15</c:v>
                </c:pt>
                <c:pt idx="1014">
                  <c:v>1401-06-16</c:v>
                </c:pt>
                <c:pt idx="1015">
                  <c:v>1401-06-19</c:v>
                </c:pt>
                <c:pt idx="1016">
                  <c:v>1401-06-20</c:v>
                </c:pt>
                <c:pt idx="1017">
                  <c:v>1401-06-21</c:v>
                </c:pt>
                <c:pt idx="1018">
                  <c:v>1401-06-22</c:v>
                </c:pt>
                <c:pt idx="1019">
                  <c:v>1401-06-23</c:v>
                </c:pt>
                <c:pt idx="1020">
                  <c:v>1401-06-27</c:v>
                </c:pt>
                <c:pt idx="1021">
                  <c:v>1401-06-28</c:v>
                </c:pt>
                <c:pt idx="1022">
                  <c:v>1401-06-29</c:v>
                </c:pt>
                <c:pt idx="1023">
                  <c:v>1401-06-30</c:v>
                </c:pt>
                <c:pt idx="1024">
                  <c:v>1401-07-02</c:v>
                </c:pt>
                <c:pt idx="1025">
                  <c:v>1401-07-04</c:v>
                </c:pt>
                <c:pt idx="1026">
                  <c:v>1401-07-06</c:v>
                </c:pt>
                <c:pt idx="1027">
                  <c:v>1401-07-09</c:v>
                </c:pt>
                <c:pt idx="1028">
                  <c:v>1401-07-10</c:v>
                </c:pt>
                <c:pt idx="1029">
                  <c:v>1401-07-11</c:v>
                </c:pt>
                <c:pt idx="1030">
                  <c:v>1401-07-12</c:v>
                </c:pt>
                <c:pt idx="1031">
                  <c:v>1401-07-16</c:v>
                </c:pt>
                <c:pt idx="1032">
                  <c:v>1401-07-17</c:v>
                </c:pt>
                <c:pt idx="1033">
                  <c:v>1401-07-18</c:v>
                </c:pt>
                <c:pt idx="1034">
                  <c:v>1401-07-19</c:v>
                </c:pt>
                <c:pt idx="1035">
                  <c:v>1401-07-20</c:v>
                </c:pt>
                <c:pt idx="1036">
                  <c:v>1401-07-23</c:v>
                </c:pt>
                <c:pt idx="1037">
                  <c:v>1401-07-24</c:v>
                </c:pt>
                <c:pt idx="1038">
                  <c:v>1401-07-25</c:v>
                </c:pt>
                <c:pt idx="1039">
                  <c:v>1401-07-26</c:v>
                </c:pt>
                <c:pt idx="1040">
                  <c:v>1401-07-27</c:v>
                </c:pt>
                <c:pt idx="1041">
                  <c:v>1401-07-30</c:v>
                </c:pt>
                <c:pt idx="1042">
                  <c:v>1401-08-01</c:v>
                </c:pt>
                <c:pt idx="1043">
                  <c:v>1401-08-02</c:v>
                </c:pt>
                <c:pt idx="1044">
                  <c:v>1401-08-03</c:v>
                </c:pt>
                <c:pt idx="1045">
                  <c:v>1401-08-04</c:v>
                </c:pt>
                <c:pt idx="1046">
                  <c:v>1401-08-07</c:v>
                </c:pt>
                <c:pt idx="1047">
                  <c:v>1401-08-08</c:v>
                </c:pt>
                <c:pt idx="1048">
                  <c:v>1401-08-09</c:v>
                </c:pt>
                <c:pt idx="1049">
                  <c:v>1401-08-10</c:v>
                </c:pt>
                <c:pt idx="1050">
                  <c:v>1401-08-11</c:v>
                </c:pt>
                <c:pt idx="1051">
                  <c:v>1401-08-14</c:v>
                </c:pt>
                <c:pt idx="1052">
                  <c:v>1401-08-15</c:v>
                </c:pt>
                <c:pt idx="1053">
                  <c:v>1401-08-16</c:v>
                </c:pt>
                <c:pt idx="1054">
                  <c:v>1401-08-17</c:v>
                </c:pt>
                <c:pt idx="1055">
                  <c:v>1401-08-18</c:v>
                </c:pt>
                <c:pt idx="1056">
                  <c:v>1401-08-21</c:v>
                </c:pt>
                <c:pt idx="1057">
                  <c:v>1401-08-22</c:v>
                </c:pt>
                <c:pt idx="1058">
                  <c:v>1401-08-23</c:v>
                </c:pt>
                <c:pt idx="1059">
                  <c:v>1401-08-24</c:v>
                </c:pt>
                <c:pt idx="1060">
                  <c:v>1401-08-25</c:v>
                </c:pt>
                <c:pt idx="1061">
                  <c:v>1401-08-28</c:v>
                </c:pt>
                <c:pt idx="1062">
                  <c:v>1401-08-29</c:v>
                </c:pt>
                <c:pt idx="1063">
                  <c:v>1401-08-30</c:v>
                </c:pt>
                <c:pt idx="1064">
                  <c:v>1401-09-01</c:v>
                </c:pt>
                <c:pt idx="1065">
                  <c:v>1401-09-02</c:v>
                </c:pt>
                <c:pt idx="1066">
                  <c:v>1401-09-05</c:v>
                </c:pt>
                <c:pt idx="1067">
                  <c:v>1401-09-06</c:v>
                </c:pt>
                <c:pt idx="1068">
                  <c:v>1401-09-07</c:v>
                </c:pt>
                <c:pt idx="1069">
                  <c:v>1401-09-08</c:v>
                </c:pt>
                <c:pt idx="1070">
                  <c:v>1401-09-09</c:v>
                </c:pt>
                <c:pt idx="1071">
                  <c:v>1401-09-12</c:v>
                </c:pt>
                <c:pt idx="1072">
                  <c:v>1401-09-13</c:v>
                </c:pt>
                <c:pt idx="1073">
                  <c:v>1401-09-14</c:v>
                </c:pt>
                <c:pt idx="1074">
                  <c:v>1401-09-15</c:v>
                </c:pt>
                <c:pt idx="1075">
                  <c:v>1401-09-16</c:v>
                </c:pt>
                <c:pt idx="1076">
                  <c:v>1401-09-19</c:v>
                </c:pt>
                <c:pt idx="1077">
                  <c:v>1401-09-20</c:v>
                </c:pt>
                <c:pt idx="1078">
                  <c:v>1401-09-21</c:v>
                </c:pt>
                <c:pt idx="1079">
                  <c:v>1401-09-22</c:v>
                </c:pt>
                <c:pt idx="1080">
                  <c:v>1401-09-23</c:v>
                </c:pt>
                <c:pt idx="1081">
                  <c:v>1401-09-26</c:v>
                </c:pt>
                <c:pt idx="1082">
                  <c:v>1401-09-27</c:v>
                </c:pt>
                <c:pt idx="1083">
                  <c:v>1401-09-28</c:v>
                </c:pt>
                <c:pt idx="1084">
                  <c:v>1401-09-29</c:v>
                </c:pt>
                <c:pt idx="1085">
                  <c:v>1401-09-30</c:v>
                </c:pt>
                <c:pt idx="1086">
                  <c:v>1401-10-03</c:v>
                </c:pt>
                <c:pt idx="1087">
                  <c:v>1401-10-04</c:v>
                </c:pt>
                <c:pt idx="1088">
                  <c:v>1401-10-05</c:v>
                </c:pt>
                <c:pt idx="1089">
                  <c:v>1401-10-07</c:v>
                </c:pt>
                <c:pt idx="1090">
                  <c:v>1401-10-10</c:v>
                </c:pt>
                <c:pt idx="1091">
                  <c:v>1401-10-11</c:v>
                </c:pt>
                <c:pt idx="1092">
                  <c:v>1401-10-12</c:v>
                </c:pt>
                <c:pt idx="1093">
                  <c:v>1401-10-13</c:v>
                </c:pt>
                <c:pt idx="1094">
                  <c:v>1401-10-14</c:v>
                </c:pt>
                <c:pt idx="1095">
                  <c:v>1401-10-17</c:v>
                </c:pt>
                <c:pt idx="1096">
                  <c:v>1401-10-18</c:v>
                </c:pt>
                <c:pt idx="1097">
                  <c:v>1401-10-19</c:v>
                </c:pt>
                <c:pt idx="1098">
                  <c:v>1401-10-20</c:v>
                </c:pt>
                <c:pt idx="1099">
                  <c:v>1401-10-21</c:v>
                </c:pt>
                <c:pt idx="1100">
                  <c:v>1401-10-24</c:v>
                </c:pt>
                <c:pt idx="1101">
                  <c:v>1401-10-26</c:v>
                </c:pt>
                <c:pt idx="1102">
                  <c:v>1401-10-27</c:v>
                </c:pt>
                <c:pt idx="1103">
                  <c:v>1401-10-28</c:v>
                </c:pt>
                <c:pt idx="1104">
                  <c:v>1401-11-01</c:v>
                </c:pt>
                <c:pt idx="1105">
                  <c:v>1401-11-02</c:v>
                </c:pt>
                <c:pt idx="1106">
                  <c:v>1401-11-03</c:v>
                </c:pt>
                <c:pt idx="1107">
                  <c:v>1401-11-04</c:v>
                </c:pt>
                <c:pt idx="1108">
                  <c:v>1401-11-05</c:v>
                </c:pt>
                <c:pt idx="1109">
                  <c:v>1401-11-08</c:v>
                </c:pt>
                <c:pt idx="1110">
                  <c:v>1401-11-09</c:v>
                </c:pt>
                <c:pt idx="1111">
                  <c:v>1401-11-10</c:v>
                </c:pt>
                <c:pt idx="1112">
                  <c:v>1401-11-11</c:v>
                </c:pt>
                <c:pt idx="1113">
                  <c:v>1401-11-12</c:v>
                </c:pt>
                <c:pt idx="1114">
                  <c:v>1401-11-16</c:v>
                </c:pt>
                <c:pt idx="1115">
                  <c:v>1401-11-17</c:v>
                </c:pt>
                <c:pt idx="1116">
                  <c:v>1401-11-18</c:v>
                </c:pt>
                <c:pt idx="1117">
                  <c:v>1401-11-19</c:v>
                </c:pt>
                <c:pt idx="1118">
                  <c:v>1401-11-23</c:v>
                </c:pt>
                <c:pt idx="1119">
                  <c:v>1401-11-24</c:v>
                </c:pt>
                <c:pt idx="1120">
                  <c:v>1401-11-25</c:v>
                </c:pt>
                <c:pt idx="1121">
                  <c:v>1401-11-26</c:v>
                </c:pt>
                <c:pt idx="1122">
                  <c:v>1401-11-30</c:v>
                </c:pt>
                <c:pt idx="1123">
                  <c:v>1401-12-01</c:v>
                </c:pt>
                <c:pt idx="1124">
                  <c:v>1401-12-02</c:v>
                </c:pt>
                <c:pt idx="1125">
                  <c:v>1401-12-03</c:v>
                </c:pt>
                <c:pt idx="1126">
                  <c:v>1401-12-06</c:v>
                </c:pt>
                <c:pt idx="1127">
                  <c:v>1401-12-07</c:v>
                </c:pt>
                <c:pt idx="1128">
                  <c:v>1401-12-08</c:v>
                </c:pt>
                <c:pt idx="1129">
                  <c:v>1401-12-09</c:v>
                </c:pt>
                <c:pt idx="1130">
                  <c:v>1401-12-10</c:v>
                </c:pt>
                <c:pt idx="1131">
                  <c:v>1401-12-13</c:v>
                </c:pt>
                <c:pt idx="1132">
                  <c:v>1401-12-14</c:v>
                </c:pt>
                <c:pt idx="1133">
                  <c:v>1401-12-20</c:v>
                </c:pt>
                <c:pt idx="1134">
                  <c:v>1401-12-27</c:v>
                </c:pt>
                <c:pt idx="1135">
                  <c:v>1401-12-28</c:v>
                </c:pt>
                <c:pt idx="1136">
                  <c:v>1402-01-05</c:v>
                </c:pt>
                <c:pt idx="1137">
                  <c:v>1402-01-06</c:v>
                </c:pt>
                <c:pt idx="1138">
                  <c:v>1402-01-07</c:v>
                </c:pt>
                <c:pt idx="1139">
                  <c:v>1402-01-08</c:v>
                </c:pt>
                <c:pt idx="1140">
                  <c:v>1402-01-09</c:v>
                </c:pt>
                <c:pt idx="1141">
                  <c:v>1402-01-14</c:v>
                </c:pt>
                <c:pt idx="1142">
                  <c:v>1402-01-15</c:v>
                </c:pt>
                <c:pt idx="1143">
                  <c:v>1402-01-16</c:v>
                </c:pt>
                <c:pt idx="1144">
                  <c:v>1402-01-19</c:v>
                </c:pt>
                <c:pt idx="1145">
                  <c:v>1402-01-20</c:v>
                </c:pt>
                <c:pt idx="1146">
                  <c:v>1402-01-21</c:v>
                </c:pt>
                <c:pt idx="1147">
                  <c:v>1402-01-22</c:v>
                </c:pt>
                <c:pt idx="1148">
                  <c:v>1402-01-26</c:v>
                </c:pt>
                <c:pt idx="1149">
                  <c:v>1402-01-27</c:v>
                </c:pt>
                <c:pt idx="1150">
                  <c:v>1402-01-28</c:v>
                </c:pt>
                <c:pt idx="1151">
                  <c:v>1402-01-29</c:v>
                </c:pt>
                <c:pt idx="1152">
                  <c:v>1402-01-30</c:v>
                </c:pt>
                <c:pt idx="1153">
                  <c:v>1402-02-04</c:v>
                </c:pt>
                <c:pt idx="1154">
                  <c:v>1402-02-05</c:v>
                </c:pt>
                <c:pt idx="1155">
                  <c:v>1402-02-06</c:v>
                </c:pt>
                <c:pt idx="1156">
                  <c:v>1402-02-09</c:v>
                </c:pt>
                <c:pt idx="1157">
                  <c:v>1402-02-10</c:v>
                </c:pt>
                <c:pt idx="1158">
                  <c:v>1402-02-11</c:v>
                </c:pt>
                <c:pt idx="1159">
                  <c:v>1402-02-12</c:v>
                </c:pt>
                <c:pt idx="1160">
                  <c:v>1402-02-13</c:v>
                </c:pt>
                <c:pt idx="1161">
                  <c:v>1402-02-16</c:v>
                </c:pt>
                <c:pt idx="1162">
                  <c:v>1402-02-17</c:v>
                </c:pt>
                <c:pt idx="1163">
                  <c:v>1402-02-18</c:v>
                </c:pt>
                <c:pt idx="1164">
                  <c:v>1402-02-19</c:v>
                </c:pt>
                <c:pt idx="1165">
                  <c:v>1402-02-20</c:v>
                </c:pt>
                <c:pt idx="1166">
                  <c:v>1402-02-23</c:v>
                </c:pt>
                <c:pt idx="1167">
                  <c:v>1402-02-24</c:v>
                </c:pt>
                <c:pt idx="1168">
                  <c:v>1402-02-25</c:v>
                </c:pt>
                <c:pt idx="1169">
                  <c:v>1402-02-27</c:v>
                </c:pt>
                <c:pt idx="1170">
                  <c:v>1402-02-30</c:v>
                </c:pt>
                <c:pt idx="1171">
                  <c:v>1402-02-31</c:v>
                </c:pt>
                <c:pt idx="1172">
                  <c:v>1402-03-01</c:v>
                </c:pt>
                <c:pt idx="1173">
                  <c:v>1402-03-02</c:v>
                </c:pt>
                <c:pt idx="1174">
                  <c:v>1402-03-03</c:v>
                </c:pt>
                <c:pt idx="1175">
                  <c:v>1402-03-06</c:v>
                </c:pt>
                <c:pt idx="1176">
                  <c:v>1402-03-07</c:v>
                </c:pt>
                <c:pt idx="1177">
                  <c:v>1402-03-08</c:v>
                </c:pt>
                <c:pt idx="1178">
                  <c:v>1402-03-09</c:v>
                </c:pt>
                <c:pt idx="1179">
                  <c:v>1402-03-10</c:v>
                </c:pt>
                <c:pt idx="1180">
                  <c:v>1402-03-13</c:v>
                </c:pt>
                <c:pt idx="1181">
                  <c:v>1402-03-16</c:v>
                </c:pt>
                <c:pt idx="1182">
                  <c:v>1402-03-17</c:v>
                </c:pt>
                <c:pt idx="1183">
                  <c:v>1402-03-20</c:v>
                </c:pt>
                <c:pt idx="1184">
                  <c:v>1402-03-21</c:v>
                </c:pt>
                <c:pt idx="1185">
                  <c:v>1402-03-22</c:v>
                </c:pt>
                <c:pt idx="1186">
                  <c:v>1402-03-23</c:v>
                </c:pt>
                <c:pt idx="1187">
                  <c:v>1402-03-24</c:v>
                </c:pt>
                <c:pt idx="1188">
                  <c:v>1402-03-27</c:v>
                </c:pt>
                <c:pt idx="1189">
                  <c:v>1402-03-28</c:v>
                </c:pt>
                <c:pt idx="1190">
                  <c:v>1402-03-29</c:v>
                </c:pt>
                <c:pt idx="1191">
                  <c:v>1402-03-30</c:v>
                </c:pt>
                <c:pt idx="1192">
                  <c:v>1402-03-31</c:v>
                </c:pt>
                <c:pt idx="1193">
                  <c:v>1402-04-03</c:v>
                </c:pt>
                <c:pt idx="1194">
                  <c:v>1402-04-04</c:v>
                </c:pt>
                <c:pt idx="1195">
                  <c:v>1402-04-05</c:v>
                </c:pt>
                <c:pt idx="1196">
                  <c:v>1402-04-06</c:v>
                </c:pt>
                <c:pt idx="1197">
                  <c:v>1402-04-07</c:v>
                </c:pt>
                <c:pt idx="1198">
                  <c:v>1402-04-10</c:v>
                </c:pt>
                <c:pt idx="1199">
                  <c:v>1402-04-11</c:v>
                </c:pt>
                <c:pt idx="1200">
                  <c:v>1402-04-12</c:v>
                </c:pt>
                <c:pt idx="1201">
                  <c:v>1402-04-13</c:v>
                </c:pt>
                <c:pt idx="1202">
                  <c:v>1402-04-14</c:v>
                </c:pt>
                <c:pt idx="1203">
                  <c:v>1402-04-17</c:v>
                </c:pt>
                <c:pt idx="1204">
                  <c:v>1402-04-18</c:v>
                </c:pt>
                <c:pt idx="1205">
                  <c:v>1402-04-19</c:v>
                </c:pt>
                <c:pt idx="1206">
                  <c:v>1402-04-20</c:v>
                </c:pt>
                <c:pt idx="1207">
                  <c:v>1402-04-21</c:v>
                </c:pt>
                <c:pt idx="1208">
                  <c:v>1402-04-24</c:v>
                </c:pt>
                <c:pt idx="1209">
                  <c:v>1402-04-25</c:v>
                </c:pt>
                <c:pt idx="1210">
                  <c:v>1402-04-26</c:v>
                </c:pt>
                <c:pt idx="1211">
                  <c:v>1402-04-27</c:v>
                </c:pt>
                <c:pt idx="1212">
                  <c:v>1402-05-02</c:v>
                </c:pt>
                <c:pt idx="1213">
                  <c:v>1402-05-03</c:v>
                </c:pt>
                <c:pt idx="1214">
                  <c:v>1402-05-04</c:v>
                </c:pt>
                <c:pt idx="1215">
                  <c:v>1402-05-07</c:v>
                </c:pt>
                <c:pt idx="1216">
                  <c:v>1402-05-08</c:v>
                </c:pt>
                <c:pt idx="1217">
                  <c:v>1402-05-09</c:v>
                </c:pt>
                <c:pt idx="1218">
                  <c:v>1402-05-10</c:v>
                </c:pt>
                <c:pt idx="1219">
                  <c:v>1402-05-14</c:v>
                </c:pt>
                <c:pt idx="1220">
                  <c:v>1402-05-15</c:v>
                </c:pt>
                <c:pt idx="1221">
                  <c:v>1402-05-16</c:v>
                </c:pt>
                <c:pt idx="1222">
                  <c:v>1402-05-17</c:v>
                </c:pt>
                <c:pt idx="1223">
                  <c:v>1402-05-18</c:v>
                </c:pt>
                <c:pt idx="1224">
                  <c:v>1402-05-21</c:v>
                </c:pt>
                <c:pt idx="1225">
                  <c:v>1402-05-22</c:v>
                </c:pt>
                <c:pt idx="1226">
                  <c:v>1402-05-23</c:v>
                </c:pt>
                <c:pt idx="1227">
                  <c:v>1402-05-24</c:v>
                </c:pt>
                <c:pt idx="1228">
                  <c:v>1402-05-25</c:v>
                </c:pt>
                <c:pt idx="1229">
                  <c:v>1402-05-28</c:v>
                </c:pt>
                <c:pt idx="1230">
                  <c:v>1402-05-29</c:v>
                </c:pt>
                <c:pt idx="1231">
                  <c:v>1402-05-30</c:v>
                </c:pt>
                <c:pt idx="1232">
                  <c:v>1402-05-31</c:v>
                </c:pt>
                <c:pt idx="1233">
                  <c:v>1402-06-01</c:v>
                </c:pt>
                <c:pt idx="1234">
                  <c:v>1402-06-04</c:v>
                </c:pt>
                <c:pt idx="1235">
                  <c:v>1402-06-05</c:v>
                </c:pt>
                <c:pt idx="1236">
                  <c:v>1402-06-06</c:v>
                </c:pt>
                <c:pt idx="1237">
                  <c:v>1402-06-07</c:v>
                </c:pt>
                <c:pt idx="1238">
                  <c:v>1402-06-08</c:v>
                </c:pt>
                <c:pt idx="1239">
                  <c:v>1402-06-11</c:v>
                </c:pt>
                <c:pt idx="1240">
                  <c:v>1402-06-12</c:v>
                </c:pt>
                <c:pt idx="1241">
                  <c:v>1402-06-13</c:v>
                </c:pt>
                <c:pt idx="1242">
                  <c:v>1402-06-14</c:v>
                </c:pt>
                <c:pt idx="1243">
                  <c:v>1402-06-18</c:v>
                </c:pt>
                <c:pt idx="1244">
                  <c:v>1402-06-19</c:v>
                </c:pt>
                <c:pt idx="1245">
                  <c:v>1402-06-20</c:v>
                </c:pt>
                <c:pt idx="1246">
                  <c:v>1402-06-21</c:v>
                </c:pt>
                <c:pt idx="1247">
                  <c:v>1402-06-22</c:v>
                </c:pt>
                <c:pt idx="1248">
                  <c:v>1402-06-26</c:v>
                </c:pt>
                <c:pt idx="1249">
                  <c:v>1402-06-27</c:v>
                </c:pt>
                <c:pt idx="1250">
                  <c:v>1402-06-28</c:v>
                </c:pt>
                <c:pt idx="1251">
                  <c:v>1402-06-29</c:v>
                </c:pt>
                <c:pt idx="1252">
                  <c:v>1402-07-01</c:v>
                </c:pt>
                <c:pt idx="1253">
                  <c:v>1402-07-03</c:v>
                </c:pt>
                <c:pt idx="1254">
                  <c:v>1402-07-04</c:v>
                </c:pt>
                <c:pt idx="1255">
                  <c:v>1402-07-05</c:v>
                </c:pt>
                <c:pt idx="1256">
                  <c:v>1402-07-08</c:v>
                </c:pt>
                <c:pt idx="1257">
                  <c:v>1402-07-09</c:v>
                </c:pt>
                <c:pt idx="1258">
                  <c:v>1402-07-10</c:v>
                </c:pt>
                <c:pt idx="1259">
                  <c:v>1402-07-12</c:v>
                </c:pt>
                <c:pt idx="1260">
                  <c:v>1402-07-15</c:v>
                </c:pt>
                <c:pt idx="1261">
                  <c:v>1402-07-16</c:v>
                </c:pt>
                <c:pt idx="1262">
                  <c:v>1402-07-17</c:v>
                </c:pt>
                <c:pt idx="1263">
                  <c:v>1402-07-18</c:v>
                </c:pt>
                <c:pt idx="1264">
                  <c:v>1402-07-19</c:v>
                </c:pt>
                <c:pt idx="1265">
                  <c:v>1402-07-22</c:v>
                </c:pt>
                <c:pt idx="1266">
                  <c:v>1402-07-23</c:v>
                </c:pt>
                <c:pt idx="1267">
                  <c:v>1402-07-24</c:v>
                </c:pt>
                <c:pt idx="1268">
                  <c:v>1402-07-25</c:v>
                </c:pt>
                <c:pt idx="1269">
                  <c:v>1402-07-26</c:v>
                </c:pt>
                <c:pt idx="1270">
                  <c:v>1402-07-29</c:v>
                </c:pt>
                <c:pt idx="1271">
                  <c:v>1402-07-30</c:v>
                </c:pt>
                <c:pt idx="1272">
                  <c:v>1402-08-01</c:v>
                </c:pt>
                <c:pt idx="1273">
                  <c:v>1402-08-02</c:v>
                </c:pt>
                <c:pt idx="1274">
                  <c:v>1402-08-03</c:v>
                </c:pt>
                <c:pt idx="1275">
                  <c:v>1402-08-06</c:v>
                </c:pt>
                <c:pt idx="1276">
                  <c:v>1402-08-07</c:v>
                </c:pt>
                <c:pt idx="1277">
                  <c:v>1402-08-08</c:v>
                </c:pt>
                <c:pt idx="1278">
                  <c:v>1402-08-09</c:v>
                </c:pt>
                <c:pt idx="1279">
                  <c:v>1402-08-10</c:v>
                </c:pt>
                <c:pt idx="1280">
                  <c:v>1402-08-13</c:v>
                </c:pt>
                <c:pt idx="1281">
                  <c:v>1402-08-14</c:v>
                </c:pt>
                <c:pt idx="1282">
                  <c:v>1402-08-15</c:v>
                </c:pt>
                <c:pt idx="1283">
                  <c:v>1402-08-16</c:v>
                </c:pt>
                <c:pt idx="1284">
                  <c:v>1402-08-17</c:v>
                </c:pt>
                <c:pt idx="1285">
                  <c:v>1402-08-20</c:v>
                </c:pt>
                <c:pt idx="1286">
                  <c:v>1402-08-21</c:v>
                </c:pt>
                <c:pt idx="1287">
                  <c:v>1402-08-22</c:v>
                </c:pt>
                <c:pt idx="1288">
                  <c:v>1402-08-23</c:v>
                </c:pt>
                <c:pt idx="1289">
                  <c:v>1402-08-24</c:v>
                </c:pt>
                <c:pt idx="1290">
                  <c:v>1402-08-27</c:v>
                </c:pt>
                <c:pt idx="1291">
                  <c:v>1402-08-28</c:v>
                </c:pt>
                <c:pt idx="1292">
                  <c:v>1402-08-29</c:v>
                </c:pt>
                <c:pt idx="1293">
                  <c:v>1402-08-30</c:v>
                </c:pt>
                <c:pt idx="1294">
                  <c:v>1402-09-01</c:v>
                </c:pt>
                <c:pt idx="1295">
                  <c:v>1402-09-04</c:v>
                </c:pt>
                <c:pt idx="1296">
                  <c:v>1402-09-05</c:v>
                </c:pt>
                <c:pt idx="1297">
                  <c:v>1402-09-06</c:v>
                </c:pt>
                <c:pt idx="1298">
                  <c:v>1402-09-07</c:v>
                </c:pt>
                <c:pt idx="1299">
                  <c:v>1402-09-08</c:v>
                </c:pt>
                <c:pt idx="1300">
                  <c:v>1402-09-11</c:v>
                </c:pt>
                <c:pt idx="1301">
                  <c:v>1402-09-12</c:v>
                </c:pt>
                <c:pt idx="1302">
                  <c:v>1402-09-13</c:v>
                </c:pt>
                <c:pt idx="1303">
                  <c:v>1402-09-14</c:v>
                </c:pt>
                <c:pt idx="1304">
                  <c:v>1402-09-15</c:v>
                </c:pt>
                <c:pt idx="1305">
                  <c:v>1402-09-18</c:v>
                </c:pt>
                <c:pt idx="1306">
                  <c:v>1402-09-19</c:v>
                </c:pt>
                <c:pt idx="1307">
                  <c:v>1402-09-20</c:v>
                </c:pt>
                <c:pt idx="1308">
                  <c:v>1402-09-21</c:v>
                </c:pt>
                <c:pt idx="1309">
                  <c:v>1402-09-22</c:v>
                </c:pt>
                <c:pt idx="1310">
                  <c:v>1402-09-25</c:v>
                </c:pt>
                <c:pt idx="1311">
                  <c:v>1402-09-27</c:v>
                </c:pt>
                <c:pt idx="1312">
                  <c:v>1402-09-28</c:v>
                </c:pt>
                <c:pt idx="1313">
                  <c:v>1402-09-29</c:v>
                </c:pt>
                <c:pt idx="1314">
                  <c:v>1402-10-02</c:v>
                </c:pt>
                <c:pt idx="1315">
                  <c:v>1402-10-03</c:v>
                </c:pt>
                <c:pt idx="1316">
                  <c:v>1402-10-04</c:v>
                </c:pt>
                <c:pt idx="1317">
                  <c:v>1402-10-05</c:v>
                </c:pt>
                <c:pt idx="1318">
                  <c:v>1402-10-06</c:v>
                </c:pt>
                <c:pt idx="1319">
                  <c:v>1402-10-09</c:v>
                </c:pt>
                <c:pt idx="1320">
                  <c:v>1402-10-10</c:v>
                </c:pt>
                <c:pt idx="1321">
                  <c:v>1402-10-11</c:v>
                </c:pt>
                <c:pt idx="1322">
                  <c:v>1402-10-12</c:v>
                </c:pt>
                <c:pt idx="1323">
                  <c:v>1402-10-13</c:v>
                </c:pt>
                <c:pt idx="1324">
                  <c:v>1402-10-16</c:v>
                </c:pt>
                <c:pt idx="1325">
                  <c:v>1402-10-17</c:v>
                </c:pt>
                <c:pt idx="1326">
                  <c:v>1402-10-18</c:v>
                </c:pt>
                <c:pt idx="1327">
                  <c:v>1402-10-19</c:v>
                </c:pt>
                <c:pt idx="1328">
                  <c:v>1402-10-20</c:v>
                </c:pt>
                <c:pt idx="1329">
                  <c:v>1402-10-23</c:v>
                </c:pt>
                <c:pt idx="1330">
                  <c:v>1402-10-24</c:v>
                </c:pt>
                <c:pt idx="1331">
                  <c:v>1402-10-25</c:v>
                </c:pt>
                <c:pt idx="1332">
                  <c:v>1402-10-26</c:v>
                </c:pt>
                <c:pt idx="1333">
                  <c:v>1402-10-27</c:v>
                </c:pt>
                <c:pt idx="1334">
                  <c:v>1402-10-30</c:v>
                </c:pt>
                <c:pt idx="1335">
                  <c:v>1402-11-01</c:v>
                </c:pt>
                <c:pt idx="1336">
                  <c:v>1402-11-02</c:v>
                </c:pt>
                <c:pt idx="1337">
                  <c:v>1402-11-03</c:v>
                </c:pt>
                <c:pt idx="1338">
                  <c:v>1402-11-04</c:v>
                </c:pt>
                <c:pt idx="1339">
                  <c:v>1402-11-07</c:v>
                </c:pt>
                <c:pt idx="1340">
                  <c:v>1402-11-08</c:v>
                </c:pt>
                <c:pt idx="1341">
                  <c:v>1402-11-09</c:v>
                </c:pt>
                <c:pt idx="1342">
                  <c:v>1402-11-10</c:v>
                </c:pt>
                <c:pt idx="1343">
                  <c:v>1402-11-11</c:v>
                </c:pt>
                <c:pt idx="1344">
                  <c:v>1402-11-14</c:v>
                </c:pt>
                <c:pt idx="1345">
                  <c:v>1402-11-15</c:v>
                </c:pt>
                <c:pt idx="1346">
                  <c:v>1402-11-16</c:v>
                </c:pt>
                <c:pt idx="1347">
                  <c:v>1402-11-17</c:v>
                </c:pt>
                <c:pt idx="1348">
                  <c:v>1402-11-18</c:v>
                </c:pt>
                <c:pt idx="1349">
                  <c:v>1402-11-21</c:v>
                </c:pt>
                <c:pt idx="1350">
                  <c:v>1402-12-09</c:v>
                </c:pt>
                <c:pt idx="1351">
                  <c:v>1402-12-13</c:v>
                </c:pt>
                <c:pt idx="1352">
                  <c:v>1402-12-14</c:v>
                </c:pt>
                <c:pt idx="1353">
                  <c:v>1402-12-15</c:v>
                </c:pt>
                <c:pt idx="1354">
                  <c:v>1402-12-16</c:v>
                </c:pt>
                <c:pt idx="1355">
                  <c:v>1402-12-19</c:v>
                </c:pt>
                <c:pt idx="1356">
                  <c:v>1402-12-20</c:v>
                </c:pt>
                <c:pt idx="1357">
                  <c:v>1402-12-21</c:v>
                </c:pt>
                <c:pt idx="1358">
                  <c:v>1402-12-22</c:v>
                </c:pt>
                <c:pt idx="1359">
                  <c:v>1402-12-23</c:v>
                </c:pt>
                <c:pt idx="1360">
                  <c:v>1402-12-26</c:v>
                </c:pt>
                <c:pt idx="1361">
                  <c:v>1402-12-27</c:v>
                </c:pt>
                <c:pt idx="1362">
                  <c:v>1402-12-28</c:v>
                </c:pt>
                <c:pt idx="1363">
                  <c:v>1403-01-05</c:v>
                </c:pt>
                <c:pt idx="1364">
                  <c:v>1403-01-06</c:v>
                </c:pt>
                <c:pt idx="1365">
                  <c:v>1403-01-07</c:v>
                </c:pt>
                <c:pt idx="1366">
                  <c:v>1403-01-08</c:v>
                </c:pt>
                <c:pt idx="1367">
                  <c:v>1403-01-11</c:v>
                </c:pt>
                <c:pt idx="1368">
                  <c:v>1403-01-14</c:v>
                </c:pt>
                <c:pt idx="1369">
                  <c:v>1403-01-15</c:v>
                </c:pt>
                <c:pt idx="1370">
                  <c:v>1403-01-18</c:v>
                </c:pt>
                <c:pt idx="1371">
                  <c:v>1403-01-19</c:v>
                </c:pt>
                <c:pt idx="1372">
                  <c:v>1403-01-20</c:v>
                </c:pt>
                <c:pt idx="1373">
                  <c:v>1403-01-21</c:v>
                </c:pt>
                <c:pt idx="1374">
                  <c:v>1403-01-25</c:v>
                </c:pt>
                <c:pt idx="1375">
                  <c:v>1403-01-26</c:v>
                </c:pt>
                <c:pt idx="1376">
                  <c:v>1403-01-27</c:v>
                </c:pt>
                <c:pt idx="1377">
                  <c:v>1403-01-28</c:v>
                </c:pt>
                <c:pt idx="1378">
                  <c:v>1403-01-29</c:v>
                </c:pt>
                <c:pt idx="1379">
                  <c:v>1403-02-01</c:v>
                </c:pt>
                <c:pt idx="1380">
                  <c:v>1403-02-02</c:v>
                </c:pt>
                <c:pt idx="1381">
                  <c:v>1403-02-03</c:v>
                </c:pt>
                <c:pt idx="1382">
                  <c:v>1403-02-04</c:v>
                </c:pt>
                <c:pt idx="1383">
                  <c:v>1403-02-05</c:v>
                </c:pt>
                <c:pt idx="1384">
                  <c:v>1403-02-08</c:v>
                </c:pt>
                <c:pt idx="1385">
                  <c:v>1403-02-09</c:v>
                </c:pt>
                <c:pt idx="1386">
                  <c:v>1403-02-10</c:v>
                </c:pt>
                <c:pt idx="1387">
                  <c:v>1403-02-11</c:v>
                </c:pt>
                <c:pt idx="1388">
                  <c:v>1403-02-12</c:v>
                </c:pt>
                <c:pt idx="1389">
                  <c:v>1403-02-16</c:v>
                </c:pt>
                <c:pt idx="1390">
                  <c:v>1403-02-17</c:v>
                </c:pt>
                <c:pt idx="1391">
                  <c:v>1403-02-18</c:v>
                </c:pt>
                <c:pt idx="1392">
                  <c:v>1403-02-19</c:v>
                </c:pt>
                <c:pt idx="1393">
                  <c:v>1403-02-22</c:v>
                </c:pt>
                <c:pt idx="1394">
                  <c:v>1403-02-23</c:v>
                </c:pt>
                <c:pt idx="1395">
                  <c:v>1403-02-24</c:v>
                </c:pt>
                <c:pt idx="1396">
                  <c:v>1403-02-25</c:v>
                </c:pt>
                <c:pt idx="1397">
                  <c:v>1403-02-26</c:v>
                </c:pt>
                <c:pt idx="1398">
                  <c:v>1403-02-29</c:v>
                </c:pt>
                <c:pt idx="1399">
                  <c:v>1403-02-30</c:v>
                </c:pt>
                <c:pt idx="1400">
                  <c:v>1403-03-01</c:v>
                </c:pt>
                <c:pt idx="1401">
                  <c:v>1403-03-05</c:v>
                </c:pt>
                <c:pt idx="1402">
                  <c:v>1403-03-06</c:v>
                </c:pt>
                <c:pt idx="1403">
                  <c:v>1403-03-07</c:v>
                </c:pt>
                <c:pt idx="1404">
                  <c:v>1403-03-08</c:v>
                </c:pt>
                <c:pt idx="1405">
                  <c:v>1403-03-09</c:v>
                </c:pt>
                <c:pt idx="1406">
                  <c:v>1403-03-12</c:v>
                </c:pt>
                <c:pt idx="1407">
                  <c:v>1403-03-13</c:v>
                </c:pt>
                <c:pt idx="1408">
                  <c:v>1403-03-16</c:v>
                </c:pt>
                <c:pt idx="1409">
                  <c:v>1403-03-19</c:v>
                </c:pt>
                <c:pt idx="1410">
                  <c:v>1403-03-20</c:v>
                </c:pt>
                <c:pt idx="1411">
                  <c:v>1403-03-21</c:v>
                </c:pt>
                <c:pt idx="1412">
                  <c:v>1403-03-22</c:v>
                </c:pt>
                <c:pt idx="1413">
                  <c:v>1403-03-23</c:v>
                </c:pt>
                <c:pt idx="1414">
                  <c:v>1403-03-26</c:v>
                </c:pt>
                <c:pt idx="1415">
                  <c:v>1403-03-27</c:v>
                </c:pt>
                <c:pt idx="1416">
                  <c:v>1403-03-29</c:v>
                </c:pt>
                <c:pt idx="1417">
                  <c:v>1403-03-30</c:v>
                </c:pt>
                <c:pt idx="1418">
                  <c:v>1403-04-02</c:v>
                </c:pt>
                <c:pt idx="1419">
                  <c:v>1403-04-03</c:v>
                </c:pt>
                <c:pt idx="1420">
                  <c:v>1403-04-04</c:v>
                </c:pt>
                <c:pt idx="1421">
                  <c:v>1403-04-06</c:v>
                </c:pt>
                <c:pt idx="1422">
                  <c:v>1403-04-09</c:v>
                </c:pt>
                <c:pt idx="1423">
                  <c:v>1403-04-10</c:v>
                </c:pt>
                <c:pt idx="1424">
                  <c:v>1403-04-11</c:v>
                </c:pt>
                <c:pt idx="1425">
                  <c:v>1403-04-12</c:v>
                </c:pt>
                <c:pt idx="1426">
                  <c:v>1403-04-13</c:v>
                </c:pt>
                <c:pt idx="1427">
                  <c:v>1403-04-16</c:v>
                </c:pt>
                <c:pt idx="1428">
                  <c:v>1403-04-17</c:v>
                </c:pt>
                <c:pt idx="1429">
                  <c:v>1403-04-18</c:v>
                </c:pt>
                <c:pt idx="1430">
                  <c:v>1403-04-19</c:v>
                </c:pt>
                <c:pt idx="1431">
                  <c:v>1403-04-20</c:v>
                </c:pt>
                <c:pt idx="1432">
                  <c:v>1403-04-23</c:v>
                </c:pt>
                <c:pt idx="1433">
                  <c:v>1403-04-24</c:v>
                </c:pt>
                <c:pt idx="1434">
                  <c:v>1403-04-27</c:v>
                </c:pt>
                <c:pt idx="1435">
                  <c:v>1403-05-03</c:v>
                </c:pt>
                <c:pt idx="1436">
                  <c:v>1403-05-06</c:v>
                </c:pt>
                <c:pt idx="1437">
                  <c:v>1403-05-08</c:v>
                </c:pt>
                <c:pt idx="1438">
                  <c:v>1403-05-09</c:v>
                </c:pt>
                <c:pt idx="1439">
                  <c:v>1403-05-10</c:v>
                </c:pt>
                <c:pt idx="1440">
                  <c:v>1403-05-13</c:v>
                </c:pt>
                <c:pt idx="1441">
                  <c:v>1403-05-14</c:v>
                </c:pt>
                <c:pt idx="1442">
                  <c:v>1403-05-15</c:v>
                </c:pt>
                <c:pt idx="1443">
                  <c:v>1403-05-16</c:v>
                </c:pt>
                <c:pt idx="1444">
                  <c:v>1403-05-20</c:v>
                </c:pt>
                <c:pt idx="1445">
                  <c:v>1403-05-21</c:v>
                </c:pt>
                <c:pt idx="1446">
                  <c:v>1403-05-22</c:v>
                </c:pt>
                <c:pt idx="1447">
                  <c:v>1403-05-23</c:v>
                </c:pt>
                <c:pt idx="1448">
                  <c:v>1403-05-24</c:v>
                </c:pt>
                <c:pt idx="1449">
                  <c:v>1403-05-27</c:v>
                </c:pt>
                <c:pt idx="1450">
                  <c:v>1403-05-28</c:v>
                </c:pt>
                <c:pt idx="1451">
                  <c:v>1403-05-29</c:v>
                </c:pt>
                <c:pt idx="1452">
                  <c:v>1403-05-30</c:v>
                </c:pt>
                <c:pt idx="1453">
                  <c:v>1403-05-31</c:v>
                </c:pt>
                <c:pt idx="1454">
                  <c:v>1403-06-03</c:v>
                </c:pt>
                <c:pt idx="1455">
                  <c:v>1403-06-05</c:v>
                </c:pt>
                <c:pt idx="1456">
                  <c:v>1403-06-06</c:v>
                </c:pt>
                <c:pt idx="1457">
                  <c:v>1403-06-07</c:v>
                </c:pt>
                <c:pt idx="1458">
                  <c:v>1403-06-10</c:v>
                </c:pt>
                <c:pt idx="1459">
                  <c:v>1403-06-11</c:v>
                </c:pt>
                <c:pt idx="1460">
                  <c:v>1403-06-13</c:v>
                </c:pt>
                <c:pt idx="1461">
                  <c:v>1403-06-17</c:v>
                </c:pt>
                <c:pt idx="1462">
                  <c:v>1403-06-18</c:v>
                </c:pt>
                <c:pt idx="1463">
                  <c:v>1403-06-19</c:v>
                </c:pt>
                <c:pt idx="1464">
                  <c:v>1403-06-20</c:v>
                </c:pt>
                <c:pt idx="1465">
                  <c:v>1403-06-21</c:v>
                </c:pt>
                <c:pt idx="1466">
                  <c:v>1403-06-24</c:v>
                </c:pt>
                <c:pt idx="1467">
                  <c:v>1403-06-25</c:v>
                </c:pt>
                <c:pt idx="1468">
                  <c:v>1403-06-26</c:v>
                </c:pt>
                <c:pt idx="1469">
                  <c:v>1403-06-27</c:v>
                </c:pt>
                <c:pt idx="1470">
                  <c:v>1403-06-28</c:v>
                </c:pt>
                <c:pt idx="1471">
                  <c:v>1403-07-01</c:v>
                </c:pt>
                <c:pt idx="1472">
                  <c:v>1403-07-02</c:v>
                </c:pt>
                <c:pt idx="1473">
                  <c:v>1403-07-03</c:v>
                </c:pt>
                <c:pt idx="1474">
                  <c:v>1403-07-04</c:v>
                </c:pt>
                <c:pt idx="1475">
                  <c:v>1403-07-07</c:v>
                </c:pt>
                <c:pt idx="1476">
                  <c:v>1403-07-08</c:v>
                </c:pt>
                <c:pt idx="1477">
                  <c:v>1403-07-09</c:v>
                </c:pt>
                <c:pt idx="1478">
                  <c:v>1403-07-10</c:v>
                </c:pt>
                <c:pt idx="1479">
                  <c:v>1403-07-11</c:v>
                </c:pt>
                <c:pt idx="1480">
                  <c:v>1403-07-14</c:v>
                </c:pt>
                <c:pt idx="1481">
                  <c:v>1403-07-15</c:v>
                </c:pt>
                <c:pt idx="1482">
                  <c:v>1403-07-16</c:v>
                </c:pt>
                <c:pt idx="1483">
                  <c:v>1403-07-17</c:v>
                </c:pt>
                <c:pt idx="1484">
                  <c:v>1403-07-17</c:v>
                </c:pt>
                <c:pt idx="1485">
                  <c:v>1403-07-18</c:v>
                </c:pt>
                <c:pt idx="1486">
                  <c:v>1403-07-21</c:v>
                </c:pt>
                <c:pt idx="1487">
                  <c:v>1403-07-22</c:v>
                </c:pt>
                <c:pt idx="1488">
                  <c:v>1403-07-23</c:v>
                </c:pt>
                <c:pt idx="1489">
                  <c:v>1403-07-24</c:v>
                </c:pt>
                <c:pt idx="1490">
                  <c:v>1403-07-25</c:v>
                </c:pt>
                <c:pt idx="1491">
                  <c:v>1403-07-28</c:v>
                </c:pt>
                <c:pt idx="1492">
                  <c:v>1403-07-29</c:v>
                </c:pt>
                <c:pt idx="1493">
                  <c:v>1403-07-30</c:v>
                </c:pt>
                <c:pt idx="1494">
                  <c:v>1403-08-01</c:v>
                </c:pt>
                <c:pt idx="1495">
                  <c:v>1403-08-02</c:v>
                </c:pt>
                <c:pt idx="1496">
                  <c:v>1403-08-05</c:v>
                </c:pt>
                <c:pt idx="1497">
                  <c:v>1403-08-06</c:v>
                </c:pt>
                <c:pt idx="1498">
                  <c:v>1403-08-07</c:v>
                </c:pt>
                <c:pt idx="1499">
                  <c:v>1403-08-08</c:v>
                </c:pt>
                <c:pt idx="1500">
                  <c:v>1403-08-09</c:v>
                </c:pt>
                <c:pt idx="1501">
                  <c:v>1403-08-12</c:v>
                </c:pt>
                <c:pt idx="1502">
                  <c:v>1403-08-13</c:v>
                </c:pt>
                <c:pt idx="1503">
                  <c:v>1403-08-14</c:v>
                </c:pt>
                <c:pt idx="1504">
                  <c:v>1403-08-15</c:v>
                </c:pt>
                <c:pt idx="1505">
                  <c:v>1403-08-16</c:v>
                </c:pt>
                <c:pt idx="1506">
                  <c:v>1403-08-19</c:v>
                </c:pt>
                <c:pt idx="1507">
                  <c:v>1403-08-20</c:v>
                </c:pt>
                <c:pt idx="1508">
                  <c:v>1403-08-21</c:v>
                </c:pt>
                <c:pt idx="1509">
                  <c:v>1403-08-22</c:v>
                </c:pt>
                <c:pt idx="1510">
                  <c:v>1403-08-23</c:v>
                </c:pt>
                <c:pt idx="1511">
                  <c:v>1403-08-26</c:v>
                </c:pt>
                <c:pt idx="1512">
                  <c:v>1403-08-27</c:v>
                </c:pt>
                <c:pt idx="1513">
                  <c:v>1403-08-28</c:v>
                </c:pt>
                <c:pt idx="1514">
                  <c:v>1403-08-29</c:v>
                </c:pt>
                <c:pt idx="1515">
                  <c:v>1403-08-30</c:v>
                </c:pt>
                <c:pt idx="1516">
                  <c:v>1403-09-03</c:v>
                </c:pt>
                <c:pt idx="1517">
                  <c:v>1403-09-04</c:v>
                </c:pt>
                <c:pt idx="1518">
                  <c:v>1403-09-05</c:v>
                </c:pt>
                <c:pt idx="1519">
                  <c:v>1403-09-06</c:v>
                </c:pt>
                <c:pt idx="1520">
                  <c:v>1403-09-07</c:v>
                </c:pt>
                <c:pt idx="1521">
                  <c:v>1403-09-10</c:v>
                </c:pt>
                <c:pt idx="1522">
                  <c:v>1403-09-11</c:v>
                </c:pt>
                <c:pt idx="1523">
                  <c:v>1403-09-12</c:v>
                </c:pt>
                <c:pt idx="1524">
                  <c:v>1403-09-13</c:v>
                </c:pt>
                <c:pt idx="1525">
                  <c:v>1403-09-14</c:v>
                </c:pt>
                <c:pt idx="1526">
                  <c:v>1403-09-17</c:v>
                </c:pt>
                <c:pt idx="1527">
                  <c:v>1403-09-18</c:v>
                </c:pt>
                <c:pt idx="1528">
                  <c:v>1403-09-19</c:v>
                </c:pt>
                <c:pt idx="1529">
                  <c:v>1403-09-20</c:v>
                </c:pt>
                <c:pt idx="1530">
                  <c:v>1403-09-21</c:v>
                </c:pt>
                <c:pt idx="1531">
                  <c:v>1403-09-24</c:v>
                </c:pt>
                <c:pt idx="1532">
                  <c:v>1403-09-25</c:v>
                </c:pt>
                <c:pt idx="1533">
                  <c:v>1403-09-26</c:v>
                </c:pt>
                <c:pt idx="1534">
                  <c:v>1403-09-27</c:v>
                </c:pt>
                <c:pt idx="1535">
                  <c:v>1403-09-28</c:v>
                </c:pt>
                <c:pt idx="1536">
                  <c:v>1403-10-01</c:v>
                </c:pt>
                <c:pt idx="1537">
                  <c:v>1403-10-02</c:v>
                </c:pt>
                <c:pt idx="1538">
                  <c:v>1403-10-03</c:v>
                </c:pt>
                <c:pt idx="1539">
                  <c:v>1403-10-04</c:v>
                </c:pt>
                <c:pt idx="1540">
                  <c:v>1403-10-05</c:v>
                </c:pt>
                <c:pt idx="1541">
                  <c:v>1403-10-08</c:v>
                </c:pt>
                <c:pt idx="1542">
                  <c:v>1403-10-09</c:v>
                </c:pt>
                <c:pt idx="1543">
                  <c:v>1403-10-10</c:v>
                </c:pt>
                <c:pt idx="1544">
                  <c:v>1403-10-11</c:v>
                </c:pt>
                <c:pt idx="1545">
                  <c:v>1403-10-12</c:v>
                </c:pt>
                <c:pt idx="1546">
                  <c:v>1403-10-15</c:v>
                </c:pt>
                <c:pt idx="1547">
                  <c:v>1403-10-16</c:v>
                </c:pt>
                <c:pt idx="1548">
                  <c:v>1403-10-17</c:v>
                </c:pt>
                <c:pt idx="1549">
                  <c:v>1403-10-18</c:v>
                </c:pt>
                <c:pt idx="1550">
                  <c:v>1403-10-19</c:v>
                </c:pt>
                <c:pt idx="1551">
                  <c:v>1403-10-23</c:v>
                </c:pt>
                <c:pt idx="1552">
                  <c:v>1403-10-24</c:v>
                </c:pt>
                <c:pt idx="1553">
                  <c:v>1403-10-26</c:v>
                </c:pt>
                <c:pt idx="1554">
                  <c:v>1403-10-29</c:v>
                </c:pt>
                <c:pt idx="1555">
                  <c:v>1403-10-30</c:v>
                </c:pt>
                <c:pt idx="1556">
                  <c:v>1403-11-01</c:v>
                </c:pt>
                <c:pt idx="1557">
                  <c:v>1403-11-02</c:v>
                </c:pt>
                <c:pt idx="1558">
                  <c:v>1403-11-03</c:v>
                </c:pt>
                <c:pt idx="1559">
                  <c:v>1403-11-03</c:v>
                </c:pt>
                <c:pt idx="1560">
                  <c:v>1403-11-06</c:v>
                </c:pt>
                <c:pt idx="1561">
                  <c:v>1403-11-07</c:v>
                </c:pt>
                <c:pt idx="1562">
                  <c:v>1403-11-08</c:v>
                </c:pt>
                <c:pt idx="1563">
                  <c:v>1403-11-10</c:v>
                </c:pt>
                <c:pt idx="1564">
                  <c:v>1403-11-13</c:v>
                </c:pt>
                <c:pt idx="1565">
                  <c:v>1403-11-14</c:v>
                </c:pt>
                <c:pt idx="1566">
                  <c:v>1403-11-15</c:v>
                </c:pt>
                <c:pt idx="1567">
                  <c:v>1403-11-16</c:v>
                </c:pt>
                <c:pt idx="1568">
                  <c:v>1403-11-17</c:v>
                </c:pt>
                <c:pt idx="1569">
                  <c:v>1403-11-21</c:v>
                </c:pt>
                <c:pt idx="1570">
                  <c:v>1403-11-23</c:v>
                </c:pt>
                <c:pt idx="1571">
                  <c:v>1403-11-27</c:v>
                </c:pt>
                <c:pt idx="1572">
                  <c:v>1403-11-28</c:v>
                </c:pt>
                <c:pt idx="1573">
                  <c:v>1403-11-29</c:v>
                </c:pt>
                <c:pt idx="1574">
                  <c:v>1403-11-30</c:v>
                </c:pt>
                <c:pt idx="1575">
                  <c:v>1403-12-01</c:v>
                </c:pt>
                <c:pt idx="1576">
                  <c:v>1403-12-01</c:v>
                </c:pt>
                <c:pt idx="1577">
                  <c:v>1403-12-04</c:v>
                </c:pt>
                <c:pt idx="1578">
                  <c:v>1403-12-05</c:v>
                </c:pt>
                <c:pt idx="1579">
                  <c:v>1403-12-06</c:v>
                </c:pt>
                <c:pt idx="1580">
                  <c:v>1403-12-07</c:v>
                </c:pt>
                <c:pt idx="1581">
                  <c:v>1403-12-08</c:v>
                </c:pt>
                <c:pt idx="1582">
                  <c:v>1403-12-11</c:v>
                </c:pt>
                <c:pt idx="1583">
                  <c:v>1403-12-12</c:v>
                </c:pt>
                <c:pt idx="1584">
                  <c:v>1403-12-13</c:v>
                </c:pt>
                <c:pt idx="1585">
                  <c:v>1403-12-14</c:v>
                </c:pt>
                <c:pt idx="1586">
                  <c:v>1403-12-15</c:v>
                </c:pt>
                <c:pt idx="1587">
                  <c:v>1403-12-18</c:v>
                </c:pt>
                <c:pt idx="1588">
                  <c:v>1403-12-19</c:v>
                </c:pt>
                <c:pt idx="1589">
                  <c:v>1403-12-20</c:v>
                </c:pt>
                <c:pt idx="1590">
                  <c:v>1403-12-21</c:v>
                </c:pt>
                <c:pt idx="1591">
                  <c:v>1403-12-22</c:v>
                </c:pt>
              </c:strCache>
            </c:strRef>
          </c:cat>
          <c:val>
            <c:numRef>
              <c:f>Overall!$K$2:$K$1593</c:f>
              <c:numCache>
                <c:formatCode>#,##0.00</c:formatCode>
                <c:ptCount val="1592"/>
                <c:pt idx="0">
                  <c:v>2.1913977924000001</c:v>
                </c:pt>
                <c:pt idx="1">
                  <c:v>2.1504292720999998</c:v>
                </c:pt>
                <c:pt idx="2">
                  <c:v>2.1738398551000002</c:v>
                </c:pt>
                <c:pt idx="3">
                  <c:v>2.1822007775999999</c:v>
                </c:pt>
                <c:pt idx="4">
                  <c:v>2.1964143459000001</c:v>
                </c:pt>
                <c:pt idx="5">
                  <c:v>2.2156444676999998</c:v>
                </c:pt>
                <c:pt idx="6">
                  <c:v>2.2306941282000001</c:v>
                </c:pt>
                <c:pt idx="7">
                  <c:v>2.2306941282000001</c:v>
                </c:pt>
                <c:pt idx="8">
                  <c:v>2.3117950767000002</c:v>
                </c:pt>
                <c:pt idx="9">
                  <c:v>2.243235512</c:v>
                </c:pt>
                <c:pt idx="10">
                  <c:v>2.2089557297</c:v>
                </c:pt>
                <c:pt idx="11">
                  <c:v>2.2072835452000001</c:v>
                </c:pt>
                <c:pt idx="12">
                  <c:v>2.2005948071999999</c:v>
                </c:pt>
                <c:pt idx="13">
                  <c:v>2.1947421613999998</c:v>
                </c:pt>
                <c:pt idx="14">
                  <c:v>2.2382189585000001</c:v>
                </c:pt>
                <c:pt idx="15">
                  <c:v>2.2072835452000001</c:v>
                </c:pt>
                <c:pt idx="16">
                  <c:v>2.1822007775999999</c:v>
                </c:pt>
                <c:pt idx="17">
                  <c:v>2.1495931798000001</c:v>
                </c:pt>
                <c:pt idx="18">
                  <c:v>2.1638067480999998</c:v>
                </c:pt>
                <c:pt idx="19">
                  <c:v>2.1278547812999999</c:v>
                </c:pt>
                <c:pt idx="20">
                  <c:v>2.0735087849</c:v>
                </c:pt>
                <c:pt idx="21">
                  <c:v>2.0860501686999999</c:v>
                </c:pt>
                <c:pt idx="22">
                  <c:v>2.0902306299000002</c:v>
                </c:pt>
                <c:pt idx="23">
                  <c:v>2.0985915523999998</c:v>
                </c:pt>
                <c:pt idx="24">
                  <c:v>2.0651478623999999</c:v>
                </c:pt>
                <c:pt idx="25">
                  <c:v>2.0484260173000002</c:v>
                </c:pt>
                <c:pt idx="26">
                  <c:v>2.0567869397999998</c:v>
                </c:pt>
                <c:pt idx="27">
                  <c:v>2.0810336151</c:v>
                </c:pt>
                <c:pt idx="28">
                  <c:v>2.0735087849</c:v>
                </c:pt>
                <c:pt idx="29">
                  <c:v>2.0902306299000002</c:v>
                </c:pt>
                <c:pt idx="30">
                  <c:v>2.1111329362000002</c:v>
                </c:pt>
                <c:pt idx="31">
                  <c:v>2.1061163826999998</c:v>
                </c:pt>
                <c:pt idx="32">
                  <c:v>2.1027720137000001</c:v>
                </c:pt>
                <c:pt idx="33">
                  <c:v>2.0985915523999998</c:v>
                </c:pt>
                <c:pt idx="34">
                  <c:v>2.0994276447</c:v>
                </c:pt>
                <c:pt idx="35">
                  <c:v>2.0919028144</c:v>
                </c:pt>
                <c:pt idx="36">
                  <c:v>2.1044441981999999</c:v>
                </c:pt>
                <c:pt idx="37">
                  <c:v>2.0902306299000002</c:v>
                </c:pt>
                <c:pt idx="38">
                  <c:v>2.0902306299000002</c:v>
                </c:pt>
                <c:pt idx="39">
                  <c:v>2.1487570875999999</c:v>
                </c:pt>
                <c:pt idx="40">
                  <c:v>2.1470849031000001</c:v>
                </c:pt>
                <c:pt idx="41">
                  <c:v>2.1571180101</c:v>
                </c:pt>
                <c:pt idx="42">
                  <c:v>2.1730037629000001</c:v>
                </c:pt>
                <c:pt idx="43">
                  <c:v>2.1738398551000002</c:v>
                </c:pt>
                <c:pt idx="44">
                  <c:v>2.1738398551000002</c:v>
                </c:pt>
                <c:pt idx="45">
                  <c:v>2.2014308994</c:v>
                </c:pt>
                <c:pt idx="46">
                  <c:v>2.2599573570999998</c:v>
                </c:pt>
                <c:pt idx="47">
                  <c:v>2.2633017260999999</c:v>
                </c:pt>
                <c:pt idx="48">
                  <c:v>2.2666460951</c:v>
                </c:pt>
                <c:pt idx="49">
                  <c:v>2.3703215342999999</c:v>
                </c:pt>
                <c:pt idx="50">
                  <c:v>2.4246675306999999</c:v>
                </c:pt>
                <c:pt idx="51">
                  <c:v>2.3601278561000001</c:v>
                </c:pt>
                <c:pt idx="52">
                  <c:v>2.3430006582999998</c:v>
                </c:pt>
                <c:pt idx="53">
                  <c:v>2.3018953835999998</c:v>
                </c:pt>
                <c:pt idx="54">
                  <c:v>2.3635532957000001</c:v>
                </c:pt>
                <c:pt idx="55">
                  <c:v>2.4841287682000002</c:v>
                </c:pt>
                <c:pt idx="56">
                  <c:v>2.3704041748</c:v>
                </c:pt>
                <c:pt idx="57">
                  <c:v>2.2649006364000002</c:v>
                </c:pt>
                <c:pt idx="58">
                  <c:v>2.1943365815</c:v>
                </c:pt>
                <c:pt idx="59">
                  <c:v>2.151176043</c:v>
                </c:pt>
                <c:pt idx="60">
                  <c:v>2.2107786913999998</c:v>
                </c:pt>
                <c:pt idx="61">
                  <c:v>2.2607901089000002</c:v>
                </c:pt>
                <c:pt idx="62">
                  <c:v>2.2265357133000001</c:v>
                </c:pt>
                <c:pt idx="63">
                  <c:v>1.8935829881999999</c:v>
                </c:pt>
                <c:pt idx="64">
                  <c:v>1.7928750652000001</c:v>
                </c:pt>
                <c:pt idx="65">
                  <c:v>1.7812285707</c:v>
                </c:pt>
                <c:pt idx="66">
                  <c:v>1.7606759332999999</c:v>
                </c:pt>
                <c:pt idx="67">
                  <c:v>1.7264215377000001</c:v>
                </c:pt>
                <c:pt idx="68">
                  <c:v>1.685316263</c:v>
                </c:pt>
                <c:pt idx="69">
                  <c:v>1.5119446983</c:v>
                </c:pt>
                <c:pt idx="70">
                  <c:v>1.5996996506000001</c:v>
                </c:pt>
                <c:pt idx="71">
                  <c:v>1.6155442947</c:v>
                </c:pt>
                <c:pt idx="72">
                  <c:v>1.6088407914</c:v>
                </c:pt>
                <c:pt idx="73">
                  <c:v>1.6844075559</c:v>
                </c:pt>
                <c:pt idx="74">
                  <c:v>1.7569272733000001</c:v>
                </c:pt>
                <c:pt idx="75">
                  <c:v>1.8446822255999999</c:v>
                </c:pt>
                <c:pt idx="76">
                  <c:v>1.9312183591000001</c:v>
                </c:pt>
                <c:pt idx="77">
                  <c:v>2.0244579959000002</c:v>
                </c:pt>
                <c:pt idx="78">
                  <c:v>2.0110509893000001</c:v>
                </c:pt>
                <c:pt idx="79">
                  <c:v>2.029333271</c:v>
                </c:pt>
                <c:pt idx="80">
                  <c:v>2.1244011358999999</c:v>
                </c:pt>
                <c:pt idx="81">
                  <c:v>2.2280007323</c:v>
                </c:pt>
                <c:pt idx="82">
                  <c:v>2.2395795108000001</c:v>
                </c:pt>
                <c:pt idx="83">
                  <c:v>2.2365324638000001</c:v>
                </c:pt>
                <c:pt idx="84">
                  <c:v>2.1804667999</c:v>
                </c:pt>
                <c:pt idx="85">
                  <c:v>2.2609088393999999</c:v>
                </c:pt>
                <c:pt idx="86">
                  <c:v>2.2651747052000002</c:v>
                </c:pt>
                <c:pt idx="87">
                  <c:v>2.2670029334000001</c:v>
                </c:pt>
                <c:pt idx="88">
                  <c:v>2.3108804095000002</c:v>
                </c:pt>
                <c:pt idx="89">
                  <c:v>2.4278870124999998</c:v>
                </c:pt>
                <c:pt idx="90">
                  <c:v>2.4937032267000001</c:v>
                </c:pt>
                <c:pt idx="91">
                  <c:v>2.3760872143</c:v>
                </c:pt>
                <c:pt idx="92">
                  <c:v>2.5546441658000001</c:v>
                </c:pt>
                <c:pt idx="93">
                  <c:v>2.5168607834999999</c:v>
                </c:pt>
                <c:pt idx="94">
                  <c:v>2.4802962201000001</c:v>
                </c:pt>
                <c:pt idx="95">
                  <c:v>2.4071670932</c:v>
                </c:pt>
                <c:pt idx="96">
                  <c:v>2.3443979260000001</c:v>
                </c:pt>
                <c:pt idx="97">
                  <c:v>2.2791911211999998</c:v>
                </c:pt>
                <c:pt idx="98">
                  <c:v>2.3846189457999998</c:v>
                </c:pt>
                <c:pt idx="99">
                  <c:v>2.4333716970000001</c:v>
                </c:pt>
                <c:pt idx="100">
                  <c:v>2.3949789053999999</c:v>
                </c:pt>
                <c:pt idx="101">
                  <c:v>2.3888848115000001</c:v>
                </c:pt>
                <c:pt idx="102">
                  <c:v>2.4437316566999998</c:v>
                </c:pt>
                <c:pt idx="103">
                  <c:v>2.4851714951999999</c:v>
                </c:pt>
                <c:pt idx="104">
                  <c:v>2.5168607834999999</c:v>
                </c:pt>
                <c:pt idx="105">
                  <c:v>2.5497688905999998</c:v>
                </c:pt>
                <c:pt idx="106">
                  <c:v>2.4449504754000002</c:v>
                </c:pt>
                <c:pt idx="107">
                  <c:v>2.4260587842999999</c:v>
                </c:pt>
                <c:pt idx="108">
                  <c:v>2.3766966237</c:v>
                </c:pt>
                <c:pt idx="109">
                  <c:v>2.3638990264999999</c:v>
                </c:pt>
                <c:pt idx="110">
                  <c:v>2.4492163412000001</c:v>
                </c:pt>
                <c:pt idx="111">
                  <c:v>2.4802962201000001</c:v>
                </c:pt>
                <c:pt idx="112">
                  <c:v>2.6168039236</c:v>
                </c:pt>
                <c:pt idx="113">
                  <c:v>2.7057776946000001</c:v>
                </c:pt>
                <c:pt idx="114">
                  <c:v>2.7789068215000001</c:v>
                </c:pt>
                <c:pt idx="115">
                  <c:v>2.8020643783999999</c:v>
                </c:pt>
                <c:pt idx="116">
                  <c:v>2.9160239344000001</c:v>
                </c:pt>
                <c:pt idx="117">
                  <c:v>2.8520359484000002</c:v>
                </c:pt>
                <c:pt idx="118">
                  <c:v>2.7661092243000001</c:v>
                </c:pt>
                <c:pt idx="119">
                  <c:v>2.6716507688000002</c:v>
                </c:pt>
                <c:pt idx="120">
                  <c:v>2.5186890116999998</c:v>
                </c:pt>
                <c:pt idx="121">
                  <c:v>2.4351999252000001</c:v>
                </c:pt>
                <c:pt idx="122">
                  <c:v>2.5412371592</c:v>
                </c:pt>
                <c:pt idx="123">
                  <c:v>2.5717076287</c:v>
                </c:pt>
                <c:pt idx="124">
                  <c:v>2.6387426616999998</c:v>
                </c:pt>
                <c:pt idx="125">
                  <c:v>2.4985785018</c:v>
                </c:pt>
                <c:pt idx="126">
                  <c:v>2.5899899103999999</c:v>
                </c:pt>
                <c:pt idx="127">
                  <c:v>2.6704319500000002</c:v>
                </c:pt>
                <c:pt idx="128">
                  <c:v>2.6448367556000001</c:v>
                </c:pt>
                <c:pt idx="129">
                  <c:v>2.6180227424</c:v>
                </c:pt>
                <c:pt idx="130">
                  <c:v>2.7752503651999998</c:v>
                </c:pt>
                <c:pt idx="131">
                  <c:v>2.7837820967</c:v>
                </c:pt>
                <c:pt idx="132">
                  <c:v>2.7304782932</c:v>
                </c:pt>
                <c:pt idx="133">
                  <c:v>2.7010666782000001</c:v>
                </c:pt>
                <c:pt idx="134">
                  <c:v>2.5906230629999998</c:v>
                </c:pt>
                <c:pt idx="135">
                  <c:v>2.5696147666</c:v>
                </c:pt>
                <c:pt idx="136">
                  <c:v>2.5888223518000002</c:v>
                </c:pt>
                <c:pt idx="137">
                  <c:v>2.5750168999</c:v>
                </c:pt>
                <c:pt idx="138">
                  <c:v>2.5510074183000002</c:v>
                </c:pt>
                <c:pt idx="139">
                  <c:v>2.5492067072000002</c:v>
                </c:pt>
                <c:pt idx="140">
                  <c:v>2.5179943811999999</c:v>
                </c:pt>
                <c:pt idx="141">
                  <c:v>2.5438045739000001</c:v>
                </c:pt>
                <c:pt idx="142">
                  <c:v>2.5468057591000002</c:v>
                </c:pt>
                <c:pt idx="143">
                  <c:v>2.5239967515999999</c:v>
                </c:pt>
                <c:pt idx="144">
                  <c:v>2.4429647511999999</c:v>
                </c:pt>
                <c:pt idx="145">
                  <c:v>2.4621723365000001</c:v>
                </c:pt>
                <c:pt idx="146">
                  <c:v>2.4369623807999998</c:v>
                </c:pt>
                <c:pt idx="147">
                  <c:v>2.4729766031999998</c:v>
                </c:pt>
                <c:pt idx="148">
                  <c:v>2.3931450768999998</c:v>
                </c:pt>
                <c:pt idx="149">
                  <c:v>2.3889434176000002</c:v>
                </c:pt>
                <c:pt idx="150">
                  <c:v>2.4009481583999999</c:v>
                </c:pt>
                <c:pt idx="151">
                  <c:v>2.4249576400000001</c:v>
                </c:pt>
                <c:pt idx="152">
                  <c:v>2.3721367805</c:v>
                </c:pt>
                <c:pt idx="153">
                  <c:v>2.2778995652999998</c:v>
                </c:pt>
                <c:pt idx="154">
                  <c:v>2.2448865280999999</c:v>
                </c:pt>
                <c:pt idx="155">
                  <c:v>2.2670952986000001</c:v>
                </c:pt>
                <c:pt idx="156">
                  <c:v>2.2364832095999998</c:v>
                </c:pt>
                <c:pt idx="157">
                  <c:v>2.2208770466000001</c:v>
                </c:pt>
                <c:pt idx="158">
                  <c:v>2.3223171061999999</c:v>
                </c:pt>
                <c:pt idx="159">
                  <c:v>2.4147536103</c:v>
                </c:pt>
                <c:pt idx="160">
                  <c:v>2.4009481583999999</c:v>
                </c:pt>
                <c:pt idx="161">
                  <c:v>2.4219564548000001</c:v>
                </c:pt>
                <c:pt idx="162">
                  <c:v>2.4099322465999999</c:v>
                </c:pt>
                <c:pt idx="163">
                  <c:v>2.4033049328999998</c:v>
                </c:pt>
                <c:pt idx="164">
                  <c:v>2.3773981611999999</c:v>
                </c:pt>
                <c:pt idx="165">
                  <c:v>2.3671559491999998</c:v>
                </c:pt>
                <c:pt idx="166">
                  <c:v>2.3496839403999998</c:v>
                </c:pt>
                <c:pt idx="167">
                  <c:v>2.3316094485000001</c:v>
                </c:pt>
                <c:pt idx="168">
                  <c:v>2.3171498550999998</c:v>
                </c:pt>
                <c:pt idx="169">
                  <c:v>2.2532866505000002</c:v>
                </c:pt>
                <c:pt idx="170">
                  <c:v>2.3089560854000002</c:v>
                </c:pt>
                <c:pt idx="171">
                  <c:v>2.2462978470000001</c:v>
                </c:pt>
                <c:pt idx="172">
                  <c:v>2.2791934222000001</c:v>
                </c:pt>
                <c:pt idx="173">
                  <c:v>2.2862424739999998</c:v>
                </c:pt>
                <c:pt idx="174">
                  <c:v>2.2400320231999999</c:v>
                </c:pt>
                <c:pt idx="175">
                  <c:v>2.2478643030000001</c:v>
                </c:pt>
                <c:pt idx="176">
                  <c:v>2.2188848676999999</c:v>
                </c:pt>
                <c:pt idx="177">
                  <c:v>2.1836396086000001</c:v>
                </c:pt>
                <c:pt idx="178">
                  <c:v>2.1147155463999998</c:v>
                </c:pt>
                <c:pt idx="179">
                  <c:v>2.1045335825999998</c:v>
                </c:pt>
                <c:pt idx="180">
                  <c:v>2.1342962458999999</c:v>
                </c:pt>
                <c:pt idx="181">
                  <c:v>2.1922551164000001</c:v>
                </c:pt>
                <c:pt idx="182">
                  <c:v>2.2118358158999998</c:v>
                </c:pt>
                <c:pt idx="183">
                  <c:v>2.1930383444000001</c:v>
                </c:pt>
                <c:pt idx="184">
                  <c:v>2.1891222044999998</c:v>
                </c:pt>
                <c:pt idx="185">
                  <c:v>2.1820731526000001</c:v>
                </c:pt>
                <c:pt idx="186">
                  <c:v>2.1711079609000001</c:v>
                </c:pt>
                <c:pt idx="187">
                  <c:v>2.1570098572999998</c:v>
                </c:pt>
                <c:pt idx="188">
                  <c:v>2.1695415050000002</c:v>
                </c:pt>
                <c:pt idx="189">
                  <c:v>2.1545045100000002</c:v>
                </c:pt>
                <c:pt idx="190">
                  <c:v>2.1232684895</c:v>
                </c:pt>
                <c:pt idx="191">
                  <c:v>2.1357628976999998</c:v>
                </c:pt>
                <c:pt idx="192">
                  <c:v>2.1138976833999998</c:v>
                </c:pt>
                <c:pt idx="193">
                  <c:v>2.1466955048999998</c:v>
                </c:pt>
                <c:pt idx="194">
                  <c:v>2.1115549818999999</c:v>
                </c:pt>
                <c:pt idx="195">
                  <c:v>2.0779762598999998</c:v>
                </c:pt>
                <c:pt idx="196">
                  <c:v>2.0920324690999998</c:v>
                </c:pt>
                <c:pt idx="197">
                  <c:v>2.1107740813000002</c:v>
                </c:pt>
                <c:pt idx="198">
                  <c:v>2.0693863543000002</c:v>
                </c:pt>
                <c:pt idx="199">
                  <c:v>2.0693863543000002</c:v>
                </c:pt>
                <c:pt idx="200">
                  <c:v>2.0943751705999998</c:v>
                </c:pt>
                <c:pt idx="201">
                  <c:v>2.1958922370999998</c:v>
                </c:pt>
                <c:pt idx="202">
                  <c:v>2.2005776401000001</c:v>
                </c:pt>
                <c:pt idx="203">
                  <c:v>2.2099484461999999</c:v>
                </c:pt>
                <c:pt idx="204">
                  <c:v>2.1787124258000001</c:v>
                </c:pt>
                <c:pt idx="205">
                  <c:v>2.1787124258000001</c:v>
                </c:pt>
                <c:pt idx="206">
                  <c:v>2.1404483008000001</c:v>
                </c:pt>
                <c:pt idx="207">
                  <c:v>2.1568472115000001</c:v>
                </c:pt>
                <c:pt idx="208">
                  <c:v>2.1912068339999999</c:v>
                </c:pt>
                <c:pt idx="209">
                  <c:v>2.3114655126999999</c:v>
                </c:pt>
                <c:pt idx="210">
                  <c:v>2.4223533853000001</c:v>
                </c:pt>
                <c:pt idx="211">
                  <c:v>2.5332412577999999</c:v>
                </c:pt>
                <c:pt idx="212">
                  <c:v>2.5925896967000002</c:v>
                </c:pt>
                <c:pt idx="213">
                  <c:v>2.6558426381000002</c:v>
                </c:pt>
                <c:pt idx="214">
                  <c:v>2.6082077069</c:v>
                </c:pt>
                <c:pt idx="215">
                  <c:v>2.5863424926</c:v>
                </c:pt>
                <c:pt idx="216">
                  <c:v>2.5574491736999998</c:v>
                </c:pt>
                <c:pt idx="217">
                  <c:v>2.6082077069</c:v>
                </c:pt>
                <c:pt idx="218">
                  <c:v>2.6136740105</c:v>
                </c:pt>
                <c:pt idx="219">
                  <c:v>2.5847806915999998</c:v>
                </c:pt>
                <c:pt idx="220">
                  <c:v>2.6082077069</c:v>
                </c:pt>
                <c:pt idx="221">
                  <c:v>2.5824379899999998</c:v>
                </c:pt>
                <c:pt idx="222">
                  <c:v>2.7097247733000001</c:v>
                </c:pt>
                <c:pt idx="223">
                  <c:v>2.7487697989000002</c:v>
                </c:pt>
                <c:pt idx="224">
                  <c:v>2.8260789494999998</c:v>
                </c:pt>
                <c:pt idx="225">
                  <c:v>2.8112418398000001</c:v>
                </c:pt>
                <c:pt idx="226">
                  <c:v>2.8346688550999999</c:v>
                </c:pt>
                <c:pt idx="227">
                  <c:v>2.8213935464</c:v>
                </c:pt>
                <c:pt idx="228">
                  <c:v>2.9283769164</c:v>
                </c:pt>
                <c:pt idx="229">
                  <c:v>3.0189613757</c:v>
                </c:pt>
                <c:pt idx="230">
                  <c:v>2.9705455440000001</c:v>
                </c:pt>
                <c:pt idx="231">
                  <c:v>2.9486803297000002</c:v>
                </c:pt>
                <c:pt idx="232">
                  <c:v>2.9830399522</c:v>
                </c:pt>
                <c:pt idx="233">
                  <c:v>3.1079840339000002</c:v>
                </c:pt>
                <c:pt idx="234">
                  <c:v>3.0298939828</c:v>
                </c:pt>
                <c:pt idx="235">
                  <c:v>3.0056860670000001</c:v>
                </c:pt>
                <c:pt idx="236">
                  <c:v>3.0010006639000002</c:v>
                </c:pt>
                <c:pt idx="237">
                  <c:v>3.1196975415999999</c:v>
                </c:pt>
                <c:pt idx="238">
                  <c:v>3.1493717609999998</c:v>
                </c:pt>
                <c:pt idx="239">
                  <c:v>3.2641641361999998</c:v>
                </c:pt>
                <c:pt idx="240">
                  <c:v>3.2048156972999999</c:v>
                </c:pt>
                <c:pt idx="241">
                  <c:v>3.2227764091000002</c:v>
                </c:pt>
                <c:pt idx="242">
                  <c:v>3.2251191106000001</c:v>
                </c:pt>
                <c:pt idx="243">
                  <c:v>3.1212593426000002</c:v>
                </c:pt>
                <c:pt idx="244">
                  <c:v>3.1392200544</c:v>
                </c:pt>
                <c:pt idx="245">
                  <c:v>3.1470290594999999</c:v>
                </c:pt>
                <c:pt idx="246">
                  <c:v>3.0962705263000001</c:v>
                </c:pt>
                <c:pt idx="247">
                  <c:v>3.0868997201999999</c:v>
                </c:pt>
                <c:pt idx="248">
                  <c:v>3.0837761180999999</c:v>
                </c:pt>
                <c:pt idx="249">
                  <c:v>3.0775289140000002</c:v>
                </c:pt>
                <c:pt idx="250">
                  <c:v>3.1532762636</c:v>
                </c:pt>
                <c:pt idx="251">
                  <c:v>3.3110181667999998</c:v>
                </c:pt>
                <c:pt idx="252">
                  <c:v>3.2641641361999998</c:v>
                </c:pt>
                <c:pt idx="253">
                  <c:v>3.3836419143000001</c:v>
                </c:pt>
                <c:pt idx="254">
                  <c:v>3.3836419143000001</c:v>
                </c:pt>
                <c:pt idx="255">
                  <c:v>3.3406923862000002</c:v>
                </c:pt>
                <c:pt idx="256">
                  <c:v>3.2079392994</c:v>
                </c:pt>
                <c:pt idx="257">
                  <c:v>3.1509335621000001</c:v>
                </c:pt>
                <c:pt idx="258">
                  <c:v>3.2407371208</c:v>
                </c:pt>
                <c:pt idx="259">
                  <c:v>3.0775289140000002</c:v>
                </c:pt>
                <c:pt idx="260">
                  <c:v>3.1236020442000001</c:v>
                </c:pt>
                <c:pt idx="261">
                  <c:v>3.1563998656000001</c:v>
                </c:pt>
                <c:pt idx="262">
                  <c:v>3.1236020442000001</c:v>
                </c:pt>
                <c:pt idx="263">
                  <c:v>3.1072031334000001</c:v>
                </c:pt>
                <c:pt idx="264">
                  <c:v>3.0619109037999999</c:v>
                </c:pt>
                <c:pt idx="265">
                  <c:v>3.0595682022999999</c:v>
                </c:pt>
                <c:pt idx="266">
                  <c:v>3.0533209981999998</c:v>
                </c:pt>
                <c:pt idx="267">
                  <c:v>3.1236020442000001</c:v>
                </c:pt>
                <c:pt idx="268">
                  <c:v>3.1532762636</c:v>
                </c:pt>
                <c:pt idx="269">
                  <c:v>3.0845570186</c:v>
                </c:pt>
                <c:pt idx="270">
                  <c:v>3.1212593426000002</c:v>
                </c:pt>
                <c:pt idx="271">
                  <c:v>3.2782203453999998</c:v>
                </c:pt>
                <c:pt idx="272">
                  <c:v>3.2563551309999998</c:v>
                </c:pt>
                <c:pt idx="273">
                  <c:v>3.1931021896999998</c:v>
                </c:pt>
                <c:pt idx="274">
                  <c:v>3.1548380645999998</c:v>
                </c:pt>
                <c:pt idx="275">
                  <c:v>3.1923212891000001</c:v>
                </c:pt>
                <c:pt idx="276">
                  <c:v>3.1704560748000001</c:v>
                </c:pt>
                <c:pt idx="277">
                  <c:v>3.1548380645999998</c:v>
                </c:pt>
                <c:pt idx="278">
                  <c:v>3.1353155518000002</c:v>
                </c:pt>
                <c:pt idx="279">
                  <c:v>3.1938830901999999</c:v>
                </c:pt>
                <c:pt idx="280">
                  <c:v>3.2235573095999999</c:v>
                </c:pt>
                <c:pt idx="281">
                  <c:v>3.1610852687</c:v>
                </c:pt>
                <c:pt idx="282">
                  <c:v>3.1852931844999999</c:v>
                </c:pt>
                <c:pt idx="283">
                  <c:v>3.1837313835000001</c:v>
                </c:pt>
                <c:pt idx="284">
                  <c:v>3.1837313835000001</c:v>
                </c:pt>
                <c:pt idx="285">
                  <c:v>3.2969619576000002</c:v>
                </c:pt>
                <c:pt idx="286">
                  <c:v>3.2817097781000002</c:v>
                </c:pt>
                <c:pt idx="287">
                  <c:v>3.2917479491999999</c:v>
                </c:pt>
                <c:pt idx="288">
                  <c:v>3.4523586865999998</c:v>
                </c:pt>
                <c:pt idx="289">
                  <c:v>3.5712724055999998</c:v>
                </c:pt>
                <c:pt idx="290">
                  <c:v>3.6492612733000001</c:v>
                </c:pt>
                <c:pt idx="291">
                  <c:v>3.5944374157999999</c:v>
                </c:pt>
                <c:pt idx="292">
                  <c:v>3.6291849311000002</c:v>
                </c:pt>
                <c:pt idx="293">
                  <c:v>3.5542847315000001</c:v>
                </c:pt>
                <c:pt idx="294">
                  <c:v>3.4994608739999999</c:v>
                </c:pt>
                <c:pt idx="295">
                  <c:v>3.4515865196000002</c:v>
                </c:pt>
                <c:pt idx="296">
                  <c:v>3.4554473546</c:v>
                </c:pt>
                <c:pt idx="297">
                  <c:v>3.4345988454</c:v>
                </c:pt>
                <c:pt idx="298">
                  <c:v>3.4593081896000002</c:v>
                </c:pt>
                <c:pt idx="299">
                  <c:v>3.4423205155000001</c:v>
                </c:pt>
                <c:pt idx="300">
                  <c:v>3.4044843322</c:v>
                </c:pt>
                <c:pt idx="301">
                  <c:v>3.1867332362999998</c:v>
                </c:pt>
                <c:pt idx="302">
                  <c:v>2.6340245209000002</c:v>
                </c:pt>
                <c:pt idx="303">
                  <c:v>2.7826941592000001</c:v>
                </c:pt>
                <c:pt idx="304">
                  <c:v>2.8341325995000002</c:v>
                </c:pt>
                <c:pt idx="305">
                  <c:v>2.8792980592999999</c:v>
                </c:pt>
                <c:pt idx="306">
                  <c:v>2.8228412345999998</c:v>
                </c:pt>
                <c:pt idx="307">
                  <c:v>2.8479331566999999</c:v>
                </c:pt>
                <c:pt idx="308">
                  <c:v>2.8360144937</c:v>
                </c:pt>
                <c:pt idx="309">
                  <c:v>2.8278596189999998</c:v>
                </c:pt>
                <c:pt idx="310">
                  <c:v>2.8353871956000001</c:v>
                </c:pt>
                <c:pt idx="311">
                  <c:v>2.7262373346</c:v>
                </c:pt>
                <c:pt idx="312">
                  <c:v>2.7187097579000001</c:v>
                </c:pt>
                <c:pt idx="313">
                  <c:v>2.6428066935999999</c:v>
                </c:pt>
                <c:pt idx="314">
                  <c:v>2.6283788384000002</c:v>
                </c:pt>
                <c:pt idx="315">
                  <c:v>2.6202239637</c:v>
                </c:pt>
                <c:pt idx="316">
                  <c:v>2.5926228494000001</c:v>
                </c:pt>
                <c:pt idx="317">
                  <c:v>2.6221058578999998</c:v>
                </c:pt>
                <c:pt idx="318">
                  <c:v>2.6227331558999998</c:v>
                </c:pt>
                <c:pt idx="319">
                  <c:v>2.6515888663</c:v>
                </c:pt>
                <c:pt idx="320">
                  <c:v>2.6164601753999999</c:v>
                </c:pt>
                <c:pt idx="321">
                  <c:v>2.6083053008000001</c:v>
                </c:pt>
                <c:pt idx="322">
                  <c:v>2.6145782813</c:v>
                </c:pt>
                <c:pt idx="323">
                  <c:v>2.6239877521000001</c:v>
                </c:pt>
                <c:pt idx="324">
                  <c:v>2.5970139358000002</c:v>
                </c:pt>
                <c:pt idx="325">
                  <c:v>2.5788222922999999</c:v>
                </c:pt>
                <c:pt idx="326">
                  <c:v>2.6722897021000001</c:v>
                </c:pt>
                <c:pt idx="327">
                  <c:v>2.6346518189000001</c:v>
                </c:pt>
                <c:pt idx="328">
                  <c:v>2.7538384487999998</c:v>
                </c:pt>
                <c:pt idx="329">
                  <c:v>2.8165682540999999</c:v>
                </c:pt>
                <c:pt idx="330">
                  <c:v>2.9232089228999998</c:v>
                </c:pt>
                <c:pt idx="331">
                  <c:v>2.8792980592999999</c:v>
                </c:pt>
                <c:pt idx="332">
                  <c:v>2.9106629619</c:v>
                </c:pt>
                <c:pt idx="333">
                  <c:v>2.9483008449999999</c:v>
                </c:pt>
                <c:pt idx="334">
                  <c:v>3.0612144944000002</c:v>
                </c:pt>
                <c:pt idx="335">
                  <c:v>3.0605871963000002</c:v>
                </c:pt>
                <c:pt idx="336">
                  <c:v>3.1201805113000001</c:v>
                </c:pt>
                <c:pt idx="337">
                  <c:v>3.1929470853000002</c:v>
                </c:pt>
                <c:pt idx="338">
                  <c:v>3.1678551632</c:v>
                </c:pt>
                <c:pt idx="339">
                  <c:v>3.1333537703999998</c:v>
                </c:pt>
                <c:pt idx="340">
                  <c:v>3.105125358</c:v>
                </c:pt>
                <c:pt idx="341">
                  <c:v>3.1358629626000001</c:v>
                </c:pt>
                <c:pt idx="342">
                  <c:v>3.1358629626000001</c:v>
                </c:pt>
                <c:pt idx="343">
                  <c:v>3.2901782834</c:v>
                </c:pt>
                <c:pt idx="344">
                  <c:v>3.4162651919</c:v>
                </c:pt>
                <c:pt idx="345">
                  <c:v>3.3805092028999999</c:v>
                </c:pt>
                <c:pt idx="346">
                  <c:v>3.4438663061999999</c:v>
                </c:pt>
                <c:pt idx="347">
                  <c:v>3.4137559997000002</c:v>
                </c:pt>
                <c:pt idx="348">
                  <c:v>3.3754908184999999</c:v>
                </c:pt>
                <c:pt idx="349">
                  <c:v>3.4131287015999998</c:v>
                </c:pt>
                <c:pt idx="350">
                  <c:v>3.3372256373</c:v>
                </c:pt>
                <c:pt idx="351">
                  <c:v>3.2613225730000002</c:v>
                </c:pt>
                <c:pt idx="352">
                  <c:v>3.2305849685000001</c:v>
                </c:pt>
                <c:pt idx="353">
                  <c:v>3.1484089235999999</c:v>
                </c:pt>
                <c:pt idx="354">
                  <c:v>3.1421359431</c:v>
                </c:pt>
                <c:pt idx="355">
                  <c:v>3.1233170014999998</c:v>
                </c:pt>
                <c:pt idx="356">
                  <c:v>3.1860468067999999</c:v>
                </c:pt>
                <c:pt idx="357">
                  <c:v>3.2901782834</c:v>
                </c:pt>
                <c:pt idx="358">
                  <c:v>3.3685905399</c:v>
                </c:pt>
                <c:pt idx="359">
                  <c:v>3.3943097601000001</c:v>
                </c:pt>
                <c:pt idx="360">
                  <c:v>3.3303253588000001</c:v>
                </c:pt>
                <c:pt idx="361">
                  <c:v>3.3246796763000002</c:v>
                </c:pt>
                <c:pt idx="362">
                  <c:v>3.2506585061000002</c:v>
                </c:pt>
                <c:pt idx="363">
                  <c:v>2.6685602716000001</c:v>
                </c:pt>
                <c:pt idx="364">
                  <c:v>2.6636184933</c:v>
                </c:pt>
                <c:pt idx="365">
                  <c:v>2.6487931585000002</c:v>
                </c:pt>
                <c:pt idx="366">
                  <c:v>2.6586767150999999</c:v>
                </c:pt>
                <c:pt idx="367">
                  <c:v>2.6651010267999999</c:v>
                </c:pt>
                <c:pt idx="368">
                  <c:v>2.6586767150999999</c:v>
                </c:pt>
                <c:pt idx="369">
                  <c:v>2.6487931585000002</c:v>
                </c:pt>
                <c:pt idx="370">
                  <c:v>2.6324852902</c:v>
                </c:pt>
                <c:pt idx="371">
                  <c:v>2.6186483109999998</c:v>
                </c:pt>
                <c:pt idx="372">
                  <c:v>2.6339678236999999</c:v>
                </c:pt>
                <c:pt idx="373">
                  <c:v>2.6186483109999998</c:v>
                </c:pt>
                <c:pt idx="374">
                  <c:v>2.6364387128</c:v>
                </c:pt>
                <c:pt idx="375">
                  <c:v>2.6166715997000001</c:v>
                </c:pt>
                <c:pt idx="376">
                  <c:v>2.6191424888000001</c:v>
                </c:pt>
                <c:pt idx="377">
                  <c:v>2.6146948883999999</c:v>
                </c:pt>
                <c:pt idx="378">
                  <c:v>2.5944335974000001</c:v>
                </c:pt>
                <c:pt idx="379">
                  <c:v>2.5919627083000001</c:v>
                </c:pt>
                <c:pt idx="380">
                  <c:v>2.5944335974000001</c:v>
                </c:pt>
                <c:pt idx="381">
                  <c:v>2.6082705765999998</c:v>
                </c:pt>
                <c:pt idx="382">
                  <c:v>2.6018462647999998</c:v>
                </c:pt>
                <c:pt idx="383">
                  <c:v>2.5786199069000002</c:v>
                </c:pt>
                <c:pt idx="384">
                  <c:v>2.5692305281999999</c:v>
                </c:pt>
                <c:pt idx="385">
                  <c:v>2.5964103086999999</c:v>
                </c:pt>
                <c:pt idx="386">
                  <c:v>2.6087647544000001</c:v>
                </c:pt>
                <c:pt idx="387">
                  <c:v>2.6374270685000001</c:v>
                </c:pt>
                <c:pt idx="388">
                  <c:v>2.6290260453999998</c:v>
                </c:pt>
                <c:pt idx="389">
                  <c:v>2.7619598811000001</c:v>
                </c:pt>
                <c:pt idx="390">
                  <c:v>2.8415225115</c:v>
                </c:pt>
                <c:pt idx="391">
                  <c:v>2.8632663359000001</c:v>
                </c:pt>
                <c:pt idx="392">
                  <c:v>2.8642546914999998</c:v>
                </c:pt>
                <c:pt idx="393">
                  <c:v>3.0021303056000002</c:v>
                </c:pt>
                <c:pt idx="394">
                  <c:v>3.0342518643999998</c:v>
                </c:pt>
                <c:pt idx="395">
                  <c:v>3.0046011947000002</c:v>
                </c:pt>
                <c:pt idx="396">
                  <c:v>2.9991652385999998</c:v>
                </c:pt>
                <c:pt idx="397">
                  <c:v>3.0243683078000001</c:v>
                </c:pt>
                <c:pt idx="398">
                  <c:v>3.1652089887999999</c:v>
                </c:pt>
                <c:pt idx="399">
                  <c:v>3.1627380996999999</c:v>
                </c:pt>
                <c:pt idx="400">
                  <c:v>3.1553254323000002</c:v>
                </c:pt>
                <c:pt idx="401">
                  <c:v>3.2106733489999999</c:v>
                </c:pt>
                <c:pt idx="402">
                  <c:v>3.2121558824999998</c:v>
                </c:pt>
                <c:pt idx="403">
                  <c:v>3.2269812174000001</c:v>
                </c:pt>
                <c:pt idx="404">
                  <c:v>3.2694805105999998</c:v>
                </c:pt>
                <c:pt idx="405">
                  <c:v>3.3109914480999998</c:v>
                </c:pt>
                <c:pt idx="406">
                  <c:v>3.2941894020000002</c:v>
                </c:pt>
                <c:pt idx="407">
                  <c:v>3.3109914480999998</c:v>
                </c:pt>
                <c:pt idx="408">
                  <c:v>3.3357003394999998</c:v>
                </c:pt>
                <c:pt idx="409">
                  <c:v>3.3470664295999999</c:v>
                </c:pt>
                <c:pt idx="410">
                  <c:v>3.3505256744</c:v>
                </c:pt>
                <c:pt idx="411">
                  <c:v>3.3851181223000002</c:v>
                </c:pt>
                <c:pt idx="412">
                  <c:v>3.4879071106000001</c:v>
                </c:pt>
                <c:pt idx="413">
                  <c:v>3.34014794</c:v>
                </c:pt>
                <c:pt idx="414">
                  <c:v>3.4449136395000002</c:v>
                </c:pt>
                <c:pt idx="415">
                  <c:v>3.4335475495000001</c:v>
                </c:pt>
                <c:pt idx="416">
                  <c:v>3.4172396811999999</c:v>
                </c:pt>
                <c:pt idx="417">
                  <c:v>3.420698926</c:v>
                </c:pt>
                <c:pt idx="418">
                  <c:v>3.5916844545000002</c:v>
                </c:pt>
                <c:pt idx="419">
                  <c:v>3.6485149046999998</c:v>
                </c:pt>
                <c:pt idx="420">
                  <c:v>3.7527864264000002</c:v>
                </c:pt>
                <c:pt idx="421">
                  <c:v>3.7557514934</c:v>
                </c:pt>
                <c:pt idx="422">
                  <c:v>3.2515461341999998</c:v>
                </c:pt>
                <c:pt idx="423">
                  <c:v>3.2150059577999999</c:v>
                </c:pt>
                <c:pt idx="424">
                  <c:v>3.1975302212000001</c:v>
                </c:pt>
                <c:pt idx="425">
                  <c:v>3.2515461341999998</c:v>
                </c:pt>
                <c:pt idx="426">
                  <c:v>3.2197720678000001</c:v>
                </c:pt>
                <c:pt idx="427">
                  <c:v>3.1085628351999999</c:v>
                </c:pt>
                <c:pt idx="428">
                  <c:v>3.2817314974</c:v>
                </c:pt>
                <c:pt idx="429">
                  <c:v>3.3892337554999998</c:v>
                </c:pt>
                <c:pt idx="430">
                  <c:v>3.3468683335999998</c:v>
                </c:pt>
                <c:pt idx="431">
                  <c:v>3.3521640113000002</c:v>
                </c:pt>
                <c:pt idx="432">
                  <c:v>3.3097985894000002</c:v>
                </c:pt>
                <c:pt idx="433">
                  <c:v>3.3119168604999998</c:v>
                </c:pt>
                <c:pt idx="434">
                  <c:v>3.2939115561999999</c:v>
                </c:pt>
                <c:pt idx="435">
                  <c:v>3.3616962312999998</c:v>
                </c:pt>
                <c:pt idx="436">
                  <c:v>3.3362769780999999</c:v>
                </c:pt>
                <c:pt idx="437">
                  <c:v>3.5004429881000001</c:v>
                </c:pt>
                <c:pt idx="438">
                  <c:v>3.5375127323000002</c:v>
                </c:pt>
                <c:pt idx="439">
                  <c:v>3.5745824764999998</c:v>
                </c:pt>
                <c:pt idx="440">
                  <c:v>3.6021200007999998</c:v>
                </c:pt>
                <c:pt idx="441">
                  <c:v>3.6730820826000001</c:v>
                </c:pt>
                <c:pt idx="442">
                  <c:v>3.758872062</c:v>
                </c:pt>
                <c:pt idx="443">
                  <c:v>3.7519876809000001</c:v>
                </c:pt>
                <c:pt idx="444">
                  <c:v>3.9002666577</c:v>
                </c:pt>
                <c:pt idx="445">
                  <c:v>3.9124467165999999</c:v>
                </c:pt>
                <c:pt idx="446">
                  <c:v>3.7519876809000001</c:v>
                </c:pt>
                <c:pt idx="447">
                  <c:v>3.7594016298000001</c:v>
                </c:pt>
                <c:pt idx="448">
                  <c:v>3.9076806066000001</c:v>
                </c:pt>
                <c:pt idx="449">
                  <c:v>3.9738765784000001</c:v>
                </c:pt>
                <c:pt idx="450">
                  <c:v>4.0776718620999999</c:v>
                </c:pt>
                <c:pt idx="451">
                  <c:v>4.1359243172999998</c:v>
                </c:pt>
                <c:pt idx="452">
                  <c:v>3.9421025118999999</c:v>
                </c:pt>
                <c:pt idx="453">
                  <c:v>3.7567537908999999</c:v>
                </c:pt>
                <c:pt idx="454">
                  <c:v>3.8346002537000001</c:v>
                </c:pt>
                <c:pt idx="455">
                  <c:v>3.5909990774999998</c:v>
                </c:pt>
                <c:pt idx="456">
                  <c:v>3.7376893510000002</c:v>
                </c:pt>
                <c:pt idx="457">
                  <c:v>3.7805843406999999</c:v>
                </c:pt>
                <c:pt idx="458">
                  <c:v>3.7970009417999999</c:v>
                </c:pt>
                <c:pt idx="459">
                  <c:v>3.7546355197999999</c:v>
                </c:pt>
                <c:pt idx="460">
                  <c:v>3.5671685276999998</c:v>
                </c:pt>
                <c:pt idx="461">
                  <c:v>3.6317757961999999</c:v>
                </c:pt>
                <c:pt idx="462">
                  <c:v>3.6804960314000001</c:v>
                </c:pt>
                <c:pt idx="463">
                  <c:v>3.7270979954999999</c:v>
                </c:pt>
                <c:pt idx="464">
                  <c:v>3.7345119443999999</c:v>
                </c:pt>
                <c:pt idx="465">
                  <c:v>3.8976188188999998</c:v>
                </c:pt>
                <c:pt idx="466">
                  <c:v>3.8234793305000001</c:v>
                </c:pt>
                <c:pt idx="467">
                  <c:v>3.8128879750000002</c:v>
                </c:pt>
                <c:pt idx="468">
                  <c:v>3.9553417063</c:v>
                </c:pt>
                <c:pt idx="469">
                  <c:v>4.0776718620999999</c:v>
                </c:pt>
                <c:pt idx="470">
                  <c:v>4.1729940614999999</c:v>
                </c:pt>
                <c:pt idx="471">
                  <c:v>4.3837620357000002</c:v>
                </c:pt>
                <c:pt idx="472">
                  <c:v>4.4187135087999998</c:v>
                </c:pt>
                <c:pt idx="473">
                  <c:v>4.4388370842000002</c:v>
                </c:pt>
                <c:pt idx="474">
                  <c:v>4.6570190071999997</c:v>
                </c:pt>
                <c:pt idx="475">
                  <c:v>4.8582547614999996</c:v>
                </c:pt>
                <c:pt idx="476">
                  <c:v>4.8518999481999998</c:v>
                </c:pt>
                <c:pt idx="477">
                  <c:v>5.2363661522999996</c:v>
                </c:pt>
                <c:pt idx="478">
                  <c:v>5.3639919859000003</c:v>
                </c:pt>
                <c:pt idx="479">
                  <c:v>5.3857042647000002</c:v>
                </c:pt>
                <c:pt idx="480">
                  <c:v>5.6388376608000002</c:v>
                </c:pt>
                <c:pt idx="481">
                  <c:v>5.9120946322999997</c:v>
                </c:pt>
                <c:pt idx="482">
                  <c:v>6.5179201660999997</c:v>
                </c:pt>
                <c:pt idx="483">
                  <c:v>6.8038867641999996</c:v>
                </c:pt>
                <c:pt idx="484">
                  <c:v>7.1438692753000002</c:v>
                </c:pt>
                <c:pt idx="485">
                  <c:v>7.5007979552000004</c:v>
                </c:pt>
                <c:pt idx="486">
                  <c:v>7.3027396076000004</c:v>
                </c:pt>
                <c:pt idx="487">
                  <c:v>7.9985916631</c:v>
                </c:pt>
                <c:pt idx="488">
                  <c:v>8.1378679877</c:v>
                </c:pt>
                <c:pt idx="489">
                  <c:v>8.5445760384000007</c:v>
                </c:pt>
                <c:pt idx="490">
                  <c:v>8.9687598255999994</c:v>
                </c:pt>
                <c:pt idx="491">
                  <c:v>8.5218046240999996</c:v>
                </c:pt>
                <c:pt idx="492">
                  <c:v>8.1839403840999996</c:v>
                </c:pt>
                <c:pt idx="493">
                  <c:v>7.9588740800000002</c:v>
                </c:pt>
                <c:pt idx="494">
                  <c:v>7.5812922569000003</c:v>
                </c:pt>
                <c:pt idx="495">
                  <c:v>7.9668175966000003</c:v>
                </c:pt>
                <c:pt idx="496">
                  <c:v>7.4616099398999998</c:v>
                </c:pt>
                <c:pt idx="497">
                  <c:v>7.2937369555</c:v>
                </c:pt>
                <c:pt idx="498">
                  <c:v>6.9495179022000002</c:v>
                </c:pt>
                <c:pt idx="499">
                  <c:v>6.6079466878000002</c:v>
                </c:pt>
                <c:pt idx="500">
                  <c:v>6.9691119097999996</c:v>
                </c:pt>
                <c:pt idx="501">
                  <c:v>7.1629337152000003</c:v>
                </c:pt>
                <c:pt idx="502">
                  <c:v>7.2015921626999999</c:v>
                </c:pt>
                <c:pt idx="503">
                  <c:v>7.5039753619000003</c:v>
                </c:pt>
                <c:pt idx="504">
                  <c:v>7.8254230008999999</c:v>
                </c:pt>
                <c:pt idx="505">
                  <c:v>8.1950613072999996</c:v>
                </c:pt>
                <c:pt idx="506">
                  <c:v>8.6044171969000001</c:v>
                </c:pt>
                <c:pt idx="507">
                  <c:v>8.9443997080000006</c:v>
                </c:pt>
                <c:pt idx="508">
                  <c:v>9.4485482291</c:v>
                </c:pt>
                <c:pt idx="509">
                  <c:v>9.8923260240000008</c:v>
                </c:pt>
                <c:pt idx="510">
                  <c:v>10.3795283763</c:v>
                </c:pt>
                <c:pt idx="511">
                  <c:v>10.898504795199999</c:v>
                </c:pt>
                <c:pt idx="512">
                  <c:v>10.5860598083</c:v>
                </c:pt>
                <c:pt idx="513">
                  <c:v>9.7816987730000005</c:v>
                </c:pt>
                <c:pt idx="514">
                  <c:v>10.2705573882</c:v>
                </c:pt>
                <c:pt idx="515">
                  <c:v>10.7820483467</c:v>
                </c:pt>
                <c:pt idx="516">
                  <c:v>11.320698117199999</c:v>
                </c:pt>
                <c:pt idx="517">
                  <c:v>11.8865066996</c:v>
                </c:pt>
                <c:pt idx="518">
                  <c:v>12.3708388462</c:v>
                </c:pt>
                <c:pt idx="519">
                  <c:v>12.447788813400001</c:v>
                </c:pt>
                <c:pt idx="520">
                  <c:v>13.036229739099999</c:v>
                </c:pt>
                <c:pt idx="521">
                  <c:v>13.194656142199999</c:v>
                </c:pt>
                <c:pt idx="522">
                  <c:v>13.846467629099999</c:v>
                </c:pt>
                <c:pt idx="523">
                  <c:v>13.688041225999999</c:v>
                </c:pt>
                <c:pt idx="524">
                  <c:v>14.647652581799999</c:v>
                </c:pt>
                <c:pt idx="525">
                  <c:v>15.131984728400001</c:v>
                </c:pt>
                <c:pt idx="526">
                  <c:v>14.3760644623</c:v>
                </c:pt>
                <c:pt idx="527">
                  <c:v>15.389993442</c:v>
                </c:pt>
                <c:pt idx="528">
                  <c:v>15.313043474800001</c:v>
                </c:pt>
                <c:pt idx="529">
                  <c:v>16.073490209500001</c:v>
                </c:pt>
                <c:pt idx="530">
                  <c:v>16.680037009900001</c:v>
                </c:pt>
                <c:pt idx="531">
                  <c:v>16.0236990543</c:v>
                </c:pt>
                <c:pt idx="532">
                  <c:v>16.824884007000001</c:v>
                </c:pt>
                <c:pt idx="533">
                  <c:v>15.4049430506</c:v>
                </c:pt>
                <c:pt idx="534">
                  <c:v>15.107386203600001</c:v>
                </c:pt>
                <c:pt idx="535">
                  <c:v>14.499520073299999</c:v>
                </c:pt>
                <c:pt idx="536">
                  <c:v>13.802386888799999</c:v>
                </c:pt>
                <c:pt idx="537">
                  <c:v>13.4920776055</c:v>
                </c:pt>
                <c:pt idx="538">
                  <c:v>14.142451856799999</c:v>
                </c:pt>
                <c:pt idx="539">
                  <c:v>13.6536084653</c:v>
                </c:pt>
                <c:pt idx="540">
                  <c:v>13.4665727329</c:v>
                </c:pt>
                <c:pt idx="541">
                  <c:v>12.8587066026</c:v>
                </c:pt>
                <c:pt idx="542">
                  <c:v>13.555839787</c:v>
                </c:pt>
                <c:pt idx="543">
                  <c:v>14.036181554300001</c:v>
                </c:pt>
                <c:pt idx="544">
                  <c:v>13.411312175600001</c:v>
                </c:pt>
                <c:pt idx="545">
                  <c:v>13.3518008062</c:v>
                </c:pt>
                <c:pt idx="546">
                  <c:v>12.735433051699999</c:v>
                </c:pt>
                <c:pt idx="547">
                  <c:v>11.8597657591</c:v>
                </c:pt>
                <c:pt idx="548">
                  <c:v>12.4718827015</c:v>
                </c:pt>
                <c:pt idx="549">
                  <c:v>12.072306364099999</c:v>
                </c:pt>
                <c:pt idx="550">
                  <c:v>11.4899451064</c:v>
                </c:pt>
                <c:pt idx="551">
                  <c:v>11.9745376858</c:v>
                </c:pt>
                <c:pt idx="552">
                  <c:v>11.5707105363</c:v>
                </c:pt>
                <c:pt idx="553">
                  <c:v>12.0765571762</c:v>
                </c:pt>
                <c:pt idx="554">
                  <c:v>12.378364835299999</c:v>
                </c:pt>
                <c:pt idx="555">
                  <c:v>12.9947325898</c:v>
                </c:pt>
                <c:pt idx="556">
                  <c:v>13.640856029</c:v>
                </c:pt>
                <c:pt idx="557">
                  <c:v>12.9947325898</c:v>
                </c:pt>
                <c:pt idx="558">
                  <c:v>12.9947325898</c:v>
                </c:pt>
                <c:pt idx="559">
                  <c:v>12.9947325898</c:v>
                </c:pt>
                <c:pt idx="560">
                  <c:v>12.9947325898</c:v>
                </c:pt>
                <c:pt idx="561">
                  <c:v>14.087191299500001</c:v>
                </c:pt>
                <c:pt idx="562">
                  <c:v>13.4750743571</c:v>
                </c:pt>
                <c:pt idx="563">
                  <c:v>13.934162063900001</c:v>
                </c:pt>
                <c:pt idx="564">
                  <c:v>13.985171809100001</c:v>
                </c:pt>
                <c:pt idx="565">
                  <c:v>14.070188051100001</c:v>
                </c:pt>
                <c:pt idx="566">
                  <c:v>14.461262764400001</c:v>
                </c:pt>
                <c:pt idx="567">
                  <c:v>15.060627270499999</c:v>
                </c:pt>
                <c:pt idx="568">
                  <c:v>15.783265327500001</c:v>
                </c:pt>
                <c:pt idx="569">
                  <c:v>15.4942101047</c:v>
                </c:pt>
                <c:pt idx="570">
                  <c:v>14.992614276899999</c:v>
                </c:pt>
                <c:pt idx="571">
                  <c:v>14.363494086099999</c:v>
                </c:pt>
                <c:pt idx="572">
                  <c:v>14.2147156625</c:v>
                </c:pt>
                <c:pt idx="573">
                  <c:v>14.1339502326</c:v>
                </c:pt>
                <c:pt idx="574">
                  <c:v>13.8789015066</c:v>
                </c:pt>
                <c:pt idx="575">
                  <c:v>12.9989834019</c:v>
                </c:pt>
                <c:pt idx="576">
                  <c:v>12.412371332099999</c:v>
                </c:pt>
                <c:pt idx="577">
                  <c:v>12.153071794000001</c:v>
                </c:pt>
                <c:pt idx="578">
                  <c:v>12.476133513600001</c:v>
                </c:pt>
                <c:pt idx="579">
                  <c:v>12.820449293699999</c:v>
                </c:pt>
                <c:pt idx="580">
                  <c:v>12.136068545600001</c:v>
                </c:pt>
                <c:pt idx="581">
                  <c:v>11.898023068000001</c:v>
                </c:pt>
                <c:pt idx="582">
                  <c:v>12.2295864118</c:v>
                </c:pt>
                <c:pt idx="583">
                  <c:v>12.123316109299999</c:v>
                </c:pt>
                <c:pt idx="584">
                  <c:v>11.817257638099999</c:v>
                </c:pt>
                <c:pt idx="585">
                  <c:v>12.221084787600001</c:v>
                </c:pt>
                <c:pt idx="586">
                  <c:v>12.072306364099999</c:v>
                </c:pt>
                <c:pt idx="587">
                  <c:v>12.0808079883</c:v>
                </c:pt>
                <c:pt idx="588">
                  <c:v>11.5877137847</c:v>
                </c:pt>
                <c:pt idx="589">
                  <c:v>11.0946195811</c:v>
                </c:pt>
                <c:pt idx="590">
                  <c:v>10.563268068599999</c:v>
                </c:pt>
                <c:pt idx="591">
                  <c:v>10.036167368199999</c:v>
                </c:pt>
                <c:pt idx="592">
                  <c:v>8.4224017864</c:v>
                </c:pt>
                <c:pt idx="593">
                  <c:v>8.0923203005000008</c:v>
                </c:pt>
                <c:pt idx="594">
                  <c:v>7.7267461816000003</c:v>
                </c:pt>
                <c:pt idx="595">
                  <c:v>7.3682705893999998</c:v>
                </c:pt>
                <c:pt idx="596">
                  <c:v>7.5563815436999997</c:v>
                </c:pt>
                <c:pt idx="597">
                  <c:v>7.6664087057000003</c:v>
                </c:pt>
                <c:pt idx="598">
                  <c:v>7.2724404805000002</c:v>
                </c:pt>
                <c:pt idx="599">
                  <c:v>7.4108617488000004</c:v>
                </c:pt>
                <c:pt idx="600">
                  <c:v>7.7728866044</c:v>
                </c:pt>
                <c:pt idx="601">
                  <c:v>7.3860169058</c:v>
                </c:pt>
                <c:pt idx="602">
                  <c:v>7.0168935237000003</c:v>
                </c:pt>
                <c:pt idx="603">
                  <c:v>6.8678244655</c:v>
                </c:pt>
                <c:pt idx="604">
                  <c:v>6.9210634148999999</c:v>
                </c:pt>
                <c:pt idx="605">
                  <c:v>7.2121030046000003</c:v>
                </c:pt>
                <c:pt idx="606">
                  <c:v>7.4108617488000004</c:v>
                </c:pt>
                <c:pt idx="607">
                  <c:v>7.7799851310000001</c:v>
                </c:pt>
                <c:pt idx="608">
                  <c:v>8.1633055663</c:v>
                </c:pt>
                <c:pt idx="609">
                  <c:v>8.5111333685999995</c:v>
                </c:pt>
                <c:pt idx="610">
                  <c:v>8.9334957000999999</c:v>
                </c:pt>
                <c:pt idx="611">
                  <c:v>9.2280845532000004</c:v>
                </c:pt>
                <c:pt idx="612">
                  <c:v>9.8101637326999995</c:v>
                </c:pt>
                <c:pt idx="613">
                  <c:v>9.4871807733000004</c:v>
                </c:pt>
                <c:pt idx="614">
                  <c:v>9.1925919202999999</c:v>
                </c:pt>
                <c:pt idx="615">
                  <c:v>9.7178828871</c:v>
                </c:pt>
                <c:pt idx="616">
                  <c:v>9.8137129959999996</c:v>
                </c:pt>
                <c:pt idx="617">
                  <c:v>11.340841280599999</c:v>
                </c:pt>
                <c:pt idx="618">
                  <c:v>11.284837126099999</c:v>
                </c:pt>
                <c:pt idx="619">
                  <c:v>11.4318480316</c:v>
                </c:pt>
                <c:pt idx="620">
                  <c:v>11.081822066200001</c:v>
                </c:pt>
                <c:pt idx="621">
                  <c:v>10.647789869</c:v>
                </c:pt>
                <c:pt idx="622">
                  <c:v>10.2207581912</c:v>
                </c:pt>
                <c:pt idx="623">
                  <c:v>10.7317961007</c:v>
                </c:pt>
                <c:pt idx="624">
                  <c:v>10.997815834500001</c:v>
                </c:pt>
                <c:pt idx="625">
                  <c:v>11.144826739999999</c:v>
                </c:pt>
                <c:pt idx="626">
                  <c:v>11.130825701299999</c:v>
                </c:pt>
                <c:pt idx="627">
                  <c:v>11.039818950300001</c:v>
                </c:pt>
                <c:pt idx="628">
                  <c:v>10.850804929000001</c:v>
                </c:pt>
                <c:pt idx="629">
                  <c:v>10.3677690967</c:v>
                </c:pt>
                <c:pt idx="630">
                  <c:v>10.4377742898</c:v>
                </c:pt>
                <c:pt idx="631">
                  <c:v>10.5217805215</c:v>
                </c:pt>
                <c:pt idx="632">
                  <c:v>10.262761307</c:v>
                </c:pt>
                <c:pt idx="633">
                  <c:v>9.8147280712999994</c:v>
                </c:pt>
                <c:pt idx="634">
                  <c:v>9.4437005479000007</c:v>
                </c:pt>
                <c:pt idx="635">
                  <c:v>9.5907114534000009</c:v>
                </c:pt>
                <c:pt idx="636">
                  <c:v>9.6047124583999999</c:v>
                </c:pt>
                <c:pt idx="637">
                  <c:v>9.2896890905999996</c:v>
                </c:pt>
                <c:pt idx="638">
                  <c:v>8.9606646841999993</c:v>
                </c:pt>
                <c:pt idx="639">
                  <c:v>8.5616350850000007</c:v>
                </c:pt>
                <c:pt idx="640">
                  <c:v>8.7436485864000009</c:v>
                </c:pt>
                <c:pt idx="641">
                  <c:v>8.2816143136000004</c:v>
                </c:pt>
                <c:pt idx="642">
                  <c:v>7.9735914651000002</c:v>
                </c:pt>
                <c:pt idx="643">
                  <c:v>7.6095644622999998</c:v>
                </c:pt>
                <c:pt idx="644">
                  <c:v>7.2875405752000004</c:v>
                </c:pt>
                <c:pt idx="645">
                  <c:v>6.9235135724000001</c:v>
                </c:pt>
                <c:pt idx="646">
                  <c:v>5.9261376227999998</c:v>
                </c:pt>
                <c:pt idx="647">
                  <c:v>5.9894879764000004</c:v>
                </c:pt>
                <c:pt idx="648">
                  <c:v>6.2716850060000002</c:v>
                </c:pt>
                <c:pt idx="649">
                  <c:v>6.5826776509</c:v>
                </c:pt>
                <c:pt idx="650">
                  <c:v>6.5366046664999997</c:v>
                </c:pt>
                <c:pt idx="651">
                  <c:v>6.1392251758</c:v>
                </c:pt>
                <c:pt idx="652">
                  <c:v>6.3235171135000003</c:v>
                </c:pt>
                <c:pt idx="653">
                  <c:v>6.5135681742999996</c:v>
                </c:pt>
                <c:pt idx="654">
                  <c:v>6.2947214982000004</c:v>
                </c:pt>
                <c:pt idx="655">
                  <c:v>6.1392251758</c:v>
                </c:pt>
                <c:pt idx="656">
                  <c:v>5.9722106072000001</c:v>
                </c:pt>
                <c:pt idx="657">
                  <c:v>5.6439405931</c:v>
                </c:pt>
                <c:pt idx="658">
                  <c:v>5.4423712862000002</c:v>
                </c:pt>
                <c:pt idx="659">
                  <c:v>5.7245683159</c:v>
                </c:pt>
                <c:pt idx="660">
                  <c:v>6.0010062225</c:v>
                </c:pt>
                <c:pt idx="661">
                  <c:v>6.2889623751999997</c:v>
                </c:pt>
                <c:pt idx="662">
                  <c:v>6.6345097584000001</c:v>
                </c:pt>
                <c:pt idx="663">
                  <c:v>7.0261301261</c:v>
                </c:pt>
                <c:pt idx="664">
                  <c:v>7.1528308333000004</c:v>
                </c:pt>
                <c:pt idx="665">
                  <c:v>7.0376483721999996</c:v>
                </c:pt>
                <c:pt idx="666">
                  <c:v>6.9685388956000001</c:v>
                </c:pt>
                <c:pt idx="667">
                  <c:v>7.4004731246000004</c:v>
                </c:pt>
                <c:pt idx="668">
                  <c:v>7.2161811869000001</c:v>
                </c:pt>
                <c:pt idx="669">
                  <c:v>7.2334585561000004</c:v>
                </c:pt>
                <c:pt idx="670">
                  <c:v>7.7345022618000003</c:v>
                </c:pt>
                <c:pt idx="671">
                  <c:v>7.4695826013</c:v>
                </c:pt>
                <c:pt idx="672">
                  <c:v>7.4695826013</c:v>
                </c:pt>
                <c:pt idx="673">
                  <c:v>7.3256045249000001</c:v>
                </c:pt>
                <c:pt idx="674">
                  <c:v>7.3198454019000003</c:v>
                </c:pt>
                <c:pt idx="675">
                  <c:v>7.1470717101999997</c:v>
                </c:pt>
                <c:pt idx="676">
                  <c:v>7.0894804796999997</c:v>
                </c:pt>
                <c:pt idx="677">
                  <c:v>6.9570206495000004</c:v>
                </c:pt>
                <c:pt idx="678">
                  <c:v>6.9570206495000004</c:v>
                </c:pt>
                <c:pt idx="679">
                  <c:v>7.1989038176999998</c:v>
                </c:pt>
                <c:pt idx="680">
                  <c:v>7.0088527568999996</c:v>
                </c:pt>
                <c:pt idx="681">
                  <c:v>7.0549257413999999</c:v>
                </c:pt>
                <c:pt idx="682">
                  <c:v>7.2219403098999999</c:v>
                </c:pt>
                <c:pt idx="683">
                  <c:v>7.1585899564000002</c:v>
                </c:pt>
                <c:pt idx="684">
                  <c:v>7.2392176791000002</c:v>
                </c:pt>
                <c:pt idx="685">
                  <c:v>7.6941884003999998</c:v>
                </c:pt>
                <c:pt idx="686">
                  <c:v>7.7690570001000001</c:v>
                </c:pt>
                <c:pt idx="687">
                  <c:v>7.6884292773</c:v>
                </c:pt>
                <c:pt idx="688">
                  <c:v>7.5847650623999998</c:v>
                </c:pt>
                <c:pt idx="689">
                  <c:v>7.4926190935000001</c:v>
                </c:pt>
                <c:pt idx="690">
                  <c:v>7.3601592631999999</c:v>
                </c:pt>
                <c:pt idx="691">
                  <c:v>7.2334585561000004</c:v>
                </c:pt>
                <c:pt idx="692">
                  <c:v>7.0894804796999997</c:v>
                </c:pt>
                <c:pt idx="693">
                  <c:v>7.1182760949999997</c:v>
                </c:pt>
                <c:pt idx="694">
                  <c:v>6.9282250341999996</c:v>
                </c:pt>
                <c:pt idx="695">
                  <c:v>6.8533564345000002</c:v>
                </c:pt>
                <c:pt idx="696">
                  <c:v>6.7266557272999998</c:v>
                </c:pt>
                <c:pt idx="697">
                  <c:v>6.6287506354000003</c:v>
                </c:pt>
                <c:pt idx="698">
                  <c:v>6.5596411586999999</c:v>
                </c:pt>
                <c:pt idx="699">
                  <c:v>6.7612104655999996</c:v>
                </c:pt>
                <c:pt idx="700">
                  <c:v>6.6229915122999996</c:v>
                </c:pt>
                <c:pt idx="701">
                  <c:v>6.5481229126000002</c:v>
                </c:pt>
                <c:pt idx="702">
                  <c:v>6.4271813284999997</c:v>
                </c:pt>
                <c:pt idx="703">
                  <c:v>6.5423637896000004</c:v>
                </c:pt>
                <c:pt idx="704">
                  <c:v>6.4156630824000001</c:v>
                </c:pt>
                <c:pt idx="705">
                  <c:v>6.3350353596</c:v>
                </c:pt>
                <c:pt idx="706">
                  <c:v>6.4329404515000004</c:v>
                </c:pt>
                <c:pt idx="707">
                  <c:v>6.3177579903999996</c:v>
                </c:pt>
                <c:pt idx="708">
                  <c:v>6.6863418659000002</c:v>
                </c:pt>
                <c:pt idx="709">
                  <c:v>6.9742980185999999</c:v>
                </c:pt>
                <c:pt idx="710">
                  <c:v>6.9858162647000004</c:v>
                </c:pt>
                <c:pt idx="711">
                  <c:v>6.8245608192000002</c:v>
                </c:pt>
                <c:pt idx="712">
                  <c:v>6.6633053737000001</c:v>
                </c:pt>
                <c:pt idx="713">
                  <c:v>6.4674951899000002</c:v>
                </c:pt>
                <c:pt idx="714">
                  <c:v>6.8533564345000002</c:v>
                </c:pt>
                <c:pt idx="715">
                  <c:v>6.9109476650000001</c:v>
                </c:pt>
                <c:pt idx="716">
                  <c:v>6.8072834499999999</c:v>
                </c:pt>
                <c:pt idx="717">
                  <c:v>7.2334585561000004</c:v>
                </c:pt>
                <c:pt idx="718">
                  <c:v>7.5386920779000004</c:v>
                </c:pt>
                <c:pt idx="719">
                  <c:v>7.4580643552000003</c:v>
                </c:pt>
                <c:pt idx="720">
                  <c:v>7.5444512010000002</c:v>
                </c:pt>
                <c:pt idx="721">
                  <c:v>7.4119913707</c:v>
                </c:pt>
                <c:pt idx="722">
                  <c:v>7.3025680327</c:v>
                </c:pt>
                <c:pt idx="723">
                  <c:v>7.4753417242999998</c:v>
                </c:pt>
                <c:pt idx="724">
                  <c:v>7.1009987258000002</c:v>
                </c:pt>
                <c:pt idx="725">
                  <c:v>6.8188016962000004</c:v>
                </c:pt>
                <c:pt idx="726">
                  <c:v>6.5020499281999999</c:v>
                </c:pt>
                <c:pt idx="727">
                  <c:v>6.5941958969999996</c:v>
                </c:pt>
                <c:pt idx="728">
                  <c:v>6.7612104655999996</c:v>
                </c:pt>
                <c:pt idx="729">
                  <c:v>6.8360790652999999</c:v>
                </c:pt>
                <c:pt idx="730">
                  <c:v>7.1528308333000004</c:v>
                </c:pt>
                <c:pt idx="731">
                  <c:v>7.1873855716000001</c:v>
                </c:pt>
                <c:pt idx="732">
                  <c:v>7.0779622336000001</c:v>
                </c:pt>
                <c:pt idx="733">
                  <c:v>7.0549257413999999</c:v>
                </c:pt>
                <c:pt idx="734">
                  <c:v>7.1873855716000001</c:v>
                </c:pt>
                <c:pt idx="735">
                  <c:v>7.1528308333000004</c:v>
                </c:pt>
                <c:pt idx="736">
                  <c:v>7.0203710031000002</c:v>
                </c:pt>
                <c:pt idx="737">
                  <c:v>6.9742980185999999</c:v>
                </c:pt>
                <c:pt idx="738">
                  <c:v>6.9109476650000001</c:v>
                </c:pt>
                <c:pt idx="739">
                  <c:v>6.9570206495000004</c:v>
                </c:pt>
                <c:pt idx="740">
                  <c:v>7.0606848643999998</c:v>
                </c:pt>
                <c:pt idx="741">
                  <c:v>6.9167067880999999</c:v>
                </c:pt>
                <c:pt idx="742">
                  <c:v>5.6605535073000004</c:v>
                </c:pt>
                <c:pt idx="743">
                  <c:v>5.6368691829999999</c:v>
                </c:pt>
                <c:pt idx="744">
                  <c:v>5.4710789129000004</c:v>
                </c:pt>
                <c:pt idx="745">
                  <c:v>5.4473945885999999</c:v>
                </c:pt>
                <c:pt idx="746">
                  <c:v>5.7031852909999996</c:v>
                </c:pt>
                <c:pt idx="747">
                  <c:v>5.8831861556999998</c:v>
                </c:pt>
                <c:pt idx="748">
                  <c:v>5.7600276694000003</c:v>
                </c:pt>
                <c:pt idx="749">
                  <c:v>5.7458170747999997</c:v>
                </c:pt>
                <c:pt idx="750">
                  <c:v>5.7695013991000001</c:v>
                </c:pt>
                <c:pt idx="751">
                  <c:v>5.7979225881999996</c:v>
                </c:pt>
                <c:pt idx="752">
                  <c:v>5.8026594531000004</c:v>
                </c:pt>
                <c:pt idx="753">
                  <c:v>5.6179217236000003</c:v>
                </c:pt>
                <c:pt idx="754">
                  <c:v>5.7126590208000003</c:v>
                </c:pt>
                <c:pt idx="755">
                  <c:v>5.8026594531000004</c:v>
                </c:pt>
                <c:pt idx="756">
                  <c:v>6.0726607500999998</c:v>
                </c:pt>
                <c:pt idx="757">
                  <c:v>6.0773976149999998</c:v>
                </c:pt>
                <c:pt idx="758">
                  <c:v>6.0016077772000003</c:v>
                </c:pt>
                <c:pt idx="759">
                  <c:v>6.1531874527000001</c:v>
                </c:pt>
                <c:pt idx="760">
                  <c:v>6.0916082095000004</c:v>
                </c:pt>
                <c:pt idx="761">
                  <c:v>6.0063446421000002</c:v>
                </c:pt>
                <c:pt idx="762">
                  <c:v>6.0110815069000001</c:v>
                </c:pt>
                <c:pt idx="763">
                  <c:v>5.9873971825999996</c:v>
                </c:pt>
                <c:pt idx="764">
                  <c:v>5.9826603177999997</c:v>
                </c:pt>
                <c:pt idx="765">
                  <c:v>5.0611208202000002</c:v>
                </c:pt>
                <c:pt idx="766">
                  <c:v>5.2720008543999999</c:v>
                </c:pt>
                <c:pt idx="767">
                  <c:v>5.5112685854999999</c:v>
                </c:pt>
                <c:pt idx="768">
                  <c:v>5.4423270359</c:v>
                </c:pt>
                <c:pt idx="769">
                  <c:v>5.3977177979000004</c:v>
                </c:pt>
                <c:pt idx="770">
                  <c:v>5.4991024296999997</c:v>
                </c:pt>
                <c:pt idx="771">
                  <c:v>5.7383701607999997</c:v>
                </c:pt>
                <c:pt idx="772">
                  <c:v>5.6167086026000002</c:v>
                </c:pt>
                <c:pt idx="773">
                  <c:v>5.6369855290000004</c:v>
                </c:pt>
                <c:pt idx="774">
                  <c:v>5.6369855290000004</c:v>
                </c:pt>
                <c:pt idx="775">
                  <c:v>5.7424255459999998</c:v>
                </c:pt>
                <c:pt idx="776">
                  <c:v>5.9127517274999999</c:v>
                </c:pt>
                <c:pt idx="777">
                  <c:v>5.8275886367999998</c:v>
                </c:pt>
                <c:pt idx="778">
                  <c:v>5.8519209484000001</c:v>
                </c:pt>
                <c:pt idx="779">
                  <c:v>5.8356994072999999</c:v>
                </c:pt>
                <c:pt idx="780">
                  <c:v>5.7505363165999999</c:v>
                </c:pt>
                <c:pt idx="781">
                  <c:v>5.8397547926</c:v>
                </c:pt>
                <c:pt idx="782">
                  <c:v>5.8559763337000001</c:v>
                </c:pt>
                <c:pt idx="783">
                  <c:v>5.9005855716999998</c:v>
                </c:pt>
                <c:pt idx="784">
                  <c:v>5.7667578577</c:v>
                </c:pt>
                <c:pt idx="785">
                  <c:v>5.6410409142000004</c:v>
                </c:pt>
                <c:pt idx="786">
                  <c:v>5.6248193731000002</c:v>
                </c:pt>
                <c:pt idx="787">
                  <c:v>5.6653732258999998</c:v>
                </c:pt>
                <c:pt idx="788">
                  <c:v>5.6207639879000002</c:v>
                </c:pt>
                <c:pt idx="789">
                  <c:v>5.6167086026000002</c:v>
                </c:pt>
                <c:pt idx="790">
                  <c:v>5.4950470443999997</c:v>
                </c:pt>
                <c:pt idx="791">
                  <c:v>5.4909916590999996</c:v>
                </c:pt>
                <c:pt idx="792">
                  <c:v>5.5437116677000002</c:v>
                </c:pt>
                <c:pt idx="793">
                  <c:v>5.5964316761999999</c:v>
                </c:pt>
                <c:pt idx="794">
                  <c:v>5.4342162652999999</c:v>
                </c:pt>
                <c:pt idx="795">
                  <c:v>5.3166100924000004</c:v>
                </c:pt>
                <c:pt idx="796">
                  <c:v>5.3774408715000002</c:v>
                </c:pt>
                <c:pt idx="797">
                  <c:v>5.2963331661000002</c:v>
                </c:pt>
                <c:pt idx="798">
                  <c:v>5.0570654350000002</c:v>
                </c:pt>
                <c:pt idx="799">
                  <c:v>4.9070161799000003</c:v>
                </c:pt>
                <c:pt idx="800">
                  <c:v>5.0286777380999998</c:v>
                </c:pt>
                <c:pt idx="801">
                  <c:v>4.8907946388000001</c:v>
                </c:pt>
                <c:pt idx="802">
                  <c:v>5.0246223527999998</c:v>
                </c:pt>
                <c:pt idx="803">
                  <c:v>5.1300623699000001</c:v>
                </c:pt>
                <c:pt idx="804">
                  <c:v>5.2760562396999999</c:v>
                </c:pt>
                <c:pt idx="805">
                  <c:v>5.2720008543999999</c:v>
                </c:pt>
                <c:pt idx="806">
                  <c:v>5.3003885513000002</c:v>
                </c:pt>
                <c:pt idx="807">
                  <c:v>5.3409424040999998</c:v>
                </c:pt>
                <c:pt idx="808">
                  <c:v>5.3125547071000003</c:v>
                </c:pt>
                <c:pt idx="809">
                  <c:v>5.2760562396999999</c:v>
                </c:pt>
                <c:pt idx="810">
                  <c:v>5.2720008543999999</c:v>
                </c:pt>
                <c:pt idx="811">
                  <c:v>5.2071146901000001</c:v>
                </c:pt>
                <c:pt idx="812">
                  <c:v>5.2192808459000002</c:v>
                </c:pt>
                <c:pt idx="813">
                  <c:v>5.1908931489999999</c:v>
                </c:pt>
                <c:pt idx="814">
                  <c:v>5.0286777380999998</c:v>
                </c:pt>
                <c:pt idx="815">
                  <c:v>5.0286777380999998</c:v>
                </c:pt>
                <c:pt idx="816">
                  <c:v>5.2233362311000002</c:v>
                </c:pt>
                <c:pt idx="817">
                  <c:v>5.4017731831000004</c:v>
                </c:pt>
                <c:pt idx="818">
                  <c:v>5.5599332088000004</c:v>
                </c:pt>
                <c:pt idx="819">
                  <c:v>5.5558778235000004</c:v>
                </c:pt>
                <c:pt idx="820">
                  <c:v>4.4161962920000004</c:v>
                </c:pt>
                <c:pt idx="821">
                  <c:v>4.3571825330999996</c:v>
                </c:pt>
                <c:pt idx="822">
                  <c:v>4.2621048104000003</c:v>
                </c:pt>
                <c:pt idx="823">
                  <c:v>4.3112829429000001</c:v>
                </c:pt>
                <c:pt idx="824">
                  <c:v>4.3604610752999999</c:v>
                </c:pt>
                <c:pt idx="825">
                  <c:v>4.2916116898999999</c:v>
                </c:pt>
                <c:pt idx="826">
                  <c:v>4.1637485455999999</c:v>
                </c:pt>
                <c:pt idx="827">
                  <c:v>4.2981687741999997</c:v>
                </c:pt>
                <c:pt idx="828">
                  <c:v>4.3604610752999999</c:v>
                </c:pt>
                <c:pt idx="829">
                  <c:v>4.4719315088</c:v>
                </c:pt>
                <c:pt idx="830">
                  <c:v>4.5014383882000004</c:v>
                </c:pt>
                <c:pt idx="831">
                  <c:v>4.3637396174000003</c:v>
                </c:pt>
                <c:pt idx="832">
                  <c:v>4.4817671353000001</c:v>
                </c:pt>
                <c:pt idx="833">
                  <c:v>4.4784885930999998</c:v>
                </c:pt>
                <c:pt idx="834">
                  <c:v>4.557173605</c:v>
                </c:pt>
                <c:pt idx="835">
                  <c:v>4.4916027618000003</c:v>
                </c:pt>
                <c:pt idx="836">
                  <c:v>4.4752100510000004</c:v>
                </c:pt>
                <c:pt idx="837">
                  <c:v>4.3407898222999997</c:v>
                </c:pt>
                <c:pt idx="838">
                  <c:v>4.3375112802000002</c:v>
                </c:pt>
                <c:pt idx="839">
                  <c:v>4.3112829429000001</c:v>
                </c:pt>
                <c:pt idx="840">
                  <c:v>4.3375112802000002</c:v>
                </c:pt>
                <c:pt idx="841">
                  <c:v>4.2621048104000003</c:v>
                </c:pt>
                <c:pt idx="842">
                  <c:v>4.2686618948000001</c:v>
                </c:pt>
                <c:pt idx="843">
                  <c:v>4.3539039910000001</c:v>
                </c:pt>
                <c:pt idx="844">
                  <c:v>4.3014473164</c:v>
                </c:pt>
                <c:pt idx="845">
                  <c:v>4.2227623044999998</c:v>
                </c:pt>
                <c:pt idx="846">
                  <c:v>4.0194926904999999</c:v>
                </c:pt>
                <c:pt idx="847">
                  <c:v>4.0981777023000001</c:v>
                </c:pt>
                <c:pt idx="848">
                  <c:v>4.0916206180000003</c:v>
                </c:pt>
                <c:pt idx="849">
                  <c:v>4.1571914612</c:v>
                </c:pt>
                <c:pt idx="850">
                  <c:v>4.0326068591000004</c:v>
                </c:pt>
                <c:pt idx="851">
                  <c:v>4.130963124</c:v>
                </c:pt>
                <c:pt idx="852">
                  <c:v>4.2752189790999999</c:v>
                </c:pt>
                <c:pt idx="853">
                  <c:v>4.4325890028000003</c:v>
                </c:pt>
                <c:pt idx="854">
                  <c:v>4.6096302796000002</c:v>
                </c:pt>
                <c:pt idx="855">
                  <c:v>4.6948723758000002</c:v>
                </c:pt>
                <c:pt idx="856">
                  <c:v>4.7604432189999999</c:v>
                </c:pt>
                <c:pt idx="857">
                  <c:v>4.8325711466000003</c:v>
                </c:pt>
                <c:pt idx="858">
                  <c:v>4.7801144720000002</c:v>
                </c:pt>
                <c:pt idx="859">
                  <c:v>4.7473290504000003</c:v>
                </c:pt>
                <c:pt idx="860">
                  <c:v>4.7604432189999999</c:v>
                </c:pt>
                <c:pt idx="861">
                  <c:v>4.7866715563</c:v>
                </c:pt>
                <c:pt idx="862">
                  <c:v>4.7604432189999999</c:v>
                </c:pt>
                <c:pt idx="863">
                  <c:v>4.7473290504000003</c:v>
                </c:pt>
                <c:pt idx="864">
                  <c:v>4.7538861347000001</c:v>
                </c:pt>
                <c:pt idx="865">
                  <c:v>4.6883152915000004</c:v>
                </c:pt>
                <c:pt idx="866">
                  <c:v>4.6752011227999999</c:v>
                </c:pt>
                <c:pt idx="867">
                  <c:v>4.6227444481999997</c:v>
                </c:pt>
                <c:pt idx="868">
                  <c:v>4.6620869542000003</c:v>
                </c:pt>
                <c:pt idx="869">
                  <c:v>4.6489727854999998</c:v>
                </c:pt>
                <c:pt idx="870">
                  <c:v>4.6424157012</c:v>
                </c:pt>
                <c:pt idx="871">
                  <c:v>4.5768448580000003</c:v>
                </c:pt>
                <c:pt idx="872">
                  <c:v>4.4522602557999997</c:v>
                </c:pt>
                <c:pt idx="873">
                  <c:v>3.8805523440999998</c:v>
                </c:pt>
                <c:pt idx="874">
                  <c:v>3.8863098401</c:v>
                </c:pt>
                <c:pt idx="875">
                  <c:v>3.7366149426000002</c:v>
                </c:pt>
                <c:pt idx="876">
                  <c:v>3.6214650214000002</c:v>
                </c:pt>
                <c:pt idx="877">
                  <c:v>3.6790399819999999</c:v>
                </c:pt>
                <c:pt idx="878">
                  <c:v>3.7999473992000001</c:v>
                </c:pt>
                <c:pt idx="879">
                  <c:v>3.9611572889</c:v>
                </c:pt>
                <c:pt idx="880">
                  <c:v>4.064792218</c:v>
                </c:pt>
                <c:pt idx="881">
                  <c:v>4.0705497140000002</c:v>
                </c:pt>
                <c:pt idx="882">
                  <c:v>4.0763072101000004</c:v>
                </c:pt>
                <c:pt idx="883">
                  <c:v>4.0935796983000001</c:v>
                </c:pt>
                <c:pt idx="884">
                  <c:v>4.1108521863999998</c:v>
                </c:pt>
                <c:pt idx="885">
                  <c:v>4.0302472415999997</c:v>
                </c:pt>
                <c:pt idx="886">
                  <c:v>4.0072172573999998</c:v>
                </c:pt>
                <c:pt idx="887">
                  <c:v>3.9381273047000001</c:v>
                </c:pt>
                <c:pt idx="888">
                  <c:v>4.0360047376999999</c:v>
                </c:pt>
                <c:pt idx="889">
                  <c:v>4.0072172573999998</c:v>
                </c:pt>
                <c:pt idx="890">
                  <c:v>3.9784297771000001</c:v>
                </c:pt>
                <c:pt idx="891">
                  <c:v>4.0417622337000001</c:v>
                </c:pt>
                <c:pt idx="892">
                  <c:v>4.0417622337000001</c:v>
                </c:pt>
                <c:pt idx="893">
                  <c:v>4.0417622337000001</c:v>
                </c:pt>
                <c:pt idx="894">
                  <c:v>4.0475197298000003</c:v>
                </c:pt>
                <c:pt idx="895">
                  <c:v>4.0129747534</c:v>
                </c:pt>
                <c:pt idx="896">
                  <c:v>4.0878222021999999</c:v>
                </c:pt>
                <c:pt idx="897">
                  <c:v>4.0590347218999998</c:v>
                </c:pt>
                <c:pt idx="898">
                  <c:v>3.9323698085999998</c:v>
                </c:pt>
                <c:pt idx="899">
                  <c:v>3.8863098401</c:v>
                </c:pt>
                <c:pt idx="900">
                  <c:v>3.8632798559000001</c:v>
                </c:pt>
                <c:pt idx="901">
                  <c:v>3.8344923756</c:v>
                </c:pt>
                <c:pt idx="902">
                  <c:v>4.0417622337000001</c:v>
                </c:pt>
                <c:pt idx="903">
                  <c:v>4.1108521863999998</c:v>
                </c:pt>
                <c:pt idx="904">
                  <c:v>4.1050946903999996</c:v>
                </c:pt>
                <c:pt idx="905">
                  <c:v>4.1453971628000001</c:v>
                </c:pt>
                <c:pt idx="906">
                  <c:v>4.1050946903999996</c:v>
                </c:pt>
                <c:pt idx="907">
                  <c:v>3.9841872730999999</c:v>
                </c:pt>
                <c:pt idx="908">
                  <c:v>3.9957022651999998</c:v>
                </c:pt>
                <c:pt idx="909">
                  <c:v>4.0072172573999998</c:v>
                </c:pt>
                <c:pt idx="910">
                  <c:v>4.0475197298000003</c:v>
                </c:pt>
                <c:pt idx="911">
                  <c:v>4.0993371943000003</c:v>
                </c:pt>
                <c:pt idx="912">
                  <c:v>4.2605470839999997</c:v>
                </c:pt>
                <c:pt idx="913">
                  <c:v>4.3756970052000002</c:v>
                </c:pt>
                <c:pt idx="914">
                  <c:v>4.3411520287999998</c:v>
                </c:pt>
                <c:pt idx="915">
                  <c:v>4.3411520287999998</c:v>
                </c:pt>
                <c:pt idx="916">
                  <c:v>4.2317596036999996</c:v>
                </c:pt>
                <c:pt idx="917">
                  <c:v>4.5138769105999996</c:v>
                </c:pt>
                <c:pt idx="918">
                  <c:v>4.5081194145000003</c:v>
                </c:pt>
                <c:pt idx="919">
                  <c:v>4.4908469263999997</c:v>
                </c:pt>
                <c:pt idx="920">
                  <c:v>4.3526670209000002</c:v>
                </c:pt>
                <c:pt idx="921">
                  <c:v>4.4217569736</c:v>
                </c:pt>
                <c:pt idx="922">
                  <c:v>4.3526670209000002</c:v>
                </c:pt>
                <c:pt idx="923">
                  <c:v>4.4159994775999998</c:v>
                </c:pt>
                <c:pt idx="924">
                  <c:v>4.1684271470000001</c:v>
                </c:pt>
                <c:pt idx="925">
                  <c:v>4.2720620761000001</c:v>
                </c:pt>
                <c:pt idx="926">
                  <c:v>4.3066070525000004</c:v>
                </c:pt>
                <c:pt idx="927">
                  <c:v>4.3066070525000004</c:v>
                </c:pt>
                <c:pt idx="928">
                  <c:v>4.3238795406000001</c:v>
                </c:pt>
                <c:pt idx="929">
                  <c:v>4.3584245170000004</c:v>
                </c:pt>
                <c:pt idx="930">
                  <c:v>4.3699395091</c:v>
                </c:pt>
                <c:pt idx="931">
                  <c:v>4.3526670209000002</c:v>
                </c:pt>
                <c:pt idx="932">
                  <c:v>4.3814545012000004</c:v>
                </c:pt>
                <c:pt idx="933">
                  <c:v>4.3641820130999998</c:v>
                </c:pt>
                <c:pt idx="934">
                  <c:v>4.3699395091</c:v>
                </c:pt>
                <c:pt idx="935">
                  <c:v>4.3411520287999998</c:v>
                </c:pt>
                <c:pt idx="936">
                  <c:v>4.3181220445999999</c:v>
                </c:pt>
                <c:pt idx="937">
                  <c:v>4.3699395091</c:v>
                </c:pt>
                <c:pt idx="938">
                  <c:v>4.3123645484999997</c:v>
                </c:pt>
                <c:pt idx="939">
                  <c:v>4.3181220445999999</c:v>
                </c:pt>
                <c:pt idx="940">
                  <c:v>4.2605470839999997</c:v>
                </c:pt>
                <c:pt idx="941">
                  <c:v>4.2087296193999997</c:v>
                </c:pt>
                <c:pt idx="942">
                  <c:v>4.2317596036999996</c:v>
                </c:pt>
                <c:pt idx="943">
                  <c:v>4.2432745958</c:v>
                </c:pt>
                <c:pt idx="944">
                  <c:v>4.2317596036999996</c:v>
                </c:pt>
                <c:pt idx="945">
                  <c:v>4.3123645484999997</c:v>
                </c:pt>
                <c:pt idx="946">
                  <c:v>4.3584245170000004</c:v>
                </c:pt>
                <c:pt idx="947">
                  <c:v>4.3872119972999997</c:v>
                </c:pt>
                <c:pt idx="948">
                  <c:v>4.3411520287999998</c:v>
                </c:pt>
                <c:pt idx="949">
                  <c:v>4.3469095249</c:v>
                </c:pt>
                <c:pt idx="950">
                  <c:v>4.3123645484999997</c:v>
                </c:pt>
                <c:pt idx="951">
                  <c:v>4.2950920603</c:v>
                </c:pt>
                <c:pt idx="952">
                  <c:v>4.2663045799999999</c:v>
                </c:pt>
                <c:pt idx="953">
                  <c:v>4.2605470839999997</c:v>
                </c:pt>
                <c:pt idx="954">
                  <c:v>4.2490320919000002</c:v>
                </c:pt>
                <c:pt idx="955">
                  <c:v>4.2202446116000001</c:v>
                </c:pt>
                <c:pt idx="956">
                  <c:v>4.2778195722000003</c:v>
                </c:pt>
                <c:pt idx="957">
                  <c:v>4.2663045799999999</c:v>
                </c:pt>
                <c:pt idx="958">
                  <c:v>4.1741846431000003</c:v>
                </c:pt>
                <c:pt idx="959">
                  <c:v>4.2202446116000001</c:v>
                </c:pt>
                <c:pt idx="960">
                  <c:v>4.2893345642999998</c:v>
                </c:pt>
                <c:pt idx="961">
                  <c:v>4.2720620761000001</c:v>
                </c:pt>
                <c:pt idx="962">
                  <c:v>4.3411520287999998</c:v>
                </c:pt>
                <c:pt idx="963">
                  <c:v>4.4447869578999999</c:v>
                </c:pt>
                <c:pt idx="964">
                  <c:v>4.4102419814999996</c:v>
                </c:pt>
                <c:pt idx="965">
                  <c:v>4.3238795406000001</c:v>
                </c:pt>
                <c:pt idx="966">
                  <c:v>3.7061396853000002</c:v>
                </c:pt>
                <c:pt idx="967">
                  <c:v>3.6715490482000002</c:v>
                </c:pt>
                <c:pt idx="968">
                  <c:v>3.6369584111000002</c:v>
                </c:pt>
                <c:pt idx="969">
                  <c:v>3.6023677741000002</c:v>
                </c:pt>
                <c:pt idx="970">
                  <c:v>3.5480110587000002</c:v>
                </c:pt>
                <c:pt idx="971">
                  <c:v>3.4294145887999998</c:v>
                </c:pt>
                <c:pt idx="972">
                  <c:v>3.3157596383999999</c:v>
                </c:pt>
                <c:pt idx="973">
                  <c:v>3.3305841971999999</c:v>
                </c:pt>
                <c:pt idx="974">
                  <c:v>3.3305841971999999</c:v>
                </c:pt>
                <c:pt idx="975">
                  <c:v>3.3355257166999999</c:v>
                </c:pt>
                <c:pt idx="976">
                  <c:v>3.2515198838999999</c:v>
                </c:pt>
                <c:pt idx="977">
                  <c:v>3.2564614034999999</c:v>
                </c:pt>
                <c:pt idx="978">
                  <c:v>3.3058765992999999</c:v>
                </c:pt>
                <c:pt idx="979">
                  <c:v>3.1724555705999999</c:v>
                </c:pt>
                <c:pt idx="980">
                  <c:v>3.1823386096999999</c:v>
                </c:pt>
                <c:pt idx="981">
                  <c:v>3.0933912573</c:v>
                </c:pt>
                <c:pt idx="982">
                  <c:v>3.0637421398</c:v>
                </c:pt>
                <c:pt idx="983">
                  <c:v>3.0835082181</c:v>
                </c:pt>
                <c:pt idx="984">
                  <c:v>3.0093854244</c:v>
                </c:pt>
                <c:pt idx="985">
                  <c:v>3.0192684636</c:v>
                </c:pt>
                <c:pt idx="986">
                  <c:v>2.3712918044000002</c:v>
                </c:pt>
                <c:pt idx="987">
                  <c:v>2.3668260947999999</c:v>
                </c:pt>
                <c:pt idx="988">
                  <c:v>2.4070174813</c:v>
                </c:pt>
                <c:pt idx="989">
                  <c:v>2.4159489005000001</c:v>
                </c:pt>
                <c:pt idx="990">
                  <c:v>2.4025517716999998</c:v>
                </c:pt>
                <c:pt idx="991">
                  <c:v>2.4382774486000001</c:v>
                </c:pt>
                <c:pt idx="992">
                  <c:v>2.4561402870000002</c:v>
                </c:pt>
                <c:pt idx="993">
                  <c:v>2.5097288024000002</c:v>
                </c:pt>
                <c:pt idx="994">
                  <c:v>2.5007973832000001</c:v>
                </c:pt>
                <c:pt idx="995">
                  <c:v>2.4784688351000002</c:v>
                </c:pt>
                <c:pt idx="996">
                  <c:v>2.5499201888999998</c:v>
                </c:pt>
                <c:pt idx="997">
                  <c:v>2.4963316734999998</c:v>
                </c:pt>
                <c:pt idx="998">
                  <c:v>2.4918659639</c:v>
                </c:pt>
                <c:pt idx="999">
                  <c:v>2.4382774486000001</c:v>
                </c:pt>
                <c:pt idx="1000">
                  <c:v>2.4293460293</c:v>
                </c:pt>
                <c:pt idx="1001">
                  <c:v>2.3936203524000002</c:v>
                </c:pt>
                <c:pt idx="1002">
                  <c:v>2.3802232235999998</c:v>
                </c:pt>
                <c:pt idx="1003">
                  <c:v>2.3802232235999998</c:v>
                </c:pt>
                <c:pt idx="1004">
                  <c:v>2.4382774486000001</c:v>
                </c:pt>
                <c:pt idx="1005">
                  <c:v>2.4561402870000002</c:v>
                </c:pt>
                <c:pt idx="1006">
                  <c:v>2.4338117389999998</c:v>
                </c:pt>
                <c:pt idx="1007">
                  <c:v>2.4114831908999999</c:v>
                </c:pt>
                <c:pt idx="1008">
                  <c:v>2.3891546427999999</c:v>
                </c:pt>
                <c:pt idx="1009">
                  <c:v>2.3891546427999999</c:v>
                </c:pt>
                <c:pt idx="1010">
                  <c:v>2.3400318371000002</c:v>
                </c:pt>
                <c:pt idx="1011">
                  <c:v>2.3355661274999999</c:v>
                </c:pt>
                <c:pt idx="1012">
                  <c:v>2.3355661274999999</c:v>
                </c:pt>
                <c:pt idx="1013">
                  <c:v>2.3177032890000002</c:v>
                </c:pt>
                <c:pt idx="1014">
                  <c:v>2.3087718698000002</c:v>
                </c:pt>
                <c:pt idx="1015">
                  <c:v>2.2551833545000002</c:v>
                </c:pt>
                <c:pt idx="1016">
                  <c:v>2.2641147736999998</c:v>
                </c:pt>
                <c:pt idx="1017">
                  <c:v>2.2685804833000001</c:v>
                </c:pt>
                <c:pt idx="1018">
                  <c:v>2.2775119025000001</c:v>
                </c:pt>
                <c:pt idx="1019">
                  <c:v>2.2730461928999999</c:v>
                </c:pt>
                <c:pt idx="1020">
                  <c:v>2.2551833545000002</c:v>
                </c:pt>
                <c:pt idx="1021">
                  <c:v>2.2507176447999999</c:v>
                </c:pt>
                <c:pt idx="1022">
                  <c:v>2.2462519352000001</c:v>
                </c:pt>
                <c:pt idx="1023">
                  <c:v>2.2417862255999998</c:v>
                </c:pt>
                <c:pt idx="1024">
                  <c:v>2.1748005814</c:v>
                </c:pt>
                <c:pt idx="1025">
                  <c:v>2.2015948391000002</c:v>
                </c:pt>
                <c:pt idx="1026">
                  <c:v>2.2149919679000001</c:v>
                </c:pt>
                <c:pt idx="1027">
                  <c:v>2.1622965944999999</c:v>
                </c:pt>
                <c:pt idx="1028">
                  <c:v>2.1797128620000001</c:v>
                </c:pt>
                <c:pt idx="1029">
                  <c:v>2.1703348718000002</c:v>
                </c:pt>
                <c:pt idx="1030">
                  <c:v>2.1622965944999999</c:v>
                </c:pt>
                <c:pt idx="1031">
                  <c:v>2.1658691621999999</c:v>
                </c:pt>
                <c:pt idx="1032">
                  <c:v>2.1618500235</c:v>
                </c:pt>
                <c:pt idx="1033">
                  <c:v>2.1810525748999998</c:v>
                </c:pt>
                <c:pt idx="1034">
                  <c:v>2.2306219515999999</c:v>
                </c:pt>
                <c:pt idx="1035">
                  <c:v>2.2056139777000001</c:v>
                </c:pt>
                <c:pt idx="1036">
                  <c:v>2.1971291294999999</c:v>
                </c:pt>
                <c:pt idx="1037">
                  <c:v>2.1703348718000002</c:v>
                </c:pt>
                <c:pt idx="1038">
                  <c:v>2.1716745846999999</c:v>
                </c:pt>
                <c:pt idx="1039">
                  <c:v>2.1730142976</c:v>
                </c:pt>
                <c:pt idx="1040">
                  <c:v>2.1730142976</c:v>
                </c:pt>
                <c:pt idx="1041">
                  <c:v>2.2620632401999998</c:v>
                </c:pt>
                <c:pt idx="1042">
                  <c:v>2.2597292913999998</c:v>
                </c:pt>
                <c:pt idx="1043">
                  <c:v>2.2027809390000002</c:v>
                </c:pt>
                <c:pt idx="1044">
                  <c:v>2.2079156266000002</c:v>
                </c:pt>
                <c:pt idx="1045">
                  <c:v>2.1710392344999998</c:v>
                </c:pt>
                <c:pt idx="1046">
                  <c:v>2.2055816777000001</c:v>
                </c:pt>
                <c:pt idx="1047">
                  <c:v>2.3106093766</c:v>
                </c:pt>
                <c:pt idx="1048">
                  <c:v>2.297539263</c:v>
                </c:pt>
                <c:pt idx="1049">
                  <c:v>2.3068750584000002</c:v>
                </c:pt>
                <c:pt idx="1050">
                  <c:v>2.3521536664</c:v>
                </c:pt>
                <c:pt idx="1051">
                  <c:v>2.4889230698999998</c:v>
                </c:pt>
                <c:pt idx="1052">
                  <c:v>2.6233585246</c:v>
                </c:pt>
                <c:pt idx="1053">
                  <c:v>2.7914028429000002</c:v>
                </c:pt>
                <c:pt idx="1054">
                  <c:v>2.7419231269000002</c:v>
                </c:pt>
                <c:pt idx="1055">
                  <c:v>2.8100744338000001</c:v>
                </c:pt>
                <c:pt idx="1056">
                  <c:v>2.9221039793000001</c:v>
                </c:pt>
                <c:pt idx="1057">
                  <c:v>2.8660892065999999</c:v>
                </c:pt>
                <c:pt idx="1058">
                  <c:v>2.8520855134</c:v>
                </c:pt>
                <c:pt idx="1059">
                  <c:v>2.8660892065999999</c:v>
                </c:pt>
                <c:pt idx="1060">
                  <c:v>2.8427497178999999</c:v>
                </c:pt>
                <c:pt idx="1061">
                  <c:v>2.7773991496999999</c:v>
                </c:pt>
                <c:pt idx="1062">
                  <c:v>2.7773991496999999</c:v>
                </c:pt>
                <c:pt idx="1063">
                  <c:v>2.7914028429000002</c:v>
                </c:pt>
                <c:pt idx="1064">
                  <c:v>2.7914028429000002</c:v>
                </c:pt>
                <c:pt idx="1065">
                  <c:v>2.7727312519999998</c:v>
                </c:pt>
                <c:pt idx="1066">
                  <c:v>2.7773991496999999</c:v>
                </c:pt>
                <c:pt idx="1067">
                  <c:v>2.7914028429000002</c:v>
                </c:pt>
                <c:pt idx="1068">
                  <c:v>2.7680633542000002</c:v>
                </c:pt>
                <c:pt idx="1069">
                  <c:v>2.8427497178999999</c:v>
                </c:pt>
                <c:pt idx="1070">
                  <c:v>2.8660892065999999</c:v>
                </c:pt>
                <c:pt idx="1071">
                  <c:v>2.8987644907000001</c:v>
                </c:pt>
                <c:pt idx="1072">
                  <c:v>2.9127681838999999</c:v>
                </c:pt>
                <c:pt idx="1073">
                  <c:v>2.9034323884000002</c:v>
                </c:pt>
                <c:pt idx="1074">
                  <c:v>2.8800928998000002</c:v>
                </c:pt>
                <c:pt idx="1075">
                  <c:v>2.8287460247</c:v>
                </c:pt>
                <c:pt idx="1076">
                  <c:v>2.8194102292999998</c:v>
                </c:pt>
                <c:pt idx="1077">
                  <c:v>2.9174360816</c:v>
                </c:pt>
                <c:pt idx="1078">
                  <c:v>3.0528051158</c:v>
                </c:pt>
                <c:pt idx="1079">
                  <c:v>3.2115136386000001</c:v>
                </c:pt>
                <c:pt idx="1080">
                  <c:v>3.2161815364000002</c:v>
                </c:pt>
                <c:pt idx="1081">
                  <c:v>3.2115136386000001</c:v>
                </c:pt>
                <c:pt idx="1082">
                  <c:v>3.3188752864</c:v>
                </c:pt>
                <c:pt idx="1083">
                  <c:v>3.2581926159000001</c:v>
                </c:pt>
                <c:pt idx="1084">
                  <c:v>3.2348531273000001</c:v>
                </c:pt>
                <c:pt idx="1085">
                  <c:v>3.2488568204999999</c:v>
                </c:pt>
                <c:pt idx="1086">
                  <c:v>3.412233241</c:v>
                </c:pt>
                <c:pt idx="1087">
                  <c:v>3.3655542637</c:v>
                </c:pt>
                <c:pt idx="1088">
                  <c:v>3.3562184682999998</c:v>
                </c:pt>
                <c:pt idx="1089">
                  <c:v>3.5896133548</c:v>
                </c:pt>
                <c:pt idx="1090">
                  <c:v>3.412233241</c:v>
                </c:pt>
                <c:pt idx="1091">
                  <c:v>3.430904832</c:v>
                </c:pt>
                <c:pt idx="1092">
                  <c:v>3.4822517070000001</c:v>
                </c:pt>
                <c:pt idx="1093">
                  <c:v>3.3888937524</c:v>
                </c:pt>
                <c:pt idx="1094">
                  <c:v>3.4402406274000001</c:v>
                </c:pt>
                <c:pt idx="1095">
                  <c:v>3.4495764228999999</c:v>
                </c:pt>
                <c:pt idx="1096">
                  <c:v>3.4542443206</c:v>
                </c:pt>
                <c:pt idx="1097">
                  <c:v>3.5195948887999999</c:v>
                </c:pt>
                <c:pt idx="1098">
                  <c:v>3.5849454570999999</c:v>
                </c:pt>
                <c:pt idx="1099">
                  <c:v>3.5149269910999998</c:v>
                </c:pt>
                <c:pt idx="1100">
                  <c:v>3.6502960252999999</c:v>
                </c:pt>
                <c:pt idx="1101">
                  <c:v>3.6923071048999998</c:v>
                </c:pt>
                <c:pt idx="1102">
                  <c:v>3.6876392071000001</c:v>
                </c:pt>
                <c:pt idx="1103">
                  <c:v>3.7953270672000001</c:v>
                </c:pt>
                <c:pt idx="1104">
                  <c:v>3.6560049343999999</c:v>
                </c:pt>
                <c:pt idx="1105">
                  <c:v>3.7280681064999999</c:v>
                </c:pt>
                <c:pt idx="1106">
                  <c:v>3.7616975869</c:v>
                </c:pt>
                <c:pt idx="1107">
                  <c:v>3.7184596835999999</c:v>
                </c:pt>
                <c:pt idx="1108">
                  <c:v>3.6560049343999999</c:v>
                </c:pt>
                <c:pt idx="1109">
                  <c:v>3.6319838770000001</c:v>
                </c:pt>
                <c:pt idx="1110">
                  <c:v>3.5983543966</c:v>
                </c:pt>
                <c:pt idx="1111">
                  <c:v>3.6031586081000002</c:v>
                </c:pt>
                <c:pt idx="1112">
                  <c:v>3.5839417621999998</c:v>
                </c:pt>
                <c:pt idx="1113">
                  <c:v>3.6367880883999999</c:v>
                </c:pt>
                <c:pt idx="1114">
                  <c:v>3.5935501851999998</c:v>
                </c:pt>
                <c:pt idx="1115">
                  <c:v>3.6223754540000002</c:v>
                </c:pt>
                <c:pt idx="1116">
                  <c:v>3.8289565474999998</c:v>
                </c:pt>
                <c:pt idx="1117">
                  <c:v>3.7809144327999999</c:v>
                </c:pt>
                <c:pt idx="1118">
                  <c:v>3.7472849523999998</c:v>
                </c:pt>
                <c:pt idx="1119">
                  <c:v>3.7376765294999998</c:v>
                </c:pt>
                <c:pt idx="1120">
                  <c:v>3.7232638950000001</c:v>
                </c:pt>
                <c:pt idx="1121">
                  <c:v>3.7136554721000001</c:v>
                </c:pt>
                <c:pt idx="1122">
                  <c:v>3.8049354902000001</c:v>
                </c:pt>
                <c:pt idx="1123">
                  <c:v>4.0451460639999999</c:v>
                </c:pt>
                <c:pt idx="1124">
                  <c:v>4.3237903297000004</c:v>
                </c:pt>
                <c:pt idx="1125">
                  <c:v>4.3958535018999996</c:v>
                </c:pt>
                <c:pt idx="1126">
                  <c:v>4.6408682872</c:v>
                </c:pt>
                <c:pt idx="1127">
                  <c:v>4.9483378218</c:v>
                </c:pt>
                <c:pt idx="1128">
                  <c:v>4.9819673021000002</c:v>
                </c:pt>
                <c:pt idx="1129">
                  <c:v>4.9243167644000003</c:v>
                </c:pt>
                <c:pt idx="1130">
                  <c:v>4.8138199004000004</c:v>
                </c:pt>
                <c:pt idx="1131">
                  <c:v>4.7129314594</c:v>
                </c:pt>
                <c:pt idx="1132">
                  <c:v>4.7273440938000002</c:v>
                </c:pt>
                <c:pt idx="1133">
                  <c:v>4.6264556527999998</c:v>
                </c:pt>
                <c:pt idx="1134">
                  <c:v>5.1525168095999998</c:v>
                </c:pt>
                <c:pt idx="1135">
                  <c:v>5.4119442294000004</c:v>
                </c:pt>
                <c:pt idx="1136">
                  <c:v>5.7722600901999996</c:v>
                </c:pt>
                <c:pt idx="1137">
                  <c:v>5.7434348213000002</c:v>
                </c:pt>
                <c:pt idx="1138">
                  <c:v>5.9091801173</c:v>
                </c:pt>
                <c:pt idx="1139">
                  <c:v>5.801085359</c:v>
                </c:pt>
                <c:pt idx="1140">
                  <c:v>5.8154979935000002</c:v>
                </c:pt>
                <c:pt idx="1141">
                  <c:v>5.7362285040999996</c:v>
                </c:pt>
                <c:pt idx="1142">
                  <c:v>5.7218158697000003</c:v>
                </c:pt>
                <c:pt idx="1143">
                  <c:v>5.7722600901999996</c:v>
                </c:pt>
                <c:pt idx="1144">
                  <c:v>5.9380053862000004</c:v>
                </c:pt>
                <c:pt idx="1145">
                  <c:v>5.9380053862000004</c:v>
                </c:pt>
                <c:pt idx="1146">
                  <c:v>5.7218158697000003</c:v>
                </c:pt>
                <c:pt idx="1147">
                  <c:v>5.6929906008</c:v>
                </c:pt>
                <c:pt idx="1148">
                  <c:v>5.8371169451</c:v>
                </c:pt>
                <c:pt idx="1149">
                  <c:v>5.8443232622999997</c:v>
                </c:pt>
                <c:pt idx="1150">
                  <c:v>5.8227043106999998</c:v>
                </c:pt>
                <c:pt idx="1151">
                  <c:v>5.7506411384999998</c:v>
                </c:pt>
                <c:pt idx="1152">
                  <c:v>5.7362285040999996</c:v>
                </c:pt>
                <c:pt idx="1153">
                  <c:v>5.7794664074000002</c:v>
                </c:pt>
                <c:pt idx="1154">
                  <c:v>5.765053773</c:v>
                </c:pt>
                <c:pt idx="1155">
                  <c:v>5.8082916762999997</c:v>
                </c:pt>
                <c:pt idx="1156">
                  <c:v>6.1902264886999996</c:v>
                </c:pt>
                <c:pt idx="1157">
                  <c:v>6.3055275642000002</c:v>
                </c:pt>
                <c:pt idx="1158">
                  <c:v>6.3055275642000002</c:v>
                </c:pt>
                <c:pt idx="1159">
                  <c:v>6.3127338813999998</c:v>
                </c:pt>
                <c:pt idx="1160">
                  <c:v>6.1541949025999996</c:v>
                </c:pt>
                <c:pt idx="1161">
                  <c:v>6.1686075370999998</c:v>
                </c:pt>
                <c:pt idx="1162">
                  <c:v>5.7506411384999998</c:v>
                </c:pt>
                <c:pt idx="1163">
                  <c:v>5.4840074015000004</c:v>
                </c:pt>
                <c:pt idx="1164">
                  <c:v>5.6785779663999998</c:v>
                </c:pt>
                <c:pt idx="1165">
                  <c:v>5.6065147941999998</c:v>
                </c:pt>
                <c:pt idx="1166">
                  <c:v>5.5344516219999997</c:v>
                </c:pt>
                <c:pt idx="1167">
                  <c:v>5.8154979935000002</c:v>
                </c:pt>
                <c:pt idx="1168">
                  <c:v>5.6929906008</c:v>
                </c:pt>
                <c:pt idx="1169">
                  <c:v>5.6929906008</c:v>
                </c:pt>
                <c:pt idx="1170">
                  <c:v>5.6353400631000001</c:v>
                </c:pt>
                <c:pt idx="1171">
                  <c:v>5.7074032352000001</c:v>
                </c:pt>
                <c:pt idx="1172">
                  <c:v>5.6065147941999998</c:v>
                </c:pt>
                <c:pt idx="1173">
                  <c:v>5.5560705736999996</c:v>
                </c:pt>
                <c:pt idx="1174">
                  <c:v>5.5272453048000001</c:v>
                </c:pt>
                <c:pt idx="1175">
                  <c:v>5.4695947671000003</c:v>
                </c:pt>
                <c:pt idx="1176">
                  <c:v>5.4479758155000004</c:v>
                </c:pt>
                <c:pt idx="1177">
                  <c:v>5.4191505466000001</c:v>
                </c:pt>
                <c:pt idx="1178">
                  <c:v>5.4119442294000004</c:v>
                </c:pt>
                <c:pt idx="1179">
                  <c:v>5.4119442294000004</c:v>
                </c:pt>
                <c:pt idx="1180">
                  <c:v>5.4047379121999999</c:v>
                </c:pt>
                <c:pt idx="1181">
                  <c:v>5.4119442294000004</c:v>
                </c:pt>
                <c:pt idx="1182">
                  <c:v>5.4335631810000002</c:v>
                </c:pt>
                <c:pt idx="1183">
                  <c:v>5.1597231268000003</c:v>
                </c:pt>
                <c:pt idx="1184">
                  <c:v>5.1525168095999998</c:v>
                </c:pt>
                <c:pt idx="1185">
                  <c:v>4.9795651964000003</c:v>
                </c:pt>
                <c:pt idx="1186">
                  <c:v>5.0372157341000001</c:v>
                </c:pt>
                <c:pt idx="1187">
                  <c:v>5.0588346858</c:v>
                </c:pt>
                <c:pt idx="1188">
                  <c:v>5.166929444</c:v>
                </c:pt>
                <c:pt idx="1189">
                  <c:v>4.7867953648999997</c:v>
                </c:pt>
                <c:pt idx="1190">
                  <c:v>4.7800055843000004</c:v>
                </c:pt>
                <c:pt idx="1191">
                  <c:v>4.7935851455999998</c:v>
                </c:pt>
                <c:pt idx="1192">
                  <c:v>4.7053179969999999</c:v>
                </c:pt>
                <c:pt idx="1193">
                  <c:v>4.6849486550000004</c:v>
                </c:pt>
                <c:pt idx="1194">
                  <c:v>4.7392669002999996</c:v>
                </c:pt>
                <c:pt idx="1195">
                  <c:v>4.6985282163999997</c:v>
                </c:pt>
                <c:pt idx="1196">
                  <c:v>4.6917384356999996</c:v>
                </c:pt>
                <c:pt idx="1197">
                  <c:v>4.6917384356999996</c:v>
                </c:pt>
                <c:pt idx="1198">
                  <c:v>4.6917384356999996</c:v>
                </c:pt>
                <c:pt idx="1199">
                  <c:v>4.7528464615999999</c:v>
                </c:pt>
                <c:pt idx="1200">
                  <c:v>4.8750625134999996</c:v>
                </c:pt>
                <c:pt idx="1201">
                  <c:v>4.9225909780999997</c:v>
                </c:pt>
                <c:pt idx="1202">
                  <c:v>4.9565398814000003</c:v>
                </c:pt>
                <c:pt idx="1203">
                  <c:v>4.9022216361000002</c:v>
                </c:pt>
                <c:pt idx="1204">
                  <c:v>4.9429603201000001</c:v>
                </c:pt>
                <c:pt idx="1205">
                  <c:v>4.9022216361000002</c:v>
                </c:pt>
                <c:pt idx="1206">
                  <c:v>4.7800055843000004</c:v>
                </c:pt>
                <c:pt idx="1207">
                  <c:v>4.7460566809999998</c:v>
                </c:pt>
                <c:pt idx="1208">
                  <c:v>4.7392669002999996</c:v>
                </c:pt>
                <c:pt idx="1209">
                  <c:v>4.6713690937000001</c:v>
                </c:pt>
                <c:pt idx="1210">
                  <c:v>4.5763121645</c:v>
                </c:pt>
                <c:pt idx="1211">
                  <c:v>4.8411136101999999</c:v>
                </c:pt>
                <c:pt idx="1212">
                  <c:v>4.4540273530999999</c:v>
                </c:pt>
                <c:pt idx="1213">
                  <c:v>4.4540273530999999</c:v>
                </c:pt>
                <c:pt idx="1214">
                  <c:v>4.4607251386</c:v>
                </c:pt>
                <c:pt idx="1215">
                  <c:v>4.4808184951000003</c:v>
                </c:pt>
                <c:pt idx="1216">
                  <c:v>4.4607251386</c:v>
                </c:pt>
                <c:pt idx="1217">
                  <c:v>4.4674229241000001</c:v>
                </c:pt>
                <c:pt idx="1218">
                  <c:v>4.5678897064999999</c:v>
                </c:pt>
                <c:pt idx="1219">
                  <c:v>4.7286365583999999</c:v>
                </c:pt>
                <c:pt idx="1220">
                  <c:v>4.7554277003000003</c:v>
                </c:pt>
                <c:pt idx="1221">
                  <c:v>4.7621254858000004</c:v>
                </c:pt>
                <c:pt idx="1222">
                  <c:v>4.7085432019000004</c:v>
                </c:pt>
                <c:pt idx="1223">
                  <c:v>4.6884498454000001</c:v>
                </c:pt>
                <c:pt idx="1224">
                  <c:v>4.4540273530999999</c:v>
                </c:pt>
                <c:pt idx="1225">
                  <c:v>4.5410985645000004</c:v>
                </c:pt>
                <c:pt idx="1226">
                  <c:v>4.5277029936000002</c:v>
                </c:pt>
                <c:pt idx="1227">
                  <c:v>4.5009118515999997</c:v>
                </c:pt>
                <c:pt idx="1228">
                  <c:v>4.4942140660999996</c:v>
                </c:pt>
                <c:pt idx="1229">
                  <c:v>4.4473295675999998</c:v>
                </c:pt>
                <c:pt idx="1230">
                  <c:v>4.4808184951000003</c:v>
                </c:pt>
                <c:pt idx="1231">
                  <c:v>4.4942140660999996</c:v>
                </c:pt>
                <c:pt idx="1232">
                  <c:v>4.4473295675999998</c:v>
                </c:pt>
                <c:pt idx="1233">
                  <c:v>4.5210052081000001</c:v>
                </c:pt>
                <c:pt idx="1234">
                  <c:v>4.6214719904999999</c:v>
                </c:pt>
                <c:pt idx="1235">
                  <c:v>4.8358011262999998</c:v>
                </c:pt>
                <c:pt idx="1236">
                  <c:v>4.8960811956999999</c:v>
                </c:pt>
                <c:pt idx="1237">
                  <c:v>4.9228723377000003</c:v>
                </c:pt>
                <c:pt idx="1238">
                  <c:v>4.9429656941999998</c:v>
                </c:pt>
                <c:pt idx="1239">
                  <c:v>4.9965479780999997</c:v>
                </c:pt>
                <c:pt idx="1240">
                  <c:v>5.0032457635999998</c:v>
                </c:pt>
                <c:pt idx="1241">
                  <c:v>5.0166413346000001</c:v>
                </c:pt>
                <c:pt idx="1242">
                  <c:v>5.0166413346000001</c:v>
                </c:pt>
                <c:pt idx="1243">
                  <c:v>4.9429656941999998</c:v>
                </c:pt>
                <c:pt idx="1244">
                  <c:v>4.9630590506000001</c:v>
                </c:pt>
                <c:pt idx="1245">
                  <c:v>4.9563612651</c:v>
                </c:pt>
                <c:pt idx="1246">
                  <c:v>4.9362679086999997</c:v>
                </c:pt>
                <c:pt idx="1247">
                  <c:v>4.9764546216000003</c:v>
                </c:pt>
                <c:pt idx="1248">
                  <c:v>4.9563612651</c:v>
                </c:pt>
                <c:pt idx="1249">
                  <c:v>4.9496634795999999</c:v>
                </c:pt>
                <c:pt idx="1250">
                  <c:v>4.9429656941999998</c:v>
                </c:pt>
                <c:pt idx="1251">
                  <c:v>4.9563612651</c:v>
                </c:pt>
                <c:pt idx="1252">
                  <c:v>4.9496634795999999</c:v>
                </c:pt>
                <c:pt idx="1253">
                  <c:v>4.8759878391999996</c:v>
                </c:pt>
                <c:pt idx="1254">
                  <c:v>4.8157077698000004</c:v>
                </c:pt>
                <c:pt idx="1255">
                  <c:v>4.8224055552999996</c:v>
                </c:pt>
                <c:pt idx="1256">
                  <c:v>4.7286365583999999</c:v>
                </c:pt>
                <c:pt idx="1257">
                  <c:v>4.6750542743999999</c:v>
                </c:pt>
                <c:pt idx="1258">
                  <c:v>4.6817520599</c:v>
                </c:pt>
                <c:pt idx="1259">
                  <c:v>4.6750542743999999</c:v>
                </c:pt>
                <c:pt idx="1260">
                  <c:v>4.6817520599</c:v>
                </c:pt>
                <c:pt idx="1261">
                  <c:v>4.6348675615000001</c:v>
                </c:pt>
                <c:pt idx="1262">
                  <c:v>4.6616587033999997</c:v>
                </c:pt>
                <c:pt idx="1263">
                  <c:v>4.6884498454000001</c:v>
                </c:pt>
                <c:pt idx="1264">
                  <c:v>4.6884498454000001</c:v>
                </c:pt>
                <c:pt idx="1265">
                  <c:v>4.6683564888999998</c:v>
                </c:pt>
                <c:pt idx="1266">
                  <c:v>4.6884498454000001</c:v>
                </c:pt>
                <c:pt idx="1267">
                  <c:v>4.6884498454000001</c:v>
                </c:pt>
                <c:pt idx="1268">
                  <c:v>4.6884498454000001</c:v>
                </c:pt>
                <c:pt idx="1269">
                  <c:v>4.7018454164000003</c:v>
                </c:pt>
                <c:pt idx="1270">
                  <c:v>4.6616587033999997</c:v>
                </c:pt>
                <c:pt idx="1271">
                  <c:v>3.9565980691</c:v>
                </c:pt>
                <c:pt idx="1272">
                  <c:v>3.9452611118999998</c:v>
                </c:pt>
                <c:pt idx="1273">
                  <c:v>3.9225871975</c:v>
                </c:pt>
                <c:pt idx="1274">
                  <c:v>3.9282556761</c:v>
                </c:pt>
                <c:pt idx="1275">
                  <c:v>3.8318915397</c:v>
                </c:pt>
                <c:pt idx="1276">
                  <c:v>3.9395926333000002</c:v>
                </c:pt>
                <c:pt idx="1277">
                  <c:v>3.9169187188999999</c:v>
                </c:pt>
                <c:pt idx="1278">
                  <c:v>3.9169187188999999</c:v>
                </c:pt>
                <c:pt idx="1279">
                  <c:v>3.9225871975</c:v>
                </c:pt>
                <c:pt idx="1280">
                  <c:v>3.9679350264000002</c:v>
                </c:pt>
                <c:pt idx="1281">
                  <c:v>3.9679350264000002</c:v>
                </c:pt>
                <c:pt idx="1282">
                  <c:v>3.9849404622</c:v>
                </c:pt>
                <c:pt idx="1283">
                  <c:v>4.0132828551999999</c:v>
                </c:pt>
                <c:pt idx="1284">
                  <c:v>4.0359567697000003</c:v>
                </c:pt>
                <c:pt idx="1285">
                  <c:v>4.0132828551999999</c:v>
                </c:pt>
                <c:pt idx="1286">
                  <c:v>4.0076143766000003</c:v>
                </c:pt>
                <c:pt idx="1287">
                  <c:v>3.9736035049999998</c:v>
                </c:pt>
                <c:pt idx="1288">
                  <c:v>3.9565980691</c:v>
                </c:pt>
                <c:pt idx="1289">
                  <c:v>3.9452611118999998</c:v>
                </c:pt>
                <c:pt idx="1290">
                  <c:v>3.9225871975</c:v>
                </c:pt>
                <c:pt idx="1291">
                  <c:v>3.9282556761</c:v>
                </c:pt>
                <c:pt idx="1292">
                  <c:v>3.9112502402999998</c:v>
                </c:pt>
                <c:pt idx="1293">
                  <c:v>3.9169187188999999</c:v>
                </c:pt>
                <c:pt idx="1294">
                  <c:v>3.9395926333000002</c:v>
                </c:pt>
                <c:pt idx="1295">
                  <c:v>3.9169187188999999</c:v>
                </c:pt>
                <c:pt idx="1296">
                  <c:v>3.9282556761</c:v>
                </c:pt>
                <c:pt idx="1297">
                  <c:v>3.9282556761</c:v>
                </c:pt>
                <c:pt idx="1298">
                  <c:v>3.9339241547000001</c:v>
                </c:pt>
                <c:pt idx="1299">
                  <c:v>3.9906089408000001</c:v>
                </c:pt>
                <c:pt idx="1300">
                  <c:v>4.0302882910999998</c:v>
                </c:pt>
                <c:pt idx="1301">
                  <c:v>4.3193807001</c:v>
                </c:pt>
                <c:pt idx="1302">
                  <c:v>4.2570274354000004</c:v>
                </c:pt>
                <c:pt idx="1303">
                  <c:v>4.2910383071</c:v>
                </c:pt>
                <c:pt idx="1304">
                  <c:v>4.2740328712000002</c:v>
                </c:pt>
                <c:pt idx="1305">
                  <c:v>4.2400219995999997</c:v>
                </c:pt>
                <c:pt idx="1306">
                  <c:v>4.262695914</c:v>
                </c:pt>
                <c:pt idx="1307">
                  <c:v>4.2456904782000002</c:v>
                </c:pt>
                <c:pt idx="1308">
                  <c:v>4.2400219995999997</c:v>
                </c:pt>
                <c:pt idx="1309">
                  <c:v>4.2343535210000001</c:v>
                </c:pt>
                <c:pt idx="1310">
                  <c:v>4.2456904782000002</c:v>
                </c:pt>
                <c:pt idx="1311">
                  <c:v>4.3363861358999998</c:v>
                </c:pt>
                <c:pt idx="1312">
                  <c:v>4.3703970076000003</c:v>
                </c:pt>
                <c:pt idx="1313">
                  <c:v>4.4100763579000004</c:v>
                </c:pt>
                <c:pt idx="1314">
                  <c:v>4.3647285289999997</c:v>
                </c:pt>
                <c:pt idx="1315">
                  <c:v>4.3193807001</c:v>
                </c:pt>
                <c:pt idx="1316">
                  <c:v>4.2740328712000002</c:v>
                </c:pt>
                <c:pt idx="1317">
                  <c:v>4.2343535210000001</c:v>
                </c:pt>
                <c:pt idx="1318">
                  <c:v>4.2456904782000002</c:v>
                </c:pt>
                <c:pt idx="1319">
                  <c:v>4.2400219995999997</c:v>
                </c:pt>
                <c:pt idx="1320">
                  <c:v>4.1946741706999999</c:v>
                </c:pt>
                <c:pt idx="1321">
                  <c:v>4.2003426492999996</c:v>
                </c:pt>
                <c:pt idx="1322">
                  <c:v>4.1379893846</c:v>
                </c:pt>
                <c:pt idx="1323">
                  <c:v>4.1946741706999999</c:v>
                </c:pt>
                <c:pt idx="1324">
                  <c:v>4.1436578631999996</c:v>
                </c:pt>
                <c:pt idx="1325">
                  <c:v>4.1379893846</c:v>
                </c:pt>
                <c:pt idx="1326">
                  <c:v>4.1266524273999998</c:v>
                </c:pt>
                <c:pt idx="1327">
                  <c:v>4.1663317777</c:v>
                </c:pt>
                <c:pt idx="1328">
                  <c:v>4.2116796064999997</c:v>
                </c:pt>
                <c:pt idx="1329">
                  <c:v>4.2513589567999999</c:v>
                </c:pt>
                <c:pt idx="1330">
                  <c:v>4.2853698285000004</c:v>
                </c:pt>
                <c:pt idx="1331">
                  <c:v>4.2456904782000002</c:v>
                </c:pt>
                <c:pt idx="1332">
                  <c:v>4.2456904782000002</c:v>
                </c:pt>
                <c:pt idx="1333">
                  <c:v>4.2230165637999999</c:v>
                </c:pt>
                <c:pt idx="1334">
                  <c:v>3.6610179232000002</c:v>
                </c:pt>
                <c:pt idx="1335">
                  <c:v>3.6659519097</c:v>
                </c:pt>
                <c:pt idx="1336">
                  <c:v>3.6708858961000002</c:v>
                </c:pt>
                <c:pt idx="1337">
                  <c:v>3.6560839368</c:v>
                </c:pt>
                <c:pt idx="1338">
                  <c:v>3.6807538689000001</c:v>
                </c:pt>
                <c:pt idx="1339">
                  <c:v>3.6560839368</c:v>
                </c:pt>
                <c:pt idx="1340">
                  <c:v>3.6807538689000001</c:v>
                </c:pt>
                <c:pt idx="1341">
                  <c:v>3.6610179232000002</c:v>
                </c:pt>
                <c:pt idx="1342">
                  <c:v>3.6314140046999999</c:v>
                </c:pt>
                <c:pt idx="1343">
                  <c:v>3.6412819775999998</c:v>
                </c:pt>
                <c:pt idx="1344">
                  <c:v>3.646215964</c:v>
                </c:pt>
                <c:pt idx="1345">
                  <c:v>3.6215460318999999</c:v>
                </c:pt>
                <c:pt idx="1346">
                  <c:v>3.5919421134</c:v>
                </c:pt>
                <c:pt idx="1347">
                  <c:v>3.5722061677000001</c:v>
                </c:pt>
                <c:pt idx="1348">
                  <c:v>3.5870081268999998</c:v>
                </c:pt>
                <c:pt idx="1349">
                  <c:v>3.5870081268999998</c:v>
                </c:pt>
                <c:pt idx="1350">
                  <c:v>3.5983562956999999</c:v>
                </c:pt>
                <c:pt idx="1351">
                  <c:v>3.8613377719000002</c:v>
                </c:pt>
                <c:pt idx="1352">
                  <c:v>3.8164384954999999</c:v>
                </c:pt>
                <c:pt idx="1353">
                  <c:v>3.8485094071999999</c:v>
                </c:pt>
                <c:pt idx="1354">
                  <c:v>3.8549235894999998</c:v>
                </c:pt>
                <c:pt idx="1355">
                  <c:v>3.8677519542000001</c:v>
                </c:pt>
                <c:pt idx="1356">
                  <c:v>3.9062370483</c:v>
                </c:pt>
                <c:pt idx="1357">
                  <c:v>3.9318937777</c:v>
                </c:pt>
                <c:pt idx="1358">
                  <c:v>3.9511363247000002</c:v>
                </c:pt>
                <c:pt idx="1359">
                  <c:v>3.9832072364000002</c:v>
                </c:pt>
                <c:pt idx="1360">
                  <c:v>4.0922483363</c:v>
                </c:pt>
                <c:pt idx="1361">
                  <c:v>4.2333603478999997</c:v>
                </c:pt>
                <c:pt idx="1362">
                  <c:v>4.3937149064999996</c:v>
                </c:pt>
                <c:pt idx="1363">
                  <c:v>4.5219985533999996</c:v>
                </c:pt>
                <c:pt idx="1364">
                  <c:v>4.4642709122999999</c:v>
                </c:pt>
                <c:pt idx="1365">
                  <c:v>4.4450283652999998</c:v>
                </c:pt>
                <c:pt idx="1366">
                  <c:v>4.4514425476000001</c:v>
                </c:pt>
                <c:pt idx="1367">
                  <c:v>4.4322000006</c:v>
                </c:pt>
                <c:pt idx="1368">
                  <c:v>4.4386141829000003</c:v>
                </c:pt>
                <c:pt idx="1369">
                  <c:v>4.4578567299999996</c:v>
                </c:pt>
                <c:pt idx="1370">
                  <c:v>4.4899276416999996</c:v>
                </c:pt>
                <c:pt idx="1371">
                  <c:v>4.5348269181000003</c:v>
                </c:pt>
                <c:pt idx="1372">
                  <c:v>4.5604836474999999</c:v>
                </c:pt>
                <c:pt idx="1373">
                  <c:v>4.6310396533000002</c:v>
                </c:pt>
                <c:pt idx="1374">
                  <c:v>4.4706850947000003</c:v>
                </c:pt>
                <c:pt idx="1375">
                  <c:v>4.4770992769999998</c:v>
                </c:pt>
                <c:pt idx="1376">
                  <c:v>4.5155843711000001</c:v>
                </c:pt>
                <c:pt idx="1377">
                  <c:v>4.5604836474999999</c:v>
                </c:pt>
                <c:pt idx="1378">
                  <c:v>4.5861403769000004</c:v>
                </c:pt>
                <c:pt idx="1379">
                  <c:v>4.9068494942000003</c:v>
                </c:pt>
                <c:pt idx="1380">
                  <c:v>4.9709913176000002</c:v>
                </c:pt>
                <c:pt idx="1381">
                  <c:v>5.0030622293000002</c:v>
                </c:pt>
                <c:pt idx="1382">
                  <c:v>4.9709913176000002</c:v>
                </c:pt>
                <c:pt idx="1383">
                  <c:v>4.9709913176000002</c:v>
                </c:pt>
                <c:pt idx="1384">
                  <c:v>5.015890594</c:v>
                </c:pt>
                <c:pt idx="1385">
                  <c:v>4.9838196823000001</c:v>
                </c:pt>
                <c:pt idx="1386">
                  <c:v>4.9325062234999999</c:v>
                </c:pt>
                <c:pt idx="1387">
                  <c:v>4.8747785824000003</c:v>
                </c:pt>
                <c:pt idx="1388">
                  <c:v>4.8106367590000003</c:v>
                </c:pt>
                <c:pt idx="1389">
                  <c:v>4.7080098414</c:v>
                </c:pt>
                <c:pt idx="1390">
                  <c:v>4.5989687416000002</c:v>
                </c:pt>
                <c:pt idx="1391">
                  <c:v>4.5989687416000002</c:v>
                </c:pt>
                <c:pt idx="1392">
                  <c:v>4.5604836474999999</c:v>
                </c:pt>
                <c:pt idx="1393">
                  <c:v>4.5219985533999996</c:v>
                </c:pt>
                <c:pt idx="1394">
                  <c:v>4.4578567299999996</c:v>
                </c:pt>
                <c:pt idx="1395">
                  <c:v>4.3552298125000002</c:v>
                </c:pt>
                <c:pt idx="1396">
                  <c:v>4.4001290889</c:v>
                </c:pt>
                <c:pt idx="1397">
                  <c:v>4.5219985533999996</c:v>
                </c:pt>
                <c:pt idx="1398">
                  <c:v>4.5476552828000001</c:v>
                </c:pt>
                <c:pt idx="1399">
                  <c:v>4.4578567299999996</c:v>
                </c:pt>
                <c:pt idx="1400">
                  <c:v>4.5091701886999997</c:v>
                </c:pt>
                <c:pt idx="1401">
                  <c:v>4.4386141829000003</c:v>
                </c:pt>
                <c:pt idx="1402">
                  <c:v>4.4065432712000003</c:v>
                </c:pt>
                <c:pt idx="1403">
                  <c:v>4.4129574535999998</c:v>
                </c:pt>
                <c:pt idx="1404">
                  <c:v>4.4322000006</c:v>
                </c:pt>
                <c:pt idx="1405">
                  <c:v>4.5155843711000001</c:v>
                </c:pt>
                <c:pt idx="1406">
                  <c:v>4.5861403769000004</c:v>
                </c:pt>
                <c:pt idx="1407">
                  <c:v>4.5797261945000001</c:v>
                </c:pt>
                <c:pt idx="1408">
                  <c:v>4.5348269181000003</c:v>
                </c:pt>
                <c:pt idx="1409">
                  <c:v>4.4770992769999998</c:v>
                </c:pt>
                <c:pt idx="1410">
                  <c:v>4.5155843711000001</c:v>
                </c:pt>
                <c:pt idx="1411">
                  <c:v>4.6053829238999997</c:v>
                </c:pt>
                <c:pt idx="1412">
                  <c:v>4.5989687416000002</c:v>
                </c:pt>
                <c:pt idx="1413">
                  <c:v>4.5989687416000002</c:v>
                </c:pt>
                <c:pt idx="1414">
                  <c:v>4.4835134594000001</c:v>
                </c:pt>
                <c:pt idx="1415">
                  <c:v>4.4450283652999998</c:v>
                </c:pt>
                <c:pt idx="1416">
                  <c:v>4.2735250323000002</c:v>
                </c:pt>
                <c:pt idx="1417">
                  <c:v>4.3301696940000003</c:v>
                </c:pt>
                <c:pt idx="1418">
                  <c:v>4.3364635453</c:v>
                </c:pt>
                <c:pt idx="1419">
                  <c:v>4.3616389504999997</c:v>
                </c:pt>
                <c:pt idx="1420">
                  <c:v>4.4434590174000004</c:v>
                </c:pt>
                <c:pt idx="1421">
                  <c:v>4.5001036791000004</c:v>
                </c:pt>
                <c:pt idx="1422">
                  <c:v>4.5126913816999998</c:v>
                </c:pt>
                <c:pt idx="1423">
                  <c:v>4.4875159765000001</c:v>
                </c:pt>
                <c:pt idx="1424">
                  <c:v>4.4938098277999998</c:v>
                </c:pt>
                <c:pt idx="1425">
                  <c:v>4.5504544894999999</c:v>
                </c:pt>
                <c:pt idx="1426">
                  <c:v>4.5945114485999996</c:v>
                </c:pt>
                <c:pt idx="1427">
                  <c:v>4.8462655006000004</c:v>
                </c:pt>
                <c:pt idx="1428">
                  <c:v>4.8525593519000001</c:v>
                </c:pt>
                <c:pt idx="1429">
                  <c:v>4.8085023928000004</c:v>
                </c:pt>
                <c:pt idx="1430">
                  <c:v>4.8273839467000004</c:v>
                </c:pt>
                <c:pt idx="1431">
                  <c:v>4.8462655006000004</c:v>
                </c:pt>
                <c:pt idx="1432">
                  <c:v>4.8336777980000001</c:v>
                </c:pt>
                <c:pt idx="1433">
                  <c:v>4.8462655006000004</c:v>
                </c:pt>
                <c:pt idx="1434">
                  <c:v>4.8210900953999998</c:v>
                </c:pt>
                <c:pt idx="1435">
                  <c:v>4.1319246349999998</c:v>
                </c:pt>
                <c:pt idx="1436">
                  <c:v>4.0221252391000002</c:v>
                </c:pt>
                <c:pt idx="1437">
                  <c:v>3.9123258432000001</c:v>
                </c:pt>
                <c:pt idx="1438">
                  <c:v>3.9238836743999999</c:v>
                </c:pt>
                <c:pt idx="1439">
                  <c:v>3.7562951228000001</c:v>
                </c:pt>
                <c:pt idx="1440">
                  <c:v>3.5771487400000002</c:v>
                </c:pt>
                <c:pt idx="1441">
                  <c:v>3.6522746424000001</c:v>
                </c:pt>
                <c:pt idx="1442">
                  <c:v>3.6349378956999998</c:v>
                </c:pt>
                <c:pt idx="1443">
                  <c:v>3.6233800646000001</c:v>
                </c:pt>
                <c:pt idx="1444">
                  <c:v>3.6118222333999999</c:v>
                </c:pt>
                <c:pt idx="1445">
                  <c:v>3.6291589801000002</c:v>
                </c:pt>
                <c:pt idx="1446">
                  <c:v>3.5887065710999999</c:v>
                </c:pt>
                <c:pt idx="1447">
                  <c:v>3.5771487400000002</c:v>
                </c:pt>
                <c:pt idx="1448">
                  <c:v>3.6118222333999999</c:v>
                </c:pt>
                <c:pt idx="1449">
                  <c:v>3.6811692203000002</c:v>
                </c:pt>
                <c:pt idx="1450">
                  <c:v>3.7505162072</c:v>
                </c:pt>
                <c:pt idx="1451">
                  <c:v>3.6927270514999999</c:v>
                </c:pt>
                <c:pt idx="1452">
                  <c:v>3.6753903047000001</c:v>
                </c:pt>
                <c:pt idx="1453">
                  <c:v>3.7216216293</c:v>
                </c:pt>
                <c:pt idx="1454">
                  <c:v>3.7794107851000001</c:v>
                </c:pt>
                <c:pt idx="1455">
                  <c:v>3.8025264474</c:v>
                </c:pt>
                <c:pt idx="1456">
                  <c:v>3.7909686161999998</c:v>
                </c:pt>
                <c:pt idx="1457">
                  <c:v>3.7851897006000002</c:v>
                </c:pt>
                <c:pt idx="1458">
                  <c:v>3.8660945187000002</c:v>
                </c:pt>
                <c:pt idx="1459">
                  <c:v>3.8429788563999998</c:v>
                </c:pt>
                <c:pt idx="1460">
                  <c:v>3.7851897006000002</c:v>
                </c:pt>
                <c:pt idx="1461">
                  <c:v>3.7274005449000001</c:v>
                </c:pt>
                <c:pt idx="1462">
                  <c:v>3.6580535580000002</c:v>
                </c:pt>
                <c:pt idx="1463">
                  <c:v>3.6291589801000002</c:v>
                </c:pt>
                <c:pt idx="1464">
                  <c:v>3.6002644023000001</c:v>
                </c:pt>
                <c:pt idx="1465">
                  <c:v>3.5598119932999999</c:v>
                </c:pt>
                <c:pt idx="1466">
                  <c:v>3.4904650064</c:v>
                </c:pt>
                <c:pt idx="1467">
                  <c:v>3.5366963309999999</c:v>
                </c:pt>
                <c:pt idx="1468">
                  <c:v>3.5309174153999998</c:v>
                </c:pt>
                <c:pt idx="1469">
                  <c:v>3.6060433179000002</c:v>
                </c:pt>
                <c:pt idx="1470">
                  <c:v>3.5829276555999998</c:v>
                </c:pt>
                <c:pt idx="1471">
                  <c:v>3.5887065710999999</c:v>
                </c:pt>
                <c:pt idx="1472">
                  <c:v>3.6580535580000002</c:v>
                </c:pt>
                <c:pt idx="1473">
                  <c:v>3.7331794605000002</c:v>
                </c:pt>
                <c:pt idx="1474">
                  <c:v>3.7331794605000002</c:v>
                </c:pt>
                <c:pt idx="1475">
                  <c:v>3.7274005449000001</c:v>
                </c:pt>
                <c:pt idx="1476">
                  <c:v>3.698505967</c:v>
                </c:pt>
                <c:pt idx="1477">
                  <c:v>3.7042848826000001</c:v>
                </c:pt>
                <c:pt idx="1478">
                  <c:v>3.6580535580000002</c:v>
                </c:pt>
                <c:pt idx="1479">
                  <c:v>3.6233800646000001</c:v>
                </c:pt>
                <c:pt idx="1480">
                  <c:v>3.5887065710999999</c:v>
                </c:pt>
                <c:pt idx="1481">
                  <c:v>3.5598119932999999</c:v>
                </c:pt>
                <c:pt idx="1482">
                  <c:v>3.5829276555999998</c:v>
                </c:pt>
                <c:pt idx="1483">
                  <c:v>3.5887065711327364</c:v>
                </c:pt>
                <c:pt idx="1484">
                  <c:v>3.5887065710999999</c:v>
                </c:pt>
                <c:pt idx="1485">
                  <c:v>3.617601149</c:v>
                </c:pt>
                <c:pt idx="1486">
                  <c:v>3.7100637982000002</c:v>
                </c:pt>
                <c:pt idx="1487">
                  <c:v>3.7042848826000001</c:v>
                </c:pt>
                <c:pt idx="1488">
                  <c:v>3.6002644023000001</c:v>
                </c:pt>
                <c:pt idx="1489">
                  <c:v>3.5424752465</c:v>
                </c:pt>
                <c:pt idx="1490">
                  <c:v>3.5771487400000002</c:v>
                </c:pt>
                <c:pt idx="1491">
                  <c:v>3.4731282597000002</c:v>
                </c:pt>
                <c:pt idx="1492">
                  <c:v>3.3932396236</c:v>
                </c:pt>
                <c:pt idx="1493">
                  <c:v>3.3409465472000002</c:v>
                </c:pt>
                <c:pt idx="1494">
                  <c:v>3.2828431290000002</c:v>
                </c:pt>
                <c:pt idx="1495">
                  <c:v>3.2131190271999999</c:v>
                </c:pt>
                <c:pt idx="1496">
                  <c:v>3.3060844963</c:v>
                </c:pt>
                <c:pt idx="1497">
                  <c:v>3.3699982564000002</c:v>
                </c:pt>
                <c:pt idx="1498">
                  <c:v>3.4687740673</c:v>
                </c:pt>
                <c:pt idx="1499">
                  <c:v>3.4455326999999998</c:v>
                </c:pt>
                <c:pt idx="1500">
                  <c:v>3.6140326128</c:v>
                </c:pt>
                <c:pt idx="1501">
                  <c:v>3.5617395365000002</c:v>
                </c:pt>
                <c:pt idx="1502">
                  <c:v>3.5036361182000002</c:v>
                </c:pt>
                <c:pt idx="1503">
                  <c:v>3.5443085110000001</c:v>
                </c:pt>
                <c:pt idx="1504">
                  <c:v>3.5326878273500495</c:v>
                </c:pt>
                <c:pt idx="1505">
                  <c:v>3.5501188527999998</c:v>
                </c:pt>
                <c:pt idx="1506">
                  <c:v>3.6198429547000002</c:v>
                </c:pt>
                <c:pt idx="1507">
                  <c:v>3.7244291074999998</c:v>
                </c:pt>
                <c:pt idx="1508">
                  <c:v>3.7883428674999999</c:v>
                </c:pt>
                <c:pt idx="1509">
                  <c:v>3.7883428674999999</c:v>
                </c:pt>
                <c:pt idx="1510">
                  <c:v>3.7999635510999998</c:v>
                </c:pt>
                <c:pt idx="1511">
                  <c:v>3.9045497038999999</c:v>
                </c:pt>
                <c:pt idx="1512">
                  <c:v>3.8522566275000001</c:v>
                </c:pt>
                <c:pt idx="1513">
                  <c:v>3.9394117548000001</c:v>
                </c:pt>
                <c:pt idx="1514">
                  <c:v>3.8232049184000001</c:v>
                </c:pt>
                <c:pt idx="1515">
                  <c:v>3.7825325257000002</c:v>
                </c:pt>
                <c:pt idx="1516">
                  <c:v>3.7941532093000001</c:v>
                </c:pt>
                <c:pt idx="1517">
                  <c:v>3.9103600457000001</c:v>
                </c:pt>
                <c:pt idx="1518">
                  <c:v>4.0207565402999998</c:v>
                </c:pt>
                <c:pt idx="1519">
                  <c:v>3.9510324385</c:v>
                </c:pt>
                <c:pt idx="1520">
                  <c:v>4.0730496166999997</c:v>
                </c:pt>
                <c:pt idx="1521">
                  <c:v>3.9626531220999999</c:v>
                </c:pt>
                <c:pt idx="1522">
                  <c:v>3.9626531220999999</c:v>
                </c:pt>
                <c:pt idx="1523">
                  <c:v>4.0672392749000004</c:v>
                </c:pt>
                <c:pt idx="1524">
                  <c:v>4.0614289331000002</c:v>
                </c:pt>
                <c:pt idx="1525">
                  <c:v>4.0498082493999998</c:v>
                </c:pt>
                <c:pt idx="1526">
                  <c:v>3.9452220966999998</c:v>
                </c:pt>
                <c:pt idx="1527">
                  <c:v>3.9452220966999998</c:v>
                </c:pt>
                <c:pt idx="1528">
                  <c:v>4.0265668822</c:v>
                </c:pt>
                <c:pt idx="1529">
                  <c:v>4.0149461984999997</c:v>
                </c:pt>
                <c:pt idx="1530">
                  <c:v>4.1427737186</c:v>
                </c:pt>
                <c:pt idx="1531">
                  <c:v>4.2357391877000001</c:v>
                </c:pt>
                <c:pt idx="1532">
                  <c:v>4.3577563660000003</c:v>
                </c:pt>
                <c:pt idx="1533">
                  <c:v>4.4332908096999999</c:v>
                </c:pt>
                <c:pt idx="1534">
                  <c:v>4.3461356822999999</c:v>
                </c:pt>
                <c:pt idx="1535">
                  <c:v>4.584359697</c:v>
                </c:pt>
                <c:pt idx="1536">
                  <c:v>4.6308424315999996</c:v>
                </c:pt>
                <c:pt idx="1537">
                  <c:v>4.6657044824999998</c:v>
                </c:pt>
                <c:pt idx="1538">
                  <c:v>4.8342043952999996</c:v>
                </c:pt>
                <c:pt idx="1539">
                  <c:v>4.9213595226000004</c:v>
                </c:pt>
                <c:pt idx="1540">
                  <c:v>4.7412389262000003</c:v>
                </c:pt>
                <c:pt idx="1541">
                  <c:v>4.6250320898000004</c:v>
                </c:pt>
                <c:pt idx="1542">
                  <c:v>4.4913942278999999</c:v>
                </c:pt>
                <c:pt idx="1543">
                  <c:v>4.4216701260000004</c:v>
                </c:pt>
                <c:pt idx="1544">
                  <c:v>4.5320666206000002</c:v>
                </c:pt>
                <c:pt idx="1545">
                  <c:v>4.6540837989000003</c:v>
                </c:pt>
                <c:pt idx="1546">
                  <c:v>4.7528596097999998</c:v>
                </c:pt>
                <c:pt idx="1547">
                  <c:v>4.7412389262000003</c:v>
                </c:pt>
                <c:pt idx="1548">
                  <c:v>4.7935320026000001</c:v>
                </c:pt>
                <c:pt idx="1549">
                  <c:v>4.9155491808000003</c:v>
                </c:pt>
                <c:pt idx="1550">
                  <c:v>4.9387905481000001</c:v>
                </c:pt>
                <c:pt idx="1551">
                  <c:v>4.8748767880999999</c:v>
                </c:pt>
                <c:pt idx="1552">
                  <c:v>4.8864974717000003</c:v>
                </c:pt>
                <c:pt idx="1553">
                  <c:v>4.9446008899000002</c:v>
                </c:pt>
                <c:pt idx="1554">
                  <c:v>4.8458250789999999</c:v>
                </c:pt>
                <c:pt idx="1555">
                  <c:v>4.2481740024999999</c:v>
                </c:pt>
                <c:pt idx="1556">
                  <c:v>4.1553740850000001</c:v>
                </c:pt>
                <c:pt idx="1557">
                  <c:v>4.2636406553999997</c:v>
                </c:pt>
                <c:pt idx="1558">
                  <c:v>4.3151961651999997</c:v>
                </c:pt>
                <c:pt idx="1559">
                  <c:v>4.3151961651999997</c:v>
                </c:pt>
                <c:pt idx="1560">
                  <c:v>4.2997295121999999</c:v>
                </c:pt>
                <c:pt idx="1561">
                  <c:v>4.2017740437000004</c:v>
                </c:pt>
                <c:pt idx="1562">
                  <c:v>4.1914629418000002</c:v>
                </c:pt>
                <c:pt idx="1563">
                  <c:v>4.1502185340000004</c:v>
                </c:pt>
                <c:pt idx="1564">
                  <c:v>4.1089741261999997</c:v>
                </c:pt>
                <c:pt idx="1565">
                  <c:v>4.1141296772000002</c:v>
                </c:pt>
                <c:pt idx="1566">
                  <c:v>4.1295963301</c:v>
                </c:pt>
                <c:pt idx="1567">
                  <c:v>4.1192852280999999</c:v>
                </c:pt>
                <c:pt idx="1568">
                  <c:v>4.1811518398</c:v>
                </c:pt>
                <c:pt idx="1569">
                  <c:v>4.2172406967000002</c:v>
                </c:pt>
                <c:pt idx="1570">
                  <c:v>4.1708407378999999</c:v>
                </c:pt>
                <c:pt idx="1571">
                  <c:v>4.0780408204</c:v>
                </c:pt>
                <c:pt idx="1572">
                  <c:v>4.1089741261999997</c:v>
                </c:pt>
                <c:pt idx="1573">
                  <c:v>4.1811518398</c:v>
                </c:pt>
                <c:pt idx="1574">
                  <c:v>4.3048850632000004</c:v>
                </c:pt>
                <c:pt idx="1575">
                  <c:v>4.3306628181000004</c:v>
                </c:pt>
                <c:pt idx="1576">
                  <c:v>4.3306628181000004</c:v>
                </c:pt>
                <c:pt idx="1577">
                  <c:v>4.3048850632000004</c:v>
                </c:pt>
                <c:pt idx="1578">
                  <c:v>4.4389293885000001</c:v>
                </c:pt>
                <c:pt idx="1579">
                  <c:v>4.5575070608999999</c:v>
                </c:pt>
                <c:pt idx="1580">
                  <c:v>4.6915513862999996</c:v>
                </c:pt>
                <c:pt idx="1581">
                  <c:v>4.7688846508999996</c:v>
                </c:pt>
                <c:pt idx="1582">
                  <c:v>4.7070180392000003</c:v>
                </c:pt>
                <c:pt idx="1583">
                  <c:v>4.7327957940000003</c:v>
                </c:pt>
                <c:pt idx="1584">
                  <c:v>4.5987514686999997</c:v>
                </c:pt>
                <c:pt idx="1585">
                  <c:v>4.5265737551000003</c:v>
                </c:pt>
                <c:pt idx="1586">
                  <c:v>4.5523515100000003</c:v>
                </c:pt>
                <c:pt idx="1587">
                  <c:v>4.4389293885000001</c:v>
                </c:pt>
                <c:pt idx="1588">
                  <c:v>4.4389293885000001</c:v>
                </c:pt>
                <c:pt idx="1589" formatCode="General">
                  <c:v>4.5162626531000001</c:v>
                </c:pt>
                <c:pt idx="1590" formatCode="General">
                  <c:v>4.4440849394999997</c:v>
                </c:pt>
                <c:pt idx="1591" formatCode="General">
                  <c:v>4.5575070608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A-ED4A-4C45-BEA5-BC7FEB91EC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81631999"/>
        <c:axId val="781629087"/>
      </c:lineChart>
      <c:catAx>
        <c:axId val="781631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781629087"/>
        <c:crosses val="autoZero"/>
        <c:auto val="1"/>
        <c:lblAlgn val="ctr"/>
        <c:lblOffset val="100"/>
        <c:noMultiLvlLbl val="0"/>
      </c:catAx>
      <c:valAx>
        <c:axId val="781629087"/>
        <c:scaling>
          <c:orientation val="minMax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781631999"/>
        <c:crosses val="autoZero"/>
        <c:crossBetween val="between"/>
      </c:valAx>
      <c:spPr>
        <a:noFill/>
        <a:ln cmpd="sng">
          <a:solidFill>
            <a:schemeClr val="bg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/>
              <a:t>میانگین ارزش معاملات (میلیون ریال)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Overall!$D$1</c:f>
              <c:strCache>
                <c:ptCount val="1"/>
                <c:pt idx="0">
                  <c:v> ارزش معاملات 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verall!$I$23:$I$52</c:f>
              <c:strCache>
                <c:ptCount val="30"/>
                <c:pt idx="0">
                  <c:v> هفته منتهی به  1403/06/02 </c:v>
                </c:pt>
                <c:pt idx="1">
                  <c:v> هفته منتهی به  1403/06/09 </c:v>
                </c:pt>
                <c:pt idx="2">
                  <c:v> هفته منتهی به  1403/06/16 </c:v>
                </c:pt>
                <c:pt idx="3">
                  <c:v> هفته منتهی به  1403/06/23 </c:v>
                </c:pt>
                <c:pt idx="4">
                  <c:v> هفته منتهی به  1403/06/30 </c:v>
                </c:pt>
                <c:pt idx="5">
                  <c:v> هفته منتهی به  1403/07/06 </c:v>
                </c:pt>
                <c:pt idx="6">
                  <c:v> هفته منتهی به  1403/07/13 </c:v>
                </c:pt>
                <c:pt idx="7">
                  <c:v> هفته منتهی به  1403/07/20 </c:v>
                </c:pt>
                <c:pt idx="8">
                  <c:v> هفته منتهی به  1403/07/27 </c:v>
                </c:pt>
                <c:pt idx="9">
                  <c:v> هفته منتهی به  1403/08/04 </c:v>
                </c:pt>
                <c:pt idx="10">
                  <c:v> هفته منتهی به  1403/08/11 </c:v>
                </c:pt>
                <c:pt idx="11">
                  <c:v> هفته منتهی به  1403/08/18 </c:v>
                </c:pt>
                <c:pt idx="12">
                  <c:v> هفته منتهی به  1403/08/25 </c:v>
                </c:pt>
                <c:pt idx="13">
                  <c:v> هفته منتهی به  1403/09/01 </c:v>
                </c:pt>
                <c:pt idx="14">
                  <c:v> هفته منتهی به  1403/09/07 </c:v>
                </c:pt>
                <c:pt idx="15">
                  <c:v> هفته منتهی به  1403/09/14 </c:v>
                </c:pt>
                <c:pt idx="16">
                  <c:v> هفته منتهی به  1403/09/21 </c:v>
                </c:pt>
                <c:pt idx="17">
                  <c:v> هفته منتهی به  1403/09/28 </c:v>
                </c:pt>
                <c:pt idx="18">
                  <c:v> هفته منتهی به  1403/10/07 </c:v>
                </c:pt>
                <c:pt idx="19">
                  <c:v> هفته منتهی به  1403/10/14 </c:v>
                </c:pt>
                <c:pt idx="20">
                  <c:v> هفته منتهی به  1403/10/21 </c:v>
                </c:pt>
                <c:pt idx="21">
                  <c:v> هفته منتهی به  1403/10/28 </c:v>
                </c:pt>
                <c:pt idx="22">
                  <c:v> هفته منتهی به  1403/11/05 </c:v>
                </c:pt>
                <c:pt idx="23">
                  <c:v> هفته منتهی به  1403/11/12 </c:v>
                </c:pt>
                <c:pt idx="24">
                  <c:v> هفته منتهی به  1403/11/19 </c:v>
                </c:pt>
                <c:pt idx="25">
                  <c:v> هفته منتهی به  1403/11/26 </c:v>
                </c:pt>
                <c:pt idx="26">
                  <c:v> هفته منتهی به  1403/12/03 </c:v>
                </c:pt>
                <c:pt idx="27">
                  <c:v> هفته منتهی به  1403/12/10 </c:v>
                </c:pt>
                <c:pt idx="28">
                  <c:v> هفته منتهی به  1403/12/17 </c:v>
                </c:pt>
                <c:pt idx="29">
                  <c:v> هفته منتهی به  1403/12/24 </c:v>
                </c:pt>
              </c:strCache>
            </c:strRef>
          </c:cat>
          <c:val>
            <c:numRef>
              <c:f>Overall!$J$23:$J$52</c:f>
              <c:numCache>
                <c:formatCode>_(* #,##0_);_(* \(#,##0\);_(* "-"??_);_(@_)</c:formatCode>
                <c:ptCount val="30"/>
                <c:pt idx="0">
                  <c:v>477189.199104</c:v>
                </c:pt>
                <c:pt idx="1">
                  <c:v>320581.270395</c:v>
                </c:pt>
                <c:pt idx="2">
                  <c:v>582827.40821999998</c:v>
                </c:pt>
                <c:pt idx="3">
                  <c:v>574005.78007400001</c:v>
                </c:pt>
                <c:pt idx="4">
                  <c:v>536491.5002371429</c:v>
                </c:pt>
                <c:pt idx="5">
                  <c:v>578552.07421714277</c:v>
                </c:pt>
                <c:pt idx="6">
                  <c:v>569342.81807799998</c:v>
                </c:pt>
                <c:pt idx="7">
                  <c:v>406879.65000249998</c:v>
                </c:pt>
                <c:pt idx="8">
                  <c:v>353966.35192799999</c:v>
                </c:pt>
                <c:pt idx="9">
                  <c:v>420734.115658</c:v>
                </c:pt>
                <c:pt idx="10">
                  <c:v>325310.87351800001</c:v>
                </c:pt>
                <c:pt idx="11">
                  <c:v>329890.71278</c:v>
                </c:pt>
                <c:pt idx="12">
                  <c:v>654283.44041200005</c:v>
                </c:pt>
                <c:pt idx="13">
                  <c:v>1001220.994774</c:v>
                </c:pt>
                <c:pt idx="14">
                  <c:v>1427277.0158820001</c:v>
                </c:pt>
                <c:pt idx="15">
                  <c:v>1062541.3299416667</c:v>
                </c:pt>
                <c:pt idx="16">
                  <c:v>1017694.7442966666</c:v>
                </c:pt>
                <c:pt idx="17">
                  <c:v>2265343.0734657142</c:v>
                </c:pt>
                <c:pt idx="18">
                  <c:v>1855957.8116319999</c:v>
                </c:pt>
                <c:pt idx="19">
                  <c:v>1603586.5051559999</c:v>
                </c:pt>
                <c:pt idx="20">
                  <c:v>1098597.154782</c:v>
                </c:pt>
                <c:pt idx="21">
                  <c:v>1454851.8957866668</c:v>
                </c:pt>
                <c:pt idx="22">
                  <c:v>1152463.3919200001</c:v>
                </c:pt>
                <c:pt idx="23">
                  <c:v>798433.48861500004</c:v>
                </c:pt>
                <c:pt idx="24">
                  <c:v>887144.70224799996</c:v>
                </c:pt>
                <c:pt idx="25">
                  <c:v>1698646.3223949999</c:v>
                </c:pt>
                <c:pt idx="26">
                  <c:v>1291435.6418679999</c:v>
                </c:pt>
                <c:pt idx="27">
                  <c:v>1912921.719116</c:v>
                </c:pt>
                <c:pt idx="28">
                  <c:v>1571877.288712</c:v>
                </c:pt>
                <c:pt idx="29">
                  <c:v>1129496.656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D4-45B8-BE22-2C2BE73D1E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81195008"/>
        <c:axId val="381189184"/>
      </c:barChart>
      <c:dateAx>
        <c:axId val="38119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0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81189184"/>
        <c:crosses val="autoZero"/>
        <c:auto val="0"/>
        <c:lblOffset val="100"/>
        <c:baseTimeUnit val="days"/>
      </c:dateAx>
      <c:valAx>
        <c:axId val="381189184"/>
        <c:scaling>
          <c:orientation val="minMax"/>
          <c:max val="3500000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38119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/>
              <a:t>میانگین ارزش معاملات (میلیون ریال)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Overall!$D$1</c:f>
              <c:strCache>
                <c:ptCount val="1"/>
                <c:pt idx="0">
                  <c:v> ارزش معاملات 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verall!$I$58:$I$69</c:f>
              <c:strCache>
                <c:ptCount val="12"/>
                <c:pt idx="0">
                  <c:v>فروردین 1403</c:v>
                </c:pt>
                <c:pt idx="1">
                  <c:v>اردیبهشت 1403</c:v>
                </c:pt>
                <c:pt idx="2">
                  <c:v>خرداد 1403</c:v>
                </c:pt>
                <c:pt idx="3">
                  <c:v>تیر 1403</c:v>
                </c:pt>
                <c:pt idx="4">
                  <c:v>مرداد1403</c:v>
                </c:pt>
                <c:pt idx="5">
                  <c:v>شهریور 1403</c:v>
                </c:pt>
                <c:pt idx="6">
                  <c:v>مهر 1403</c:v>
                </c:pt>
                <c:pt idx="7">
                  <c:v>آبان 1403</c:v>
                </c:pt>
                <c:pt idx="8">
                  <c:v>آذر1403</c:v>
                </c:pt>
                <c:pt idx="9">
                  <c:v>دی 1403</c:v>
                </c:pt>
                <c:pt idx="10">
                  <c:v>بهمن1403</c:v>
                </c:pt>
                <c:pt idx="11">
                  <c:v>اسفند1404</c:v>
                </c:pt>
              </c:strCache>
            </c:strRef>
          </c:cat>
          <c:val>
            <c:numRef>
              <c:f>Overall!$J$58:$J$69</c:f>
              <c:numCache>
                <c:formatCode>_(* #,##0_);_(* \(#,##0\);_(* "-"??_);_(@_)</c:formatCode>
                <c:ptCount val="12"/>
                <c:pt idx="0">
                  <c:v>514971.06150000001</c:v>
                </c:pt>
                <c:pt idx="1">
                  <c:v>553877.40092142858</c:v>
                </c:pt>
                <c:pt idx="2">
                  <c:v>430029.90880722221</c:v>
                </c:pt>
                <c:pt idx="3">
                  <c:v>512315.58884705883</c:v>
                </c:pt>
                <c:pt idx="4">
                  <c:v>660334.34703764715</c:v>
                </c:pt>
                <c:pt idx="5">
                  <c:v>517291.43794999999</c:v>
                </c:pt>
                <c:pt idx="6">
                  <c:v>447323.1225642105</c:v>
                </c:pt>
                <c:pt idx="7">
                  <c:v>474464.60013888893</c:v>
                </c:pt>
                <c:pt idx="8">
                  <c:v>1539740.7717842855</c:v>
                </c:pt>
                <c:pt idx="9">
                  <c:v>1473853.4064390475</c:v>
                </c:pt>
                <c:pt idx="10">
                  <c:v>1092590.9602038888</c:v>
                </c:pt>
                <c:pt idx="11">
                  <c:v>1462178.62709058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C9-45E6-845C-F2A67A4BAD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81195008"/>
        <c:axId val="381189184"/>
      </c:barChart>
      <c:dateAx>
        <c:axId val="38119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28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81189184"/>
        <c:crosses val="autoZero"/>
        <c:auto val="0"/>
        <c:lblOffset val="100"/>
        <c:baseTimeUnit val="days"/>
      </c:dateAx>
      <c:valAx>
        <c:axId val="381189184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38119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 sz="1200"/>
              <a:t>ورود</a:t>
            </a:r>
            <a:r>
              <a:rPr lang="fa-IR" sz="1200" baseline="0"/>
              <a:t> پول (میلیون ریال)</a:t>
            </a:r>
            <a:r>
              <a:rPr lang="fa-IR" sz="1200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Overall!$K$1</c:f>
              <c:strCache>
                <c:ptCount val="1"/>
                <c:pt idx="0">
                  <c:v>خالص حقیقی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verall!$I$58:$I$69</c:f>
              <c:strCache>
                <c:ptCount val="12"/>
                <c:pt idx="0">
                  <c:v>فروردین 1403</c:v>
                </c:pt>
                <c:pt idx="1">
                  <c:v>اردیبهشت 1403</c:v>
                </c:pt>
                <c:pt idx="2">
                  <c:v>خرداد 1403</c:v>
                </c:pt>
                <c:pt idx="3">
                  <c:v>تیر 1403</c:v>
                </c:pt>
                <c:pt idx="4">
                  <c:v>مرداد1403</c:v>
                </c:pt>
                <c:pt idx="5">
                  <c:v>شهریور 1403</c:v>
                </c:pt>
                <c:pt idx="6">
                  <c:v>مهر 1403</c:v>
                </c:pt>
                <c:pt idx="7">
                  <c:v>آبان 1403</c:v>
                </c:pt>
                <c:pt idx="8">
                  <c:v>آذر1403</c:v>
                </c:pt>
                <c:pt idx="9">
                  <c:v>دی 1403</c:v>
                </c:pt>
                <c:pt idx="10">
                  <c:v>بهمن1403</c:v>
                </c:pt>
                <c:pt idx="11">
                  <c:v>اسفند1404</c:v>
                </c:pt>
              </c:strCache>
            </c:strRef>
          </c:cat>
          <c:val>
            <c:numRef>
              <c:f>Overall!$K$58:$K$69</c:f>
              <c:numCache>
                <c:formatCode>_(* #,##0_);_(* \(#,##0\);_(* "-"??_);_(@_)</c:formatCode>
                <c:ptCount val="12"/>
                <c:pt idx="0">
                  <c:v>-696515.49953000003</c:v>
                </c:pt>
                <c:pt idx="1">
                  <c:v>-520006.21519000002</c:v>
                </c:pt>
                <c:pt idx="2">
                  <c:v>-1868934.0698299999</c:v>
                </c:pt>
                <c:pt idx="3">
                  <c:v>-2530119.4828599999</c:v>
                </c:pt>
                <c:pt idx="4">
                  <c:v>-1509012.2203299999</c:v>
                </c:pt>
                <c:pt idx="5">
                  <c:v>242385.01136</c:v>
                </c:pt>
                <c:pt idx="6">
                  <c:v>-2355208.2777200001</c:v>
                </c:pt>
                <c:pt idx="7">
                  <c:v>-18938.90857</c:v>
                </c:pt>
                <c:pt idx="8">
                  <c:v>-195865.06886</c:v>
                </c:pt>
                <c:pt idx="9">
                  <c:v>-3045750.01021</c:v>
                </c:pt>
                <c:pt idx="10">
                  <c:v>-1023033.31175</c:v>
                </c:pt>
                <c:pt idx="11">
                  <c:v>-2295336.61724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DF-4986-8E59-FA3558392C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1195008"/>
        <c:axId val="381189184"/>
      </c:barChart>
      <c:catAx>
        <c:axId val="38119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22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81189184"/>
        <c:crosses val="autoZero"/>
        <c:auto val="1"/>
        <c:lblAlgn val="ctr"/>
        <c:lblOffset val="100"/>
        <c:noMultiLvlLbl val="0"/>
      </c:catAx>
      <c:valAx>
        <c:axId val="381189184"/>
        <c:scaling>
          <c:orientation val="minMax"/>
          <c:max val="2000000"/>
          <c:min val="-4500000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38119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 sz="1200"/>
              <a:t>شاخص</a:t>
            </a:r>
            <a:r>
              <a:rPr lang="fa-IR" sz="1200" baseline="0"/>
              <a:t> کل از ابتدای سال</a:t>
            </a:r>
            <a:endParaRPr lang="fa-IR" sz="12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  بورس ایران-شاخص بورس ایران   '!$C$2</c:f>
              <c:strCache>
                <c:ptCount val="1"/>
                <c:pt idx="0">
                  <c:v> مقدار </c:v>
                </c:pt>
              </c:strCache>
            </c:strRef>
          </c:tx>
          <c:spPr>
            <a:ln w="2857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61-4713-B01A-CEE7D7550370}"/>
                </c:ext>
              </c:extLst>
            </c:dLbl>
            <c:dLbl>
              <c:idx val="5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61-4713-B01A-CEE7D7550370}"/>
                </c:ext>
              </c:extLst>
            </c:dLbl>
            <c:dLbl>
              <c:idx val="65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761-4713-B01A-CEE7D7550370}"/>
                </c:ext>
              </c:extLst>
            </c:dLbl>
            <c:dLbl>
              <c:idx val="10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61-4713-B01A-CEE7D7550370}"/>
                </c:ext>
              </c:extLst>
            </c:dLbl>
            <c:dLbl>
              <c:idx val="12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61-4713-B01A-CEE7D7550370}"/>
                </c:ext>
              </c:extLst>
            </c:dLbl>
            <c:dLbl>
              <c:idx val="19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761-4713-B01A-CEE7D7550370}"/>
                </c:ext>
              </c:extLst>
            </c:dLbl>
            <c:dLbl>
              <c:idx val="226"/>
              <c:layout>
                <c:manualLayout>
                  <c:x val="-4.9423586738903723E-3"/>
                  <c:y val="2.06621288004151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DanaFaNum" pitchFamily="2" charset="-78"/>
                      <a:ea typeface="+mn-ea"/>
                      <a:cs typeface="DanaFaNum" pitchFamily="2" charset="-78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3060964350763277E-2"/>
                      <c:h val="3.871975829393505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9761-4713-B01A-CEE7D7550370}"/>
                </c:ext>
              </c:extLst>
            </c:dLbl>
            <c:dLbl>
              <c:idx val="23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761-4713-B01A-CEE7D75503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  بورس ایران-شاخص بورس ایران   '!$B$1442:$B$1673</c:f>
              <c:strCache>
                <c:ptCount val="232"/>
                <c:pt idx="0">
                  <c:v>1403-01-05</c:v>
                </c:pt>
                <c:pt idx="1">
                  <c:v>1403-01-06</c:v>
                </c:pt>
                <c:pt idx="2">
                  <c:v>1403-01-07</c:v>
                </c:pt>
                <c:pt idx="3">
                  <c:v>1403-01-08</c:v>
                </c:pt>
                <c:pt idx="4">
                  <c:v>1403-01-11</c:v>
                </c:pt>
                <c:pt idx="5">
                  <c:v>1403-01-14</c:v>
                </c:pt>
                <c:pt idx="6">
                  <c:v>1403-01-15</c:v>
                </c:pt>
                <c:pt idx="7">
                  <c:v>1403-01-18</c:v>
                </c:pt>
                <c:pt idx="8">
                  <c:v>1403-01-19</c:v>
                </c:pt>
                <c:pt idx="9">
                  <c:v>1403-01-20</c:v>
                </c:pt>
                <c:pt idx="10">
                  <c:v>1403-01-21</c:v>
                </c:pt>
                <c:pt idx="11">
                  <c:v>1403-01-25</c:v>
                </c:pt>
                <c:pt idx="12">
                  <c:v>1403-01-26</c:v>
                </c:pt>
                <c:pt idx="13">
                  <c:v>1403-01-27</c:v>
                </c:pt>
                <c:pt idx="14">
                  <c:v>1403-01-28</c:v>
                </c:pt>
                <c:pt idx="15">
                  <c:v>1403-01-29</c:v>
                </c:pt>
                <c:pt idx="16">
                  <c:v>1403-02-01</c:v>
                </c:pt>
                <c:pt idx="17">
                  <c:v>1403-02-02</c:v>
                </c:pt>
                <c:pt idx="18">
                  <c:v>1403-02-03</c:v>
                </c:pt>
                <c:pt idx="19">
                  <c:v>1403-02-04</c:v>
                </c:pt>
                <c:pt idx="20">
                  <c:v>1403-02-05</c:v>
                </c:pt>
                <c:pt idx="21">
                  <c:v>1403-02-08</c:v>
                </c:pt>
                <c:pt idx="22">
                  <c:v>1403-02-09</c:v>
                </c:pt>
                <c:pt idx="23">
                  <c:v>1403-02-10</c:v>
                </c:pt>
                <c:pt idx="24">
                  <c:v>1403-02-11</c:v>
                </c:pt>
                <c:pt idx="25">
                  <c:v>1403-02-12</c:v>
                </c:pt>
                <c:pt idx="26">
                  <c:v>1403-02-16</c:v>
                </c:pt>
                <c:pt idx="27">
                  <c:v>1403-02-17</c:v>
                </c:pt>
                <c:pt idx="28">
                  <c:v>1403-02-18</c:v>
                </c:pt>
                <c:pt idx="29">
                  <c:v>1403-02-19</c:v>
                </c:pt>
                <c:pt idx="30">
                  <c:v>1403-02-22</c:v>
                </c:pt>
                <c:pt idx="31">
                  <c:v>1403-02-23</c:v>
                </c:pt>
                <c:pt idx="32">
                  <c:v>1403-02-24</c:v>
                </c:pt>
                <c:pt idx="33">
                  <c:v>1403-02-25</c:v>
                </c:pt>
                <c:pt idx="34">
                  <c:v>1403-02-26</c:v>
                </c:pt>
                <c:pt idx="35">
                  <c:v>1403-02-29</c:v>
                </c:pt>
                <c:pt idx="36">
                  <c:v>1403-02-30</c:v>
                </c:pt>
                <c:pt idx="37">
                  <c:v>1403-03-01</c:v>
                </c:pt>
                <c:pt idx="38">
                  <c:v>1403-03-05</c:v>
                </c:pt>
                <c:pt idx="39">
                  <c:v>1403-03-06</c:v>
                </c:pt>
                <c:pt idx="40">
                  <c:v>1403-03-07</c:v>
                </c:pt>
                <c:pt idx="41">
                  <c:v>1403-03-08</c:v>
                </c:pt>
                <c:pt idx="42">
                  <c:v>1403-03-09</c:v>
                </c:pt>
                <c:pt idx="43">
                  <c:v>1403-03-12</c:v>
                </c:pt>
                <c:pt idx="44">
                  <c:v>1403-03-13</c:v>
                </c:pt>
                <c:pt idx="45">
                  <c:v>1403-03-16</c:v>
                </c:pt>
                <c:pt idx="46">
                  <c:v>1403-03-19</c:v>
                </c:pt>
                <c:pt idx="47">
                  <c:v>1403-03-20</c:v>
                </c:pt>
                <c:pt idx="48">
                  <c:v>1403-03-21</c:v>
                </c:pt>
                <c:pt idx="49">
                  <c:v>1403-03-22</c:v>
                </c:pt>
                <c:pt idx="50">
                  <c:v>1403-03-23</c:v>
                </c:pt>
                <c:pt idx="51">
                  <c:v>1403-03-26</c:v>
                </c:pt>
                <c:pt idx="52">
                  <c:v>1403-03-27</c:v>
                </c:pt>
                <c:pt idx="53">
                  <c:v>1403-03-29</c:v>
                </c:pt>
                <c:pt idx="54">
                  <c:v>1403-03-30</c:v>
                </c:pt>
                <c:pt idx="55">
                  <c:v>1403-04-02</c:v>
                </c:pt>
                <c:pt idx="56">
                  <c:v>1403-04-03</c:v>
                </c:pt>
                <c:pt idx="57">
                  <c:v>1403-04-04</c:v>
                </c:pt>
                <c:pt idx="58">
                  <c:v>1403-04-06</c:v>
                </c:pt>
                <c:pt idx="59">
                  <c:v>1403-04-09</c:v>
                </c:pt>
                <c:pt idx="60">
                  <c:v>1403-04-10</c:v>
                </c:pt>
                <c:pt idx="61">
                  <c:v>1403-04-11</c:v>
                </c:pt>
                <c:pt idx="62">
                  <c:v>1403-04-12</c:v>
                </c:pt>
                <c:pt idx="63">
                  <c:v>1403-04-13</c:v>
                </c:pt>
                <c:pt idx="64">
                  <c:v>1403-04-16</c:v>
                </c:pt>
                <c:pt idx="65">
                  <c:v>1403-04-17</c:v>
                </c:pt>
                <c:pt idx="66">
                  <c:v>1403-04-18</c:v>
                </c:pt>
                <c:pt idx="67">
                  <c:v>1403-04-19</c:v>
                </c:pt>
                <c:pt idx="68">
                  <c:v>1403-04-20</c:v>
                </c:pt>
                <c:pt idx="69">
                  <c:v>1403-04-23</c:v>
                </c:pt>
                <c:pt idx="70">
                  <c:v>1403-04-24</c:v>
                </c:pt>
                <c:pt idx="71">
                  <c:v>1403-04-27</c:v>
                </c:pt>
                <c:pt idx="72">
                  <c:v>1403-04-30</c:v>
                </c:pt>
                <c:pt idx="73">
                  <c:v>1403-04-31</c:v>
                </c:pt>
                <c:pt idx="74">
                  <c:v>1403-05-01</c:v>
                </c:pt>
                <c:pt idx="75">
                  <c:v>1403-05-02</c:v>
                </c:pt>
                <c:pt idx="76">
                  <c:v>1403-05-03</c:v>
                </c:pt>
                <c:pt idx="77">
                  <c:v>1403-05-06</c:v>
                </c:pt>
                <c:pt idx="78">
                  <c:v>1403-05-08</c:v>
                </c:pt>
                <c:pt idx="79">
                  <c:v>1403-05-09</c:v>
                </c:pt>
                <c:pt idx="80">
                  <c:v>1403-05-10</c:v>
                </c:pt>
                <c:pt idx="81">
                  <c:v>1403-05-13</c:v>
                </c:pt>
                <c:pt idx="82">
                  <c:v>1403-05-14</c:v>
                </c:pt>
                <c:pt idx="83">
                  <c:v>1403-05-15</c:v>
                </c:pt>
                <c:pt idx="84">
                  <c:v>1403-05-16</c:v>
                </c:pt>
                <c:pt idx="85">
                  <c:v>1403-05-20</c:v>
                </c:pt>
                <c:pt idx="86">
                  <c:v>1403-05-21</c:v>
                </c:pt>
                <c:pt idx="87">
                  <c:v>1403-05-22</c:v>
                </c:pt>
                <c:pt idx="88">
                  <c:v>1403-05-23</c:v>
                </c:pt>
                <c:pt idx="89">
                  <c:v>1403-05-24</c:v>
                </c:pt>
                <c:pt idx="90">
                  <c:v>1403-05-27</c:v>
                </c:pt>
                <c:pt idx="91">
                  <c:v>1403-05-28</c:v>
                </c:pt>
                <c:pt idx="92">
                  <c:v>1403-05-29</c:v>
                </c:pt>
                <c:pt idx="93">
                  <c:v>1403-05-30</c:v>
                </c:pt>
                <c:pt idx="94">
                  <c:v>1403-05-31</c:v>
                </c:pt>
                <c:pt idx="95">
                  <c:v>1403-06-03</c:v>
                </c:pt>
                <c:pt idx="96">
                  <c:v>1403-06-05</c:v>
                </c:pt>
                <c:pt idx="97">
                  <c:v>1403-06-06</c:v>
                </c:pt>
                <c:pt idx="98">
                  <c:v>1403-06-07</c:v>
                </c:pt>
                <c:pt idx="99">
                  <c:v>1403-06-10</c:v>
                </c:pt>
                <c:pt idx="100">
                  <c:v>1403-06-11</c:v>
                </c:pt>
                <c:pt idx="101">
                  <c:v>1403-06-13</c:v>
                </c:pt>
                <c:pt idx="102">
                  <c:v>1403-06-17</c:v>
                </c:pt>
                <c:pt idx="103">
                  <c:v>1403-06-18</c:v>
                </c:pt>
                <c:pt idx="104">
                  <c:v>1403-06-19</c:v>
                </c:pt>
                <c:pt idx="105">
                  <c:v>1403-06-20</c:v>
                </c:pt>
                <c:pt idx="106">
                  <c:v>1403-06-21</c:v>
                </c:pt>
                <c:pt idx="107">
                  <c:v>1403-06-24</c:v>
                </c:pt>
                <c:pt idx="108">
                  <c:v>1403-06-25</c:v>
                </c:pt>
                <c:pt idx="109">
                  <c:v>1403-06-26</c:v>
                </c:pt>
                <c:pt idx="110">
                  <c:v>1403-06-27</c:v>
                </c:pt>
                <c:pt idx="111">
                  <c:v>1403-06-28</c:v>
                </c:pt>
                <c:pt idx="112">
                  <c:v>1403-07-01</c:v>
                </c:pt>
                <c:pt idx="113">
                  <c:v>1403-07-02</c:v>
                </c:pt>
                <c:pt idx="114">
                  <c:v>1403-07-03</c:v>
                </c:pt>
                <c:pt idx="115">
                  <c:v>1403-07-04</c:v>
                </c:pt>
                <c:pt idx="116">
                  <c:v>1403-07-07</c:v>
                </c:pt>
                <c:pt idx="117">
                  <c:v>1403-07-08</c:v>
                </c:pt>
                <c:pt idx="118">
                  <c:v>1403-07-09</c:v>
                </c:pt>
                <c:pt idx="119">
                  <c:v>1403-07-10</c:v>
                </c:pt>
                <c:pt idx="120">
                  <c:v>1403-07-11</c:v>
                </c:pt>
                <c:pt idx="121">
                  <c:v>1403-07-14</c:v>
                </c:pt>
                <c:pt idx="122">
                  <c:v>1403-07-15</c:v>
                </c:pt>
                <c:pt idx="123">
                  <c:v>1403-07-16</c:v>
                </c:pt>
                <c:pt idx="124">
                  <c:v>1403-07-17</c:v>
                </c:pt>
                <c:pt idx="125">
                  <c:v>1403-07-18</c:v>
                </c:pt>
                <c:pt idx="126">
                  <c:v>1403-07-21</c:v>
                </c:pt>
                <c:pt idx="127">
                  <c:v>1403-07-21</c:v>
                </c:pt>
                <c:pt idx="128">
                  <c:v>1403-07-22</c:v>
                </c:pt>
                <c:pt idx="129">
                  <c:v>1403-07-23</c:v>
                </c:pt>
                <c:pt idx="130">
                  <c:v>1403-07-24</c:v>
                </c:pt>
                <c:pt idx="131">
                  <c:v>1403-07-25</c:v>
                </c:pt>
                <c:pt idx="132">
                  <c:v>1403-07-28</c:v>
                </c:pt>
                <c:pt idx="133">
                  <c:v>1403-07-29</c:v>
                </c:pt>
                <c:pt idx="134">
                  <c:v>1403-07-30</c:v>
                </c:pt>
                <c:pt idx="135">
                  <c:v>1403-08-01</c:v>
                </c:pt>
                <c:pt idx="136">
                  <c:v>1403-08-02</c:v>
                </c:pt>
                <c:pt idx="137">
                  <c:v>1403-08-05</c:v>
                </c:pt>
                <c:pt idx="138">
                  <c:v>1403-08-06</c:v>
                </c:pt>
                <c:pt idx="139">
                  <c:v>1403-08-07</c:v>
                </c:pt>
                <c:pt idx="140">
                  <c:v>1403-08-08</c:v>
                </c:pt>
                <c:pt idx="141">
                  <c:v>1403-08-09</c:v>
                </c:pt>
                <c:pt idx="142">
                  <c:v>1403-08-12</c:v>
                </c:pt>
                <c:pt idx="143">
                  <c:v>1403-08-13</c:v>
                </c:pt>
                <c:pt idx="144">
                  <c:v>1403-08-14</c:v>
                </c:pt>
                <c:pt idx="145">
                  <c:v>1403-08-15</c:v>
                </c:pt>
                <c:pt idx="146">
                  <c:v>1403-08-16</c:v>
                </c:pt>
                <c:pt idx="147">
                  <c:v>1403-08-19</c:v>
                </c:pt>
                <c:pt idx="148">
                  <c:v>1403-08-20</c:v>
                </c:pt>
                <c:pt idx="149">
                  <c:v>1403-08-21</c:v>
                </c:pt>
                <c:pt idx="150">
                  <c:v>1403-08-22</c:v>
                </c:pt>
                <c:pt idx="151">
                  <c:v>1403-08-23</c:v>
                </c:pt>
                <c:pt idx="152">
                  <c:v>1403-08-26</c:v>
                </c:pt>
                <c:pt idx="153">
                  <c:v>1403-08-27</c:v>
                </c:pt>
                <c:pt idx="154">
                  <c:v>1403-08-28</c:v>
                </c:pt>
                <c:pt idx="155">
                  <c:v>1403-08-29</c:v>
                </c:pt>
                <c:pt idx="156">
                  <c:v>1403-08-30</c:v>
                </c:pt>
                <c:pt idx="157">
                  <c:v>1403-09-03</c:v>
                </c:pt>
                <c:pt idx="158">
                  <c:v>1403-09-04</c:v>
                </c:pt>
                <c:pt idx="159">
                  <c:v>1403-09-05</c:v>
                </c:pt>
                <c:pt idx="160">
                  <c:v>1403-09-06</c:v>
                </c:pt>
                <c:pt idx="161">
                  <c:v>1403-09-07</c:v>
                </c:pt>
                <c:pt idx="162">
                  <c:v>1403-09-10</c:v>
                </c:pt>
                <c:pt idx="163">
                  <c:v>1403-09-11</c:v>
                </c:pt>
                <c:pt idx="164">
                  <c:v>1403-09-12</c:v>
                </c:pt>
                <c:pt idx="165">
                  <c:v>1403-09-13</c:v>
                </c:pt>
                <c:pt idx="166">
                  <c:v>1403-09-14</c:v>
                </c:pt>
                <c:pt idx="167">
                  <c:v>1403-09-17</c:v>
                </c:pt>
                <c:pt idx="168">
                  <c:v>1403-09-18</c:v>
                </c:pt>
                <c:pt idx="169">
                  <c:v>1403-09-19</c:v>
                </c:pt>
                <c:pt idx="170">
                  <c:v>1403-09-20</c:v>
                </c:pt>
                <c:pt idx="171">
                  <c:v>1403-09-21</c:v>
                </c:pt>
                <c:pt idx="172">
                  <c:v>1403-09-24</c:v>
                </c:pt>
                <c:pt idx="173">
                  <c:v>1403-09-25</c:v>
                </c:pt>
                <c:pt idx="174">
                  <c:v>1403-09-26</c:v>
                </c:pt>
                <c:pt idx="175">
                  <c:v>1403-09-27</c:v>
                </c:pt>
                <c:pt idx="176">
                  <c:v>1403-09-28</c:v>
                </c:pt>
                <c:pt idx="177">
                  <c:v>1403-10-01</c:v>
                </c:pt>
                <c:pt idx="178">
                  <c:v>1403-10-02</c:v>
                </c:pt>
                <c:pt idx="179">
                  <c:v>1403-10-03</c:v>
                </c:pt>
                <c:pt idx="180">
                  <c:v>1403-10-04</c:v>
                </c:pt>
                <c:pt idx="181">
                  <c:v>1403-10-05</c:v>
                </c:pt>
                <c:pt idx="182">
                  <c:v>1403-10-08</c:v>
                </c:pt>
                <c:pt idx="183">
                  <c:v>1403-10-09</c:v>
                </c:pt>
                <c:pt idx="184">
                  <c:v>1403-10-10</c:v>
                </c:pt>
                <c:pt idx="185">
                  <c:v>1403-10-11</c:v>
                </c:pt>
                <c:pt idx="186">
                  <c:v>1403-10-12</c:v>
                </c:pt>
                <c:pt idx="187">
                  <c:v>1403-10-15</c:v>
                </c:pt>
                <c:pt idx="188">
                  <c:v>1403-10-16</c:v>
                </c:pt>
                <c:pt idx="189">
                  <c:v>1403-10-17</c:v>
                </c:pt>
                <c:pt idx="190">
                  <c:v>1403-10-18</c:v>
                </c:pt>
                <c:pt idx="191">
                  <c:v>1403-10-19</c:v>
                </c:pt>
                <c:pt idx="192">
                  <c:v>1403-10-22</c:v>
                </c:pt>
                <c:pt idx="193">
                  <c:v>1403-10-23</c:v>
                </c:pt>
                <c:pt idx="194">
                  <c:v>1403-10-24</c:v>
                </c:pt>
                <c:pt idx="195">
                  <c:v>1403-10-26</c:v>
                </c:pt>
                <c:pt idx="196">
                  <c:v>1403-10-29</c:v>
                </c:pt>
                <c:pt idx="197">
                  <c:v>1403-10-30</c:v>
                </c:pt>
                <c:pt idx="198">
                  <c:v>1403-11-01</c:v>
                </c:pt>
                <c:pt idx="199">
                  <c:v>1403-11-02</c:v>
                </c:pt>
                <c:pt idx="200">
                  <c:v>1403-11-03</c:v>
                </c:pt>
                <c:pt idx="201">
                  <c:v>1403-11-06</c:v>
                </c:pt>
                <c:pt idx="202">
                  <c:v>1403-11-07</c:v>
                </c:pt>
                <c:pt idx="203">
                  <c:v>1403-11-08</c:v>
                </c:pt>
                <c:pt idx="204">
                  <c:v>1403-11-10</c:v>
                </c:pt>
                <c:pt idx="205">
                  <c:v>1403-11-13</c:v>
                </c:pt>
                <c:pt idx="206">
                  <c:v>1403-11-14</c:v>
                </c:pt>
                <c:pt idx="207">
                  <c:v>1403-11-15</c:v>
                </c:pt>
                <c:pt idx="208">
                  <c:v>1403-11-16</c:v>
                </c:pt>
                <c:pt idx="209">
                  <c:v>1403-11-17</c:v>
                </c:pt>
                <c:pt idx="210">
                  <c:v>1403-11-21</c:v>
                </c:pt>
                <c:pt idx="211">
                  <c:v>1403-11-23</c:v>
                </c:pt>
                <c:pt idx="212">
                  <c:v>1403-11-27</c:v>
                </c:pt>
                <c:pt idx="213">
                  <c:v>1403-11-28</c:v>
                </c:pt>
                <c:pt idx="214">
                  <c:v>1403-11-29</c:v>
                </c:pt>
                <c:pt idx="215">
                  <c:v>1403-11-30</c:v>
                </c:pt>
                <c:pt idx="216">
                  <c:v>1403-12-01</c:v>
                </c:pt>
                <c:pt idx="217">
                  <c:v>1403-12-04</c:v>
                </c:pt>
                <c:pt idx="218">
                  <c:v>1403-12-05</c:v>
                </c:pt>
                <c:pt idx="219">
                  <c:v>1403-12-06</c:v>
                </c:pt>
                <c:pt idx="220">
                  <c:v>1403-12-07</c:v>
                </c:pt>
                <c:pt idx="221">
                  <c:v>1403-12-08</c:v>
                </c:pt>
                <c:pt idx="222">
                  <c:v>1403-12-11</c:v>
                </c:pt>
                <c:pt idx="223">
                  <c:v>1403-12-12</c:v>
                </c:pt>
                <c:pt idx="224">
                  <c:v>1403-12-13</c:v>
                </c:pt>
                <c:pt idx="225">
                  <c:v>1403-12-14</c:v>
                </c:pt>
                <c:pt idx="226">
                  <c:v>1403-12-15</c:v>
                </c:pt>
                <c:pt idx="227">
                  <c:v>1403-12-18</c:v>
                </c:pt>
                <c:pt idx="228">
                  <c:v>1403-12-19</c:v>
                </c:pt>
                <c:pt idx="229">
                  <c:v>1403-12-20</c:v>
                </c:pt>
                <c:pt idx="230">
                  <c:v>1403-12-21</c:v>
                </c:pt>
                <c:pt idx="231">
                  <c:v>1403-12-22</c:v>
                </c:pt>
              </c:strCache>
            </c:strRef>
          </c:cat>
          <c:val>
            <c:numRef>
              <c:f>'  بورس ایران-شاخص بورس ایران   '!$C$1442:$C$1673</c:f>
              <c:numCache>
                <c:formatCode>_(* #,##0_);_(* \(#,##0\);_(* "-"??_);_(@_)</c:formatCode>
                <c:ptCount val="232"/>
                <c:pt idx="0">
                  <c:v>2251285</c:v>
                </c:pt>
                <c:pt idx="1">
                  <c:v>2268305</c:v>
                </c:pt>
                <c:pt idx="2">
                  <c:v>2263376</c:v>
                </c:pt>
                <c:pt idx="3">
                  <c:v>2274738</c:v>
                </c:pt>
                <c:pt idx="4">
                  <c:v>2274131</c:v>
                </c:pt>
                <c:pt idx="5">
                  <c:v>2255359</c:v>
                </c:pt>
                <c:pt idx="6">
                  <c:v>2259621</c:v>
                </c:pt>
                <c:pt idx="7">
                  <c:v>2236440</c:v>
                </c:pt>
                <c:pt idx="8">
                  <c:v>2239084</c:v>
                </c:pt>
                <c:pt idx="9">
                  <c:v>2260059</c:v>
                </c:pt>
                <c:pt idx="10">
                  <c:v>2266701</c:v>
                </c:pt>
                <c:pt idx="11">
                  <c:v>2210789</c:v>
                </c:pt>
                <c:pt idx="12">
                  <c:v>2199234</c:v>
                </c:pt>
                <c:pt idx="13">
                  <c:v>2209073</c:v>
                </c:pt>
                <c:pt idx="14">
                  <c:v>2203087</c:v>
                </c:pt>
                <c:pt idx="15">
                  <c:v>2208814</c:v>
                </c:pt>
                <c:pt idx="16">
                  <c:v>2279211</c:v>
                </c:pt>
                <c:pt idx="17">
                  <c:v>2311602</c:v>
                </c:pt>
                <c:pt idx="18">
                  <c:v>2315777</c:v>
                </c:pt>
                <c:pt idx="19">
                  <c:v>2303521</c:v>
                </c:pt>
                <c:pt idx="20">
                  <c:v>2305744</c:v>
                </c:pt>
                <c:pt idx="21">
                  <c:v>2305164</c:v>
                </c:pt>
                <c:pt idx="22">
                  <c:v>2284501</c:v>
                </c:pt>
                <c:pt idx="23">
                  <c:v>2281061</c:v>
                </c:pt>
                <c:pt idx="24">
                  <c:v>2267949</c:v>
                </c:pt>
                <c:pt idx="25">
                  <c:v>2265708</c:v>
                </c:pt>
                <c:pt idx="26">
                  <c:v>2261072</c:v>
                </c:pt>
                <c:pt idx="27">
                  <c:v>2240178</c:v>
                </c:pt>
                <c:pt idx="28">
                  <c:v>2232988</c:v>
                </c:pt>
                <c:pt idx="29">
                  <c:v>2220388</c:v>
                </c:pt>
                <c:pt idx="30">
                  <c:v>2208248</c:v>
                </c:pt>
                <c:pt idx="31">
                  <c:v>2192666</c:v>
                </c:pt>
                <c:pt idx="32">
                  <c:v>2158392</c:v>
                </c:pt>
                <c:pt idx="33">
                  <c:v>2161190</c:v>
                </c:pt>
                <c:pt idx="34">
                  <c:v>2157759</c:v>
                </c:pt>
                <c:pt idx="35">
                  <c:v>2160797</c:v>
                </c:pt>
                <c:pt idx="36">
                  <c:v>2103753</c:v>
                </c:pt>
                <c:pt idx="37">
                  <c:v>2104166</c:v>
                </c:pt>
                <c:pt idx="38">
                  <c:v>2087722</c:v>
                </c:pt>
                <c:pt idx="39">
                  <c:v>2067213</c:v>
                </c:pt>
                <c:pt idx="40">
                  <c:v>2045665</c:v>
                </c:pt>
                <c:pt idx="41">
                  <c:v>2057552</c:v>
                </c:pt>
                <c:pt idx="42">
                  <c:v>2074711</c:v>
                </c:pt>
                <c:pt idx="43">
                  <c:v>2080884</c:v>
                </c:pt>
                <c:pt idx="44">
                  <c:v>2075207</c:v>
                </c:pt>
                <c:pt idx="45">
                  <c:v>2068911</c:v>
                </c:pt>
                <c:pt idx="46">
                  <c:v>2050016</c:v>
                </c:pt>
                <c:pt idx="47">
                  <c:v>2046084</c:v>
                </c:pt>
                <c:pt idx="48">
                  <c:v>2061920</c:v>
                </c:pt>
                <c:pt idx="49">
                  <c:v>2064951</c:v>
                </c:pt>
                <c:pt idx="50">
                  <c:v>2059018</c:v>
                </c:pt>
                <c:pt idx="51">
                  <c:v>2044272</c:v>
                </c:pt>
                <c:pt idx="52">
                  <c:v>2027755</c:v>
                </c:pt>
                <c:pt idx="53">
                  <c:v>2017580</c:v>
                </c:pt>
                <c:pt idx="54">
                  <c:v>2025652</c:v>
                </c:pt>
                <c:pt idx="55">
                  <c:v>2029593</c:v>
                </c:pt>
                <c:pt idx="56">
                  <c:v>2032460</c:v>
                </c:pt>
                <c:pt idx="57">
                  <c:v>2047724</c:v>
                </c:pt>
                <c:pt idx="58">
                  <c:v>2067884</c:v>
                </c:pt>
                <c:pt idx="59">
                  <c:v>2079183</c:v>
                </c:pt>
                <c:pt idx="60">
                  <c:v>2052973</c:v>
                </c:pt>
                <c:pt idx="61">
                  <c:v>2054428</c:v>
                </c:pt>
                <c:pt idx="62">
                  <c:v>2069385</c:v>
                </c:pt>
                <c:pt idx="63">
                  <c:v>2079060</c:v>
                </c:pt>
                <c:pt idx="64">
                  <c:v>2167584</c:v>
                </c:pt>
                <c:pt idx="65">
                  <c:v>2204317</c:v>
                </c:pt>
                <c:pt idx="66">
                  <c:v>2195835</c:v>
                </c:pt>
                <c:pt idx="67">
                  <c:v>2189885</c:v>
                </c:pt>
                <c:pt idx="68">
                  <c:v>2180141</c:v>
                </c:pt>
                <c:pt idx="69">
                  <c:v>2170911</c:v>
                </c:pt>
                <c:pt idx="70">
                  <c:v>2172506</c:v>
                </c:pt>
                <c:pt idx="71">
                  <c:v>2174746</c:v>
                </c:pt>
                <c:pt idx="72">
                  <c:v>2160308</c:v>
                </c:pt>
                <c:pt idx="73">
                  <c:v>2144949</c:v>
                </c:pt>
                <c:pt idx="74">
                  <c:v>2140731</c:v>
                </c:pt>
                <c:pt idx="75">
                  <c:v>2150658</c:v>
                </c:pt>
                <c:pt idx="76">
                  <c:v>2148261</c:v>
                </c:pt>
                <c:pt idx="77">
                  <c:v>2134841</c:v>
                </c:pt>
                <c:pt idx="78">
                  <c:v>2103998</c:v>
                </c:pt>
                <c:pt idx="79">
                  <c:v>2096634</c:v>
                </c:pt>
                <c:pt idx="80">
                  <c:v>2042988</c:v>
                </c:pt>
                <c:pt idx="81">
                  <c:v>1980923</c:v>
                </c:pt>
                <c:pt idx="82">
                  <c:v>1979880</c:v>
                </c:pt>
                <c:pt idx="83">
                  <c:v>1978483</c:v>
                </c:pt>
                <c:pt idx="84">
                  <c:v>1976737</c:v>
                </c:pt>
                <c:pt idx="85">
                  <c:v>1977739</c:v>
                </c:pt>
                <c:pt idx="86">
                  <c:v>1976379</c:v>
                </c:pt>
                <c:pt idx="87">
                  <c:v>1972163</c:v>
                </c:pt>
                <c:pt idx="88">
                  <c:v>1965437</c:v>
                </c:pt>
                <c:pt idx="89">
                  <c:v>1971708</c:v>
                </c:pt>
                <c:pt idx="90">
                  <c:v>1984938</c:v>
                </c:pt>
                <c:pt idx="91">
                  <c:v>2001868</c:v>
                </c:pt>
                <c:pt idx="92">
                  <c:v>2008682</c:v>
                </c:pt>
                <c:pt idx="93">
                  <c:v>2003659</c:v>
                </c:pt>
                <c:pt idx="94">
                  <c:v>2007789</c:v>
                </c:pt>
                <c:pt idx="95">
                  <c:v>2021907</c:v>
                </c:pt>
                <c:pt idx="96">
                  <c:v>2031898</c:v>
                </c:pt>
                <c:pt idx="97">
                  <c:v>2036389</c:v>
                </c:pt>
                <c:pt idx="98">
                  <c:v>2076253</c:v>
                </c:pt>
                <c:pt idx="99">
                  <c:v>2089637</c:v>
                </c:pt>
                <c:pt idx="100">
                  <c:v>2110504</c:v>
                </c:pt>
                <c:pt idx="101">
                  <c:v>2109294</c:v>
                </c:pt>
                <c:pt idx="102">
                  <c:v>2070398</c:v>
                </c:pt>
                <c:pt idx="103">
                  <c:v>2058896</c:v>
                </c:pt>
                <c:pt idx="104">
                  <c:v>2066813</c:v>
                </c:pt>
                <c:pt idx="105">
                  <c:v>2055234</c:v>
                </c:pt>
                <c:pt idx="106">
                  <c:v>2053437</c:v>
                </c:pt>
                <c:pt idx="107">
                  <c:v>2046731</c:v>
                </c:pt>
                <c:pt idx="108">
                  <c:v>2044761</c:v>
                </c:pt>
                <c:pt idx="109">
                  <c:v>2050723</c:v>
                </c:pt>
                <c:pt idx="110">
                  <c:v>2084152</c:v>
                </c:pt>
                <c:pt idx="111">
                  <c:v>2097004</c:v>
                </c:pt>
                <c:pt idx="112">
                  <c:v>2082788</c:v>
                </c:pt>
                <c:pt idx="113">
                  <c:v>2100555</c:v>
                </c:pt>
                <c:pt idx="114">
                  <c:v>2135185</c:v>
                </c:pt>
                <c:pt idx="115">
                  <c:v>2137345</c:v>
                </c:pt>
                <c:pt idx="116">
                  <c:v>2129524</c:v>
                </c:pt>
                <c:pt idx="117">
                  <c:v>2121298</c:v>
                </c:pt>
                <c:pt idx="118">
                  <c:v>2115508</c:v>
                </c:pt>
                <c:pt idx="119">
                  <c:v>2108155</c:v>
                </c:pt>
                <c:pt idx="120">
                  <c:v>2097052</c:v>
                </c:pt>
                <c:pt idx="121">
                  <c:v>2092438</c:v>
                </c:pt>
                <c:pt idx="122">
                  <c:v>2087482</c:v>
                </c:pt>
                <c:pt idx="123">
                  <c:v>2079910</c:v>
                </c:pt>
                <c:pt idx="124">
                  <c:v>2082527</c:v>
                </c:pt>
                <c:pt idx="125">
                  <c:v>2084400</c:v>
                </c:pt>
                <c:pt idx="126">
                  <c:v>2096511</c:v>
                </c:pt>
                <c:pt idx="127">
                  <c:v>2096511</c:v>
                </c:pt>
                <c:pt idx="128">
                  <c:v>2096904</c:v>
                </c:pt>
                <c:pt idx="129">
                  <c:v>2074007</c:v>
                </c:pt>
                <c:pt idx="130">
                  <c:v>2053196</c:v>
                </c:pt>
                <c:pt idx="131">
                  <c:v>2048989</c:v>
                </c:pt>
                <c:pt idx="132">
                  <c:v>2025478</c:v>
                </c:pt>
                <c:pt idx="133">
                  <c:v>2006208</c:v>
                </c:pt>
                <c:pt idx="134">
                  <c:v>1992170</c:v>
                </c:pt>
                <c:pt idx="135">
                  <c:v>1978784</c:v>
                </c:pt>
                <c:pt idx="136">
                  <c:v>1957390</c:v>
                </c:pt>
                <c:pt idx="137">
                  <c:v>1979669</c:v>
                </c:pt>
                <c:pt idx="138">
                  <c:v>2009387</c:v>
                </c:pt>
                <c:pt idx="139">
                  <c:v>2032976</c:v>
                </c:pt>
                <c:pt idx="140">
                  <c:v>2032073</c:v>
                </c:pt>
                <c:pt idx="141">
                  <c:v>2035843</c:v>
                </c:pt>
                <c:pt idx="142">
                  <c:v>2039024</c:v>
                </c:pt>
                <c:pt idx="143">
                  <c:v>2011256</c:v>
                </c:pt>
                <c:pt idx="144">
                  <c:v>1996245</c:v>
                </c:pt>
                <c:pt idx="145">
                  <c:v>2002443</c:v>
                </c:pt>
                <c:pt idx="146">
                  <c:v>1994824</c:v>
                </c:pt>
                <c:pt idx="147">
                  <c:v>2028832</c:v>
                </c:pt>
                <c:pt idx="148">
                  <c:v>2062024</c:v>
                </c:pt>
                <c:pt idx="149">
                  <c:v>2095816</c:v>
                </c:pt>
                <c:pt idx="150">
                  <c:v>2102838</c:v>
                </c:pt>
                <c:pt idx="151">
                  <c:v>2115668</c:v>
                </c:pt>
                <c:pt idx="152">
                  <c:v>2161910</c:v>
                </c:pt>
                <c:pt idx="153">
                  <c:v>2180050</c:v>
                </c:pt>
                <c:pt idx="154">
                  <c:v>2222932</c:v>
                </c:pt>
                <c:pt idx="155">
                  <c:v>2238682</c:v>
                </c:pt>
                <c:pt idx="156">
                  <c:v>2226600</c:v>
                </c:pt>
                <c:pt idx="157">
                  <c:v>2250154</c:v>
                </c:pt>
                <c:pt idx="158">
                  <c:v>2298691</c:v>
                </c:pt>
                <c:pt idx="159">
                  <c:v>2356375</c:v>
                </c:pt>
                <c:pt idx="160">
                  <c:v>2379482</c:v>
                </c:pt>
                <c:pt idx="161">
                  <c:v>2389888</c:v>
                </c:pt>
                <c:pt idx="162">
                  <c:v>2380106</c:v>
                </c:pt>
                <c:pt idx="163">
                  <c:v>2366955</c:v>
                </c:pt>
                <c:pt idx="164">
                  <c:v>2427542</c:v>
                </c:pt>
                <c:pt idx="165">
                  <c:v>2456079</c:v>
                </c:pt>
                <c:pt idx="166">
                  <c:v>2469568</c:v>
                </c:pt>
                <c:pt idx="167">
                  <c:v>2439591</c:v>
                </c:pt>
                <c:pt idx="168">
                  <c:v>2425442</c:v>
                </c:pt>
                <c:pt idx="169">
                  <c:v>2478504</c:v>
                </c:pt>
                <c:pt idx="170">
                  <c:v>2491542</c:v>
                </c:pt>
                <c:pt idx="171">
                  <c:v>2516845</c:v>
                </c:pt>
                <c:pt idx="172">
                  <c:v>2574098</c:v>
                </c:pt>
                <c:pt idx="173">
                  <c:v>2623434</c:v>
                </c:pt>
                <c:pt idx="174">
                  <c:v>2652093</c:v>
                </c:pt>
                <c:pt idx="175">
                  <c:v>2639684</c:v>
                </c:pt>
                <c:pt idx="176">
                  <c:v>2644410</c:v>
                </c:pt>
                <c:pt idx="177">
                  <c:v>2699211</c:v>
                </c:pt>
                <c:pt idx="178">
                  <c:v>2721502</c:v>
                </c:pt>
                <c:pt idx="179">
                  <c:v>2751520</c:v>
                </c:pt>
                <c:pt idx="180">
                  <c:v>2796190</c:v>
                </c:pt>
                <c:pt idx="181">
                  <c:v>2795212</c:v>
                </c:pt>
                <c:pt idx="182">
                  <c:v>2778027</c:v>
                </c:pt>
                <c:pt idx="183">
                  <c:v>2734741</c:v>
                </c:pt>
                <c:pt idx="184">
                  <c:v>2693982</c:v>
                </c:pt>
                <c:pt idx="185">
                  <c:v>2715490</c:v>
                </c:pt>
                <c:pt idx="186">
                  <c:v>2740607</c:v>
                </c:pt>
                <c:pt idx="187">
                  <c:v>2799386</c:v>
                </c:pt>
                <c:pt idx="188">
                  <c:v>2817244</c:v>
                </c:pt>
                <c:pt idx="189">
                  <c:v>2823409</c:v>
                </c:pt>
                <c:pt idx="190">
                  <c:v>2872579</c:v>
                </c:pt>
                <c:pt idx="191">
                  <c:v>2896203</c:v>
                </c:pt>
                <c:pt idx="192">
                  <c:v>2866267</c:v>
                </c:pt>
                <c:pt idx="193">
                  <c:v>2807254</c:v>
                </c:pt>
                <c:pt idx="194">
                  <c:v>2817113</c:v>
                </c:pt>
                <c:pt idx="195">
                  <c:v>2817267</c:v>
                </c:pt>
                <c:pt idx="196">
                  <c:v>2783702</c:v>
                </c:pt>
                <c:pt idx="197">
                  <c:v>2769927</c:v>
                </c:pt>
                <c:pt idx="198">
                  <c:v>2731614</c:v>
                </c:pt>
                <c:pt idx="199">
                  <c:v>2732953</c:v>
                </c:pt>
                <c:pt idx="200">
                  <c:v>2782617</c:v>
                </c:pt>
                <c:pt idx="201">
                  <c:v>2805229</c:v>
                </c:pt>
                <c:pt idx="202">
                  <c:v>2788054</c:v>
                </c:pt>
                <c:pt idx="203">
                  <c:v>2773921</c:v>
                </c:pt>
                <c:pt idx="204">
                  <c:v>2768808</c:v>
                </c:pt>
                <c:pt idx="205">
                  <c:v>2734448</c:v>
                </c:pt>
                <c:pt idx="206">
                  <c:v>2747239</c:v>
                </c:pt>
                <c:pt idx="207">
                  <c:v>2752309</c:v>
                </c:pt>
                <c:pt idx="208">
                  <c:v>2777494</c:v>
                </c:pt>
                <c:pt idx="209">
                  <c:v>2777675</c:v>
                </c:pt>
                <c:pt idx="210">
                  <c:v>2792125</c:v>
                </c:pt>
                <c:pt idx="211">
                  <c:v>2756888</c:v>
                </c:pt>
                <c:pt idx="212">
                  <c:v>2701061</c:v>
                </c:pt>
                <c:pt idx="213">
                  <c:v>2654932</c:v>
                </c:pt>
                <c:pt idx="214">
                  <c:v>2674467</c:v>
                </c:pt>
                <c:pt idx="215">
                  <c:v>2689682</c:v>
                </c:pt>
                <c:pt idx="216">
                  <c:v>2699899</c:v>
                </c:pt>
                <c:pt idx="217">
                  <c:v>2680330</c:v>
                </c:pt>
                <c:pt idx="218">
                  <c:v>2699383</c:v>
                </c:pt>
                <c:pt idx="219">
                  <c:v>2753270</c:v>
                </c:pt>
                <c:pt idx="220">
                  <c:v>2798748</c:v>
                </c:pt>
                <c:pt idx="221">
                  <c:v>2797277</c:v>
                </c:pt>
                <c:pt idx="222">
                  <c:v>2805109</c:v>
                </c:pt>
                <c:pt idx="223">
                  <c:v>2819625</c:v>
                </c:pt>
                <c:pt idx="224">
                  <c:v>2763129</c:v>
                </c:pt>
                <c:pt idx="225">
                  <c:v>2754840</c:v>
                </c:pt>
                <c:pt idx="226">
                  <c:v>2739735</c:v>
                </c:pt>
                <c:pt idx="227">
                  <c:v>2705275</c:v>
                </c:pt>
                <c:pt idx="228">
                  <c:v>2669165</c:v>
                </c:pt>
                <c:pt idx="229">
                  <c:v>2669424</c:v>
                </c:pt>
                <c:pt idx="230">
                  <c:v>2634788</c:v>
                </c:pt>
                <c:pt idx="231">
                  <c:v>26397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9761-4713-B01A-CEE7D75503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7119583"/>
        <c:axId val="167128735"/>
      </c:lineChart>
      <c:catAx>
        <c:axId val="1671195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67128735"/>
        <c:crosses val="autoZero"/>
        <c:auto val="1"/>
        <c:lblAlgn val="ctr"/>
        <c:lblOffset val="100"/>
        <c:noMultiLvlLbl val="0"/>
      </c:catAx>
      <c:valAx>
        <c:axId val="167128735"/>
        <c:scaling>
          <c:orientation val="minMax"/>
          <c:min val="1500000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167119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/>
              <a:t>ورود پول (میلیون ریال)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Overall!$K$1</c:f>
              <c:strCache>
                <c:ptCount val="1"/>
                <c:pt idx="0">
                  <c:v>خالص حقیقی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verall!$I$23:$I$52</c:f>
              <c:strCache>
                <c:ptCount val="30"/>
                <c:pt idx="0">
                  <c:v> هفته منتهی به  1403/06/02 </c:v>
                </c:pt>
                <c:pt idx="1">
                  <c:v> هفته منتهی به  1403/06/09 </c:v>
                </c:pt>
                <c:pt idx="2">
                  <c:v> هفته منتهی به  1403/06/16 </c:v>
                </c:pt>
                <c:pt idx="3">
                  <c:v> هفته منتهی به  1403/06/23 </c:v>
                </c:pt>
                <c:pt idx="4">
                  <c:v> هفته منتهی به  1403/06/30 </c:v>
                </c:pt>
                <c:pt idx="5">
                  <c:v> هفته منتهی به  1403/07/06 </c:v>
                </c:pt>
                <c:pt idx="6">
                  <c:v> هفته منتهی به  1403/07/13 </c:v>
                </c:pt>
                <c:pt idx="7">
                  <c:v> هفته منتهی به  1403/07/20 </c:v>
                </c:pt>
                <c:pt idx="8">
                  <c:v> هفته منتهی به  1403/07/27 </c:v>
                </c:pt>
                <c:pt idx="9">
                  <c:v> هفته منتهی به  1403/08/04 </c:v>
                </c:pt>
                <c:pt idx="10">
                  <c:v> هفته منتهی به  1403/08/11 </c:v>
                </c:pt>
                <c:pt idx="11">
                  <c:v> هفته منتهی به  1403/08/18 </c:v>
                </c:pt>
                <c:pt idx="12">
                  <c:v> هفته منتهی به  1403/08/25 </c:v>
                </c:pt>
                <c:pt idx="13">
                  <c:v> هفته منتهی به  1403/09/01 </c:v>
                </c:pt>
                <c:pt idx="14">
                  <c:v> هفته منتهی به  1403/09/07 </c:v>
                </c:pt>
                <c:pt idx="15">
                  <c:v> هفته منتهی به  1403/09/14 </c:v>
                </c:pt>
                <c:pt idx="16">
                  <c:v> هفته منتهی به  1403/09/21 </c:v>
                </c:pt>
                <c:pt idx="17">
                  <c:v> هفته منتهی به  1403/09/28 </c:v>
                </c:pt>
                <c:pt idx="18">
                  <c:v> هفته منتهی به  1403/10/07 </c:v>
                </c:pt>
                <c:pt idx="19">
                  <c:v> هفته منتهی به  1403/10/14 </c:v>
                </c:pt>
                <c:pt idx="20">
                  <c:v> هفته منتهی به  1403/10/21 </c:v>
                </c:pt>
                <c:pt idx="21">
                  <c:v> هفته منتهی به  1403/10/28 </c:v>
                </c:pt>
                <c:pt idx="22">
                  <c:v> هفته منتهی به  1403/11/05 </c:v>
                </c:pt>
                <c:pt idx="23">
                  <c:v> هفته منتهی به  1403/11/12 </c:v>
                </c:pt>
                <c:pt idx="24">
                  <c:v> هفته منتهی به  1403/11/19 </c:v>
                </c:pt>
                <c:pt idx="25">
                  <c:v> هفته منتهی به  1403/11/26 </c:v>
                </c:pt>
                <c:pt idx="26">
                  <c:v> هفته منتهی به  1403/12/03 </c:v>
                </c:pt>
                <c:pt idx="27">
                  <c:v> هفته منتهی به  1403/12/10 </c:v>
                </c:pt>
                <c:pt idx="28">
                  <c:v> هفته منتهی به  1403/12/17 </c:v>
                </c:pt>
                <c:pt idx="29">
                  <c:v> هفته منتهی به  1403/12/24 </c:v>
                </c:pt>
              </c:strCache>
            </c:strRef>
          </c:cat>
          <c:val>
            <c:numRef>
              <c:f>Overall!$K$23:$K$52</c:f>
              <c:numCache>
                <c:formatCode>_(* #,##0_);_(* \(#,##0\);_(* "-"??_);_(@_)</c:formatCode>
                <c:ptCount val="30"/>
                <c:pt idx="0">
                  <c:v>219930.9498</c:v>
                </c:pt>
                <c:pt idx="1">
                  <c:v>-45528.77016</c:v>
                </c:pt>
                <c:pt idx="2">
                  <c:v>-156875.4811</c:v>
                </c:pt>
                <c:pt idx="3">
                  <c:v>-129326.75047</c:v>
                </c:pt>
                <c:pt idx="4">
                  <c:v>347667.03967000003</c:v>
                </c:pt>
                <c:pt idx="5">
                  <c:v>681369.96958999999</c:v>
                </c:pt>
                <c:pt idx="6">
                  <c:v>-1702908.7395899999</c:v>
                </c:pt>
                <c:pt idx="7">
                  <c:v>-1127758.5263799999</c:v>
                </c:pt>
                <c:pt idx="8">
                  <c:v>-999478.65914999996</c:v>
                </c:pt>
                <c:pt idx="9">
                  <c:v>-890059.57082999998</c:v>
                </c:pt>
                <c:pt idx="10">
                  <c:v>-515097.17991000001</c:v>
                </c:pt>
                <c:pt idx="11">
                  <c:v>-25969.039130000001</c:v>
                </c:pt>
                <c:pt idx="12">
                  <c:v>-508770.51254000003</c:v>
                </c:pt>
                <c:pt idx="13">
                  <c:v>-1619.75505</c:v>
                </c:pt>
                <c:pt idx="14">
                  <c:v>109375.46313400001</c:v>
                </c:pt>
                <c:pt idx="15">
                  <c:v>-74806.777461666672</c:v>
                </c:pt>
                <c:pt idx="16">
                  <c:v>-48558.969871666661</c:v>
                </c:pt>
                <c:pt idx="17">
                  <c:v>-70457.009184285722</c:v>
                </c:pt>
                <c:pt idx="18">
                  <c:v>-74748.285069999998</c:v>
                </c:pt>
                <c:pt idx="19">
                  <c:v>-197786.23697599999</c:v>
                </c:pt>
                <c:pt idx="20">
                  <c:v>-4253.8820539999997</c:v>
                </c:pt>
                <c:pt idx="21">
                  <c:v>-214064.06586</c:v>
                </c:pt>
                <c:pt idx="22">
                  <c:v>-257759.075048</c:v>
                </c:pt>
                <c:pt idx="23">
                  <c:v>-135328.692175</c:v>
                </c:pt>
                <c:pt idx="24">
                  <c:v>-108925.73809</c:v>
                </c:pt>
                <c:pt idx="25">
                  <c:v>-78477.147989999998</c:v>
                </c:pt>
                <c:pt idx="26">
                  <c:v>-63206.617109999999</c:v>
                </c:pt>
                <c:pt idx="27">
                  <c:v>261554.07180999999</c:v>
                </c:pt>
                <c:pt idx="28">
                  <c:v>238717.66835600001</c:v>
                </c:pt>
                <c:pt idx="29">
                  <c:v>-306753.951614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E3-4986-AA1F-FA75DDC3DB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1195008"/>
        <c:axId val="381189184"/>
      </c:barChart>
      <c:catAx>
        <c:axId val="38119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81189184"/>
        <c:crosses val="autoZero"/>
        <c:auto val="1"/>
        <c:lblAlgn val="ctr"/>
        <c:lblOffset val="100"/>
        <c:noMultiLvlLbl val="0"/>
      </c:catAx>
      <c:valAx>
        <c:axId val="381189184"/>
        <c:scaling>
          <c:orientation val="minMax"/>
          <c:max val="2000000"/>
          <c:min val="-3000000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38119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ماهانه!$N$5</c:f>
              <c:strCache>
                <c:ptCount val="1"/>
                <c:pt idx="0">
                  <c:v>حجم عرض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ماهانه!$M$6:$M$43</c:f>
              <c:strCache>
                <c:ptCount val="36"/>
                <c:pt idx="0">
                  <c:v>1401/01</c:v>
                </c:pt>
                <c:pt idx="1">
                  <c:v>1401/02</c:v>
                </c:pt>
                <c:pt idx="2">
                  <c:v>1401/03</c:v>
                </c:pt>
                <c:pt idx="3">
                  <c:v>1401/04</c:v>
                </c:pt>
                <c:pt idx="4">
                  <c:v>1401/05</c:v>
                </c:pt>
                <c:pt idx="5">
                  <c:v>1401/06</c:v>
                </c:pt>
                <c:pt idx="6">
                  <c:v>1401/07</c:v>
                </c:pt>
                <c:pt idx="7">
                  <c:v>1401/08</c:v>
                </c:pt>
                <c:pt idx="8">
                  <c:v>1401/09</c:v>
                </c:pt>
                <c:pt idx="9">
                  <c:v>1401/10</c:v>
                </c:pt>
                <c:pt idx="10">
                  <c:v>1401/11</c:v>
                </c:pt>
                <c:pt idx="11">
                  <c:v>1401/12</c:v>
                </c:pt>
                <c:pt idx="12">
                  <c:v>1402/01</c:v>
                </c:pt>
                <c:pt idx="13">
                  <c:v>1402/02</c:v>
                </c:pt>
                <c:pt idx="14">
                  <c:v>1402/03</c:v>
                </c:pt>
                <c:pt idx="15">
                  <c:v>1402/04</c:v>
                </c:pt>
                <c:pt idx="16">
                  <c:v>1402/05</c:v>
                </c:pt>
                <c:pt idx="17">
                  <c:v>1402/06</c:v>
                </c:pt>
                <c:pt idx="18">
                  <c:v>1402/07</c:v>
                </c:pt>
                <c:pt idx="19">
                  <c:v>1402/08</c:v>
                </c:pt>
                <c:pt idx="20">
                  <c:v>1402/09</c:v>
                </c:pt>
                <c:pt idx="21">
                  <c:v>1402/10</c:v>
                </c:pt>
                <c:pt idx="22">
                  <c:v>1402/11</c:v>
                </c:pt>
                <c:pt idx="23">
                  <c:v>1402/12</c:v>
                </c:pt>
                <c:pt idx="24">
                  <c:v>1403/01</c:v>
                </c:pt>
                <c:pt idx="25">
                  <c:v>1403/02</c:v>
                </c:pt>
                <c:pt idx="26">
                  <c:v>1403/03</c:v>
                </c:pt>
                <c:pt idx="27">
                  <c:v>1403/04</c:v>
                </c:pt>
                <c:pt idx="28">
                  <c:v>1403/05</c:v>
                </c:pt>
                <c:pt idx="29">
                  <c:v>1403/06</c:v>
                </c:pt>
                <c:pt idx="30">
                  <c:v>1403/07</c:v>
                </c:pt>
                <c:pt idx="31">
                  <c:v>1403/08</c:v>
                </c:pt>
                <c:pt idx="32">
                  <c:v>1403/09</c:v>
                </c:pt>
                <c:pt idx="33">
                  <c:v>1403/10</c:v>
                </c:pt>
                <c:pt idx="34">
                  <c:v>1403/11</c:v>
                </c:pt>
                <c:pt idx="35">
                  <c:v>1403/12</c:v>
                </c:pt>
              </c:strCache>
            </c:strRef>
          </c:cat>
          <c:val>
            <c:numRef>
              <c:f>ماهانه!$N$6:$N$43</c:f>
              <c:numCache>
                <c:formatCode>#,##0</c:formatCode>
                <c:ptCount val="38"/>
                <c:pt idx="0">
                  <c:v>15000</c:v>
                </c:pt>
                <c:pt idx="1">
                  <c:v>22000</c:v>
                </c:pt>
                <c:pt idx="2">
                  <c:v>21000</c:v>
                </c:pt>
                <c:pt idx="3">
                  <c:v>16000</c:v>
                </c:pt>
                <c:pt idx="4">
                  <c:v>16000</c:v>
                </c:pt>
                <c:pt idx="5">
                  <c:v>16000</c:v>
                </c:pt>
                <c:pt idx="6">
                  <c:v>12000</c:v>
                </c:pt>
                <c:pt idx="7">
                  <c:v>20000</c:v>
                </c:pt>
                <c:pt idx="8">
                  <c:v>15000</c:v>
                </c:pt>
                <c:pt idx="9">
                  <c:v>16000</c:v>
                </c:pt>
                <c:pt idx="10">
                  <c:v>14500</c:v>
                </c:pt>
                <c:pt idx="11">
                  <c:v>17500</c:v>
                </c:pt>
                <c:pt idx="12">
                  <c:v>20000</c:v>
                </c:pt>
                <c:pt idx="13">
                  <c:v>32000</c:v>
                </c:pt>
                <c:pt idx="14">
                  <c:v>15000</c:v>
                </c:pt>
                <c:pt idx="15">
                  <c:v>20000</c:v>
                </c:pt>
                <c:pt idx="16">
                  <c:v>16000</c:v>
                </c:pt>
                <c:pt idx="17">
                  <c:v>13400</c:v>
                </c:pt>
                <c:pt idx="18">
                  <c:v>21500</c:v>
                </c:pt>
                <c:pt idx="19">
                  <c:v>17000</c:v>
                </c:pt>
                <c:pt idx="20">
                  <c:v>15800</c:v>
                </c:pt>
                <c:pt idx="21">
                  <c:v>16000</c:v>
                </c:pt>
                <c:pt idx="22">
                  <c:v>20000</c:v>
                </c:pt>
                <c:pt idx="23">
                  <c:v>17000</c:v>
                </c:pt>
                <c:pt idx="24">
                  <c:v>9500</c:v>
                </c:pt>
                <c:pt idx="25">
                  <c:v>19200</c:v>
                </c:pt>
                <c:pt idx="26">
                  <c:v>10000</c:v>
                </c:pt>
                <c:pt idx="27">
                  <c:v>18000</c:v>
                </c:pt>
                <c:pt idx="28">
                  <c:v>15000</c:v>
                </c:pt>
                <c:pt idx="29">
                  <c:v>16500</c:v>
                </c:pt>
                <c:pt idx="30">
                  <c:v>22000</c:v>
                </c:pt>
                <c:pt idx="31">
                  <c:v>22500</c:v>
                </c:pt>
                <c:pt idx="32">
                  <c:v>14000</c:v>
                </c:pt>
                <c:pt idx="33">
                  <c:v>17040</c:v>
                </c:pt>
                <c:pt idx="34">
                  <c:v>18000</c:v>
                </c:pt>
                <c:pt idx="35">
                  <c:v>6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9D-4D42-877A-D32EB99B977A}"/>
            </c:ext>
          </c:extLst>
        </c:ser>
        <c:ser>
          <c:idx val="1"/>
          <c:order val="1"/>
          <c:tx>
            <c:strRef>
              <c:f>ماهانه!$O$5</c:f>
              <c:strCache>
                <c:ptCount val="1"/>
                <c:pt idx="0">
                  <c:v>حجم تقاضا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ماهانه!$M$6:$M$43</c:f>
              <c:strCache>
                <c:ptCount val="36"/>
                <c:pt idx="0">
                  <c:v>1401/01</c:v>
                </c:pt>
                <c:pt idx="1">
                  <c:v>1401/02</c:v>
                </c:pt>
                <c:pt idx="2">
                  <c:v>1401/03</c:v>
                </c:pt>
                <c:pt idx="3">
                  <c:v>1401/04</c:v>
                </c:pt>
                <c:pt idx="4">
                  <c:v>1401/05</c:v>
                </c:pt>
                <c:pt idx="5">
                  <c:v>1401/06</c:v>
                </c:pt>
                <c:pt idx="6">
                  <c:v>1401/07</c:v>
                </c:pt>
                <c:pt idx="7">
                  <c:v>1401/08</c:v>
                </c:pt>
                <c:pt idx="8">
                  <c:v>1401/09</c:v>
                </c:pt>
                <c:pt idx="9">
                  <c:v>1401/10</c:v>
                </c:pt>
                <c:pt idx="10">
                  <c:v>1401/11</c:v>
                </c:pt>
                <c:pt idx="11">
                  <c:v>1401/12</c:v>
                </c:pt>
                <c:pt idx="12">
                  <c:v>1402/01</c:v>
                </c:pt>
                <c:pt idx="13">
                  <c:v>1402/02</c:v>
                </c:pt>
                <c:pt idx="14">
                  <c:v>1402/03</c:v>
                </c:pt>
                <c:pt idx="15">
                  <c:v>1402/04</c:v>
                </c:pt>
                <c:pt idx="16">
                  <c:v>1402/05</c:v>
                </c:pt>
                <c:pt idx="17">
                  <c:v>1402/06</c:v>
                </c:pt>
                <c:pt idx="18">
                  <c:v>1402/07</c:v>
                </c:pt>
                <c:pt idx="19">
                  <c:v>1402/08</c:v>
                </c:pt>
                <c:pt idx="20">
                  <c:v>1402/09</c:v>
                </c:pt>
                <c:pt idx="21">
                  <c:v>1402/10</c:v>
                </c:pt>
                <c:pt idx="22">
                  <c:v>1402/11</c:v>
                </c:pt>
                <c:pt idx="23">
                  <c:v>1402/12</c:v>
                </c:pt>
                <c:pt idx="24">
                  <c:v>1403/01</c:v>
                </c:pt>
                <c:pt idx="25">
                  <c:v>1403/02</c:v>
                </c:pt>
                <c:pt idx="26">
                  <c:v>1403/03</c:v>
                </c:pt>
                <c:pt idx="27">
                  <c:v>1403/04</c:v>
                </c:pt>
                <c:pt idx="28">
                  <c:v>1403/05</c:v>
                </c:pt>
                <c:pt idx="29">
                  <c:v>1403/06</c:v>
                </c:pt>
                <c:pt idx="30">
                  <c:v>1403/07</c:v>
                </c:pt>
                <c:pt idx="31">
                  <c:v>1403/08</c:v>
                </c:pt>
                <c:pt idx="32">
                  <c:v>1403/09</c:v>
                </c:pt>
                <c:pt idx="33">
                  <c:v>1403/10</c:v>
                </c:pt>
                <c:pt idx="34">
                  <c:v>1403/11</c:v>
                </c:pt>
                <c:pt idx="35">
                  <c:v>1403/12</c:v>
                </c:pt>
              </c:strCache>
            </c:strRef>
          </c:cat>
          <c:val>
            <c:numRef>
              <c:f>ماهانه!$O$6:$O$43</c:f>
              <c:numCache>
                <c:formatCode>#,##0</c:formatCode>
                <c:ptCount val="38"/>
                <c:pt idx="0">
                  <c:v>20080</c:v>
                </c:pt>
                <c:pt idx="1">
                  <c:v>25080</c:v>
                </c:pt>
                <c:pt idx="2">
                  <c:v>50080</c:v>
                </c:pt>
                <c:pt idx="3">
                  <c:v>28880</c:v>
                </c:pt>
                <c:pt idx="4">
                  <c:v>25100</c:v>
                </c:pt>
                <c:pt idx="5">
                  <c:v>22980</c:v>
                </c:pt>
                <c:pt idx="6">
                  <c:v>15440</c:v>
                </c:pt>
                <c:pt idx="7">
                  <c:v>27560</c:v>
                </c:pt>
                <c:pt idx="8">
                  <c:v>22520</c:v>
                </c:pt>
                <c:pt idx="9">
                  <c:v>16480</c:v>
                </c:pt>
                <c:pt idx="10">
                  <c:v>20860</c:v>
                </c:pt>
                <c:pt idx="11">
                  <c:v>29600</c:v>
                </c:pt>
                <c:pt idx="12">
                  <c:v>27840</c:v>
                </c:pt>
                <c:pt idx="13">
                  <c:v>48040</c:v>
                </c:pt>
                <c:pt idx="14">
                  <c:v>19220</c:v>
                </c:pt>
                <c:pt idx="15">
                  <c:v>34000</c:v>
                </c:pt>
                <c:pt idx="16">
                  <c:v>22380</c:v>
                </c:pt>
                <c:pt idx="17">
                  <c:v>17880</c:v>
                </c:pt>
                <c:pt idx="18">
                  <c:v>28760</c:v>
                </c:pt>
                <c:pt idx="19">
                  <c:v>22740</c:v>
                </c:pt>
                <c:pt idx="20">
                  <c:v>17360</c:v>
                </c:pt>
                <c:pt idx="21">
                  <c:v>25920</c:v>
                </c:pt>
                <c:pt idx="22">
                  <c:v>31020</c:v>
                </c:pt>
                <c:pt idx="23">
                  <c:v>21260</c:v>
                </c:pt>
                <c:pt idx="24">
                  <c:v>16440</c:v>
                </c:pt>
                <c:pt idx="25">
                  <c:v>20340</c:v>
                </c:pt>
                <c:pt idx="26">
                  <c:v>11560</c:v>
                </c:pt>
                <c:pt idx="27">
                  <c:v>19480</c:v>
                </c:pt>
                <c:pt idx="28">
                  <c:v>14940</c:v>
                </c:pt>
                <c:pt idx="29">
                  <c:v>16580</c:v>
                </c:pt>
                <c:pt idx="30">
                  <c:v>25240</c:v>
                </c:pt>
                <c:pt idx="31">
                  <c:v>32500</c:v>
                </c:pt>
                <c:pt idx="32">
                  <c:v>19760</c:v>
                </c:pt>
                <c:pt idx="33">
                  <c:v>23540</c:v>
                </c:pt>
                <c:pt idx="34">
                  <c:v>28800</c:v>
                </c:pt>
                <c:pt idx="35">
                  <c:v>75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9D-4D42-877A-D32EB99B977A}"/>
            </c:ext>
          </c:extLst>
        </c:ser>
        <c:ser>
          <c:idx val="2"/>
          <c:order val="2"/>
          <c:tx>
            <c:strRef>
              <c:f>ماهانه!$P$5</c:f>
              <c:strCache>
                <c:ptCount val="1"/>
                <c:pt idx="0">
                  <c:v>حجم قرارداد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ماهانه!$M$6:$M$43</c:f>
              <c:strCache>
                <c:ptCount val="36"/>
                <c:pt idx="0">
                  <c:v>1401/01</c:v>
                </c:pt>
                <c:pt idx="1">
                  <c:v>1401/02</c:v>
                </c:pt>
                <c:pt idx="2">
                  <c:v>1401/03</c:v>
                </c:pt>
                <c:pt idx="3">
                  <c:v>1401/04</c:v>
                </c:pt>
                <c:pt idx="4">
                  <c:v>1401/05</c:v>
                </c:pt>
                <c:pt idx="5">
                  <c:v>1401/06</c:v>
                </c:pt>
                <c:pt idx="6">
                  <c:v>1401/07</c:v>
                </c:pt>
                <c:pt idx="7">
                  <c:v>1401/08</c:v>
                </c:pt>
                <c:pt idx="8">
                  <c:v>1401/09</c:v>
                </c:pt>
                <c:pt idx="9">
                  <c:v>1401/10</c:v>
                </c:pt>
                <c:pt idx="10">
                  <c:v>1401/11</c:v>
                </c:pt>
                <c:pt idx="11">
                  <c:v>1401/12</c:v>
                </c:pt>
                <c:pt idx="12">
                  <c:v>1402/01</c:v>
                </c:pt>
                <c:pt idx="13">
                  <c:v>1402/02</c:v>
                </c:pt>
                <c:pt idx="14">
                  <c:v>1402/03</c:v>
                </c:pt>
                <c:pt idx="15">
                  <c:v>1402/04</c:v>
                </c:pt>
                <c:pt idx="16">
                  <c:v>1402/05</c:v>
                </c:pt>
                <c:pt idx="17">
                  <c:v>1402/06</c:v>
                </c:pt>
                <c:pt idx="18">
                  <c:v>1402/07</c:v>
                </c:pt>
                <c:pt idx="19">
                  <c:v>1402/08</c:v>
                </c:pt>
                <c:pt idx="20">
                  <c:v>1402/09</c:v>
                </c:pt>
                <c:pt idx="21">
                  <c:v>1402/10</c:v>
                </c:pt>
                <c:pt idx="22">
                  <c:v>1402/11</c:v>
                </c:pt>
                <c:pt idx="23">
                  <c:v>1402/12</c:v>
                </c:pt>
                <c:pt idx="24">
                  <c:v>1403/01</c:v>
                </c:pt>
                <c:pt idx="25">
                  <c:v>1403/02</c:v>
                </c:pt>
                <c:pt idx="26">
                  <c:v>1403/03</c:v>
                </c:pt>
                <c:pt idx="27">
                  <c:v>1403/04</c:v>
                </c:pt>
                <c:pt idx="28">
                  <c:v>1403/05</c:v>
                </c:pt>
                <c:pt idx="29">
                  <c:v>1403/06</c:v>
                </c:pt>
                <c:pt idx="30">
                  <c:v>1403/07</c:v>
                </c:pt>
                <c:pt idx="31">
                  <c:v>1403/08</c:v>
                </c:pt>
                <c:pt idx="32">
                  <c:v>1403/09</c:v>
                </c:pt>
                <c:pt idx="33">
                  <c:v>1403/10</c:v>
                </c:pt>
                <c:pt idx="34">
                  <c:v>1403/11</c:v>
                </c:pt>
                <c:pt idx="35">
                  <c:v>1403/12</c:v>
                </c:pt>
              </c:strCache>
            </c:strRef>
          </c:cat>
          <c:val>
            <c:numRef>
              <c:f>ماهانه!$P$6:$P$43</c:f>
              <c:numCache>
                <c:formatCode>#,##0</c:formatCode>
                <c:ptCount val="38"/>
                <c:pt idx="0">
                  <c:v>11860</c:v>
                </c:pt>
                <c:pt idx="1">
                  <c:v>16040</c:v>
                </c:pt>
                <c:pt idx="2">
                  <c:v>21000</c:v>
                </c:pt>
                <c:pt idx="3">
                  <c:v>16000</c:v>
                </c:pt>
                <c:pt idx="4">
                  <c:v>16000</c:v>
                </c:pt>
                <c:pt idx="5">
                  <c:v>16000</c:v>
                </c:pt>
                <c:pt idx="6">
                  <c:v>12000</c:v>
                </c:pt>
                <c:pt idx="7">
                  <c:v>20000</c:v>
                </c:pt>
                <c:pt idx="8">
                  <c:v>13500</c:v>
                </c:pt>
                <c:pt idx="9">
                  <c:v>12660</c:v>
                </c:pt>
                <c:pt idx="10">
                  <c:v>14500</c:v>
                </c:pt>
                <c:pt idx="11">
                  <c:v>17500</c:v>
                </c:pt>
                <c:pt idx="12">
                  <c:v>20000</c:v>
                </c:pt>
                <c:pt idx="13">
                  <c:v>32000</c:v>
                </c:pt>
                <c:pt idx="14">
                  <c:v>15000</c:v>
                </c:pt>
                <c:pt idx="15">
                  <c:v>20000</c:v>
                </c:pt>
                <c:pt idx="16">
                  <c:v>16000</c:v>
                </c:pt>
                <c:pt idx="17">
                  <c:v>13400</c:v>
                </c:pt>
                <c:pt idx="18">
                  <c:v>21240</c:v>
                </c:pt>
                <c:pt idx="19">
                  <c:v>17000</c:v>
                </c:pt>
                <c:pt idx="20">
                  <c:v>15800</c:v>
                </c:pt>
                <c:pt idx="21">
                  <c:v>16000</c:v>
                </c:pt>
                <c:pt idx="22">
                  <c:v>20000</c:v>
                </c:pt>
                <c:pt idx="23">
                  <c:v>12680</c:v>
                </c:pt>
                <c:pt idx="24">
                  <c:v>9320</c:v>
                </c:pt>
                <c:pt idx="25">
                  <c:v>19200</c:v>
                </c:pt>
                <c:pt idx="26">
                  <c:v>9160</c:v>
                </c:pt>
                <c:pt idx="27">
                  <c:v>16940</c:v>
                </c:pt>
                <c:pt idx="28">
                  <c:v>14160</c:v>
                </c:pt>
                <c:pt idx="29">
                  <c:v>15700</c:v>
                </c:pt>
                <c:pt idx="30">
                  <c:v>22300</c:v>
                </c:pt>
                <c:pt idx="31">
                  <c:v>22500</c:v>
                </c:pt>
                <c:pt idx="32">
                  <c:v>14000</c:v>
                </c:pt>
                <c:pt idx="33">
                  <c:v>17040</c:v>
                </c:pt>
                <c:pt idx="34">
                  <c:v>18000</c:v>
                </c:pt>
                <c:pt idx="35">
                  <c:v>6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C9D-4D42-877A-D32EB99B97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73342552"/>
        <c:axId val="364013648"/>
      </c:barChart>
      <c:lineChart>
        <c:grouping val="standard"/>
        <c:varyColors val="0"/>
        <c:ser>
          <c:idx val="3"/>
          <c:order val="3"/>
          <c:tx>
            <c:strRef>
              <c:f>ماهانه!$Q$5</c:f>
              <c:strCache>
                <c:ptCount val="1"/>
                <c:pt idx="0">
                  <c:v>قیمت میانگین(پایه)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35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C9D-4D42-877A-D32EB99B97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ماهانه!$M$6:$M$43</c:f>
              <c:strCache>
                <c:ptCount val="36"/>
                <c:pt idx="0">
                  <c:v>1401/01</c:v>
                </c:pt>
                <c:pt idx="1">
                  <c:v>1401/02</c:v>
                </c:pt>
                <c:pt idx="2">
                  <c:v>1401/03</c:v>
                </c:pt>
                <c:pt idx="3">
                  <c:v>1401/04</c:v>
                </c:pt>
                <c:pt idx="4">
                  <c:v>1401/05</c:v>
                </c:pt>
                <c:pt idx="5">
                  <c:v>1401/06</c:v>
                </c:pt>
                <c:pt idx="6">
                  <c:v>1401/07</c:v>
                </c:pt>
                <c:pt idx="7">
                  <c:v>1401/08</c:v>
                </c:pt>
                <c:pt idx="8">
                  <c:v>1401/09</c:v>
                </c:pt>
                <c:pt idx="9">
                  <c:v>1401/10</c:v>
                </c:pt>
                <c:pt idx="10">
                  <c:v>1401/11</c:v>
                </c:pt>
                <c:pt idx="11">
                  <c:v>1401/12</c:v>
                </c:pt>
                <c:pt idx="12">
                  <c:v>1402/01</c:v>
                </c:pt>
                <c:pt idx="13">
                  <c:v>1402/02</c:v>
                </c:pt>
                <c:pt idx="14">
                  <c:v>1402/03</c:v>
                </c:pt>
                <c:pt idx="15">
                  <c:v>1402/04</c:v>
                </c:pt>
                <c:pt idx="16">
                  <c:v>1402/05</c:v>
                </c:pt>
                <c:pt idx="17">
                  <c:v>1402/06</c:v>
                </c:pt>
                <c:pt idx="18">
                  <c:v>1402/07</c:v>
                </c:pt>
                <c:pt idx="19">
                  <c:v>1402/08</c:v>
                </c:pt>
                <c:pt idx="20">
                  <c:v>1402/09</c:v>
                </c:pt>
                <c:pt idx="21">
                  <c:v>1402/10</c:v>
                </c:pt>
                <c:pt idx="22">
                  <c:v>1402/11</c:v>
                </c:pt>
                <c:pt idx="23">
                  <c:v>1402/12</c:v>
                </c:pt>
                <c:pt idx="24">
                  <c:v>1403/01</c:v>
                </c:pt>
                <c:pt idx="25">
                  <c:v>1403/02</c:v>
                </c:pt>
                <c:pt idx="26">
                  <c:v>1403/03</c:v>
                </c:pt>
                <c:pt idx="27">
                  <c:v>1403/04</c:v>
                </c:pt>
                <c:pt idx="28">
                  <c:v>1403/05</c:v>
                </c:pt>
                <c:pt idx="29">
                  <c:v>1403/06</c:v>
                </c:pt>
                <c:pt idx="30">
                  <c:v>1403/07</c:v>
                </c:pt>
                <c:pt idx="31">
                  <c:v>1403/08</c:v>
                </c:pt>
                <c:pt idx="32">
                  <c:v>1403/09</c:v>
                </c:pt>
                <c:pt idx="33">
                  <c:v>1403/10</c:v>
                </c:pt>
                <c:pt idx="34">
                  <c:v>1403/11</c:v>
                </c:pt>
                <c:pt idx="35">
                  <c:v>1403/12</c:v>
                </c:pt>
              </c:strCache>
            </c:strRef>
          </c:cat>
          <c:val>
            <c:numRef>
              <c:f>ماهانه!$Q$6:$Q$43</c:f>
              <c:numCache>
                <c:formatCode>#,##0</c:formatCode>
                <c:ptCount val="38"/>
                <c:pt idx="0">
                  <c:v>2499905.3333333335</c:v>
                </c:pt>
                <c:pt idx="1">
                  <c:v>2384221.7999999998</c:v>
                </c:pt>
                <c:pt idx="2">
                  <c:v>2436060.6</c:v>
                </c:pt>
                <c:pt idx="3">
                  <c:v>2264399.5</c:v>
                </c:pt>
                <c:pt idx="4">
                  <c:v>2206105.75</c:v>
                </c:pt>
                <c:pt idx="5">
                  <c:v>2250147.25</c:v>
                </c:pt>
                <c:pt idx="6">
                  <c:v>2331114.3333333335</c:v>
                </c:pt>
                <c:pt idx="7">
                  <c:v>2293206.75</c:v>
                </c:pt>
                <c:pt idx="8">
                  <c:v>2590311.75</c:v>
                </c:pt>
                <c:pt idx="9">
                  <c:v>2741146.25</c:v>
                </c:pt>
                <c:pt idx="10">
                  <c:v>3490921.5</c:v>
                </c:pt>
                <c:pt idx="11">
                  <c:v>4142000.75</c:v>
                </c:pt>
                <c:pt idx="12">
                  <c:v>3782254.2</c:v>
                </c:pt>
                <c:pt idx="13">
                  <c:v>3837385.625</c:v>
                </c:pt>
                <c:pt idx="14">
                  <c:v>3546105.75</c:v>
                </c:pt>
                <c:pt idx="15">
                  <c:v>3759862.5</c:v>
                </c:pt>
                <c:pt idx="16">
                  <c:v>3515517.5</c:v>
                </c:pt>
                <c:pt idx="17">
                  <c:v>3509403.75</c:v>
                </c:pt>
                <c:pt idx="18">
                  <c:v>3377592.1428571427</c:v>
                </c:pt>
                <c:pt idx="19">
                  <c:v>3317925</c:v>
                </c:pt>
                <c:pt idx="20">
                  <c:v>3312460</c:v>
                </c:pt>
                <c:pt idx="21">
                  <c:v>3493433.75</c:v>
                </c:pt>
                <c:pt idx="22">
                  <c:v>3760463</c:v>
                </c:pt>
                <c:pt idx="23">
                  <c:v>3953998</c:v>
                </c:pt>
                <c:pt idx="24">
                  <c:v>5252690</c:v>
                </c:pt>
                <c:pt idx="25">
                  <c:v>5204111.111111111</c:v>
                </c:pt>
                <c:pt idx="26">
                  <c:v>5247166.666666667</c:v>
                </c:pt>
                <c:pt idx="27">
                  <c:v>5098253.25</c:v>
                </c:pt>
                <c:pt idx="28">
                  <c:v>4895571.4285714282</c:v>
                </c:pt>
                <c:pt idx="29">
                  <c:v>4919395.1818181816</c:v>
                </c:pt>
                <c:pt idx="30">
                  <c:v>5052616.8666666662</c:v>
                </c:pt>
                <c:pt idx="31">
                  <c:v>5249679.384615385</c:v>
                </c:pt>
                <c:pt idx="32">
                  <c:v>5370554.888888889</c:v>
                </c:pt>
                <c:pt idx="33">
                  <c:v>5772542.833333333</c:v>
                </c:pt>
                <c:pt idx="34">
                  <c:v>6605581.333333333</c:v>
                </c:pt>
                <c:pt idx="35">
                  <c:v>7918343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7C9D-4D42-877A-D32EB99B97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4806736"/>
        <c:axId val="374806344"/>
      </c:lineChart>
      <c:catAx>
        <c:axId val="373342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94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64013648"/>
        <c:crosses val="autoZero"/>
        <c:auto val="1"/>
        <c:lblAlgn val="ctr"/>
        <c:lblOffset val="100"/>
        <c:noMultiLvlLbl val="0"/>
      </c:catAx>
      <c:valAx>
        <c:axId val="36401364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73342552"/>
        <c:crosses val="autoZero"/>
        <c:crossBetween val="between"/>
      </c:valAx>
      <c:valAx>
        <c:axId val="374806344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74806736"/>
        <c:crosses val="max"/>
        <c:crossBetween val="between"/>
      </c:valAx>
      <c:catAx>
        <c:axId val="3748067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7480634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هفتگی!$L$5</c:f>
              <c:strCache>
                <c:ptCount val="1"/>
                <c:pt idx="0">
                  <c:v>درصد رقابت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FF0000"/>
              </a:solidFill>
            </a:ln>
            <a:effectLst/>
          </c:spPr>
          <c:invertIfNegative val="0"/>
          <c:cat>
            <c:strRef>
              <c:f>هفتگی!$J$6:$J$174</c:f>
              <c:strCache>
                <c:ptCount val="169"/>
                <c:pt idx="0">
                  <c:v>1401/01/15</c:v>
                </c:pt>
                <c:pt idx="1">
                  <c:v>1401/01/21</c:v>
                </c:pt>
                <c:pt idx="2">
                  <c:v>1401/01/28</c:v>
                </c:pt>
                <c:pt idx="3">
                  <c:v>1401/02/05</c:v>
                </c:pt>
                <c:pt idx="4">
                  <c:v>1401/02/11</c:v>
                </c:pt>
                <c:pt idx="5">
                  <c:v>1401/02/18</c:v>
                </c:pt>
                <c:pt idx="6">
                  <c:v>1401/02/25</c:v>
                </c:pt>
                <c:pt idx="7">
                  <c:v>1401/02/26</c:v>
                </c:pt>
                <c:pt idx="8">
                  <c:v>1401/03/01</c:v>
                </c:pt>
                <c:pt idx="9">
                  <c:v>1401/03/08</c:v>
                </c:pt>
                <c:pt idx="10">
                  <c:v>1401/03/17</c:v>
                </c:pt>
                <c:pt idx="11">
                  <c:v>1401/03/22</c:v>
                </c:pt>
                <c:pt idx="12">
                  <c:v>1401/03/29</c:v>
                </c:pt>
                <c:pt idx="13">
                  <c:v>1401/04/05</c:v>
                </c:pt>
                <c:pt idx="14">
                  <c:v>1401/04/12</c:v>
                </c:pt>
                <c:pt idx="15">
                  <c:v>1401/04/20</c:v>
                </c:pt>
                <c:pt idx="16">
                  <c:v>1401/04/26</c:v>
                </c:pt>
                <c:pt idx="17">
                  <c:v>1401/05/02</c:v>
                </c:pt>
                <c:pt idx="18">
                  <c:v>1401/05/09</c:v>
                </c:pt>
                <c:pt idx="19">
                  <c:v>1401/05/23</c:v>
                </c:pt>
                <c:pt idx="20">
                  <c:v>1401/05/30</c:v>
                </c:pt>
                <c:pt idx="21">
                  <c:v>1401/06/06</c:v>
                </c:pt>
                <c:pt idx="22">
                  <c:v>1401/06/13</c:v>
                </c:pt>
                <c:pt idx="23">
                  <c:v>1401/06/20</c:v>
                </c:pt>
                <c:pt idx="24">
                  <c:v>1401/06/28</c:v>
                </c:pt>
                <c:pt idx="25">
                  <c:v>1401/07/10</c:v>
                </c:pt>
                <c:pt idx="26">
                  <c:v>1401/07/17</c:v>
                </c:pt>
                <c:pt idx="27">
                  <c:v>1401/07/24</c:v>
                </c:pt>
                <c:pt idx="28">
                  <c:v>1401/08/01</c:v>
                </c:pt>
                <c:pt idx="29">
                  <c:v>1401/08/08</c:v>
                </c:pt>
                <c:pt idx="30">
                  <c:v>1401/08/24</c:v>
                </c:pt>
                <c:pt idx="31">
                  <c:v>1401/08/29</c:v>
                </c:pt>
                <c:pt idx="32">
                  <c:v>1401/09/06</c:v>
                </c:pt>
                <c:pt idx="33">
                  <c:v>1401/09/16</c:v>
                </c:pt>
                <c:pt idx="34">
                  <c:v>1401/09/23</c:v>
                </c:pt>
                <c:pt idx="35">
                  <c:v>1401/09/27</c:v>
                </c:pt>
                <c:pt idx="36">
                  <c:v>1401/10/04</c:v>
                </c:pt>
                <c:pt idx="37">
                  <c:v>1401/10/13</c:v>
                </c:pt>
                <c:pt idx="38">
                  <c:v>1401/10/19</c:v>
                </c:pt>
                <c:pt idx="39">
                  <c:v>1401/10/27</c:v>
                </c:pt>
                <c:pt idx="40">
                  <c:v>1401/11/02</c:v>
                </c:pt>
                <c:pt idx="41">
                  <c:v>1401/11/09</c:v>
                </c:pt>
                <c:pt idx="42">
                  <c:v>1401/11/17</c:v>
                </c:pt>
                <c:pt idx="43">
                  <c:v>1401/11/24</c:v>
                </c:pt>
                <c:pt idx="44">
                  <c:v>1401/12/01</c:v>
                </c:pt>
                <c:pt idx="45">
                  <c:v>1401/12/10</c:v>
                </c:pt>
                <c:pt idx="46">
                  <c:v>1401/12/16</c:v>
                </c:pt>
                <c:pt idx="47">
                  <c:v>1401/12/21</c:v>
                </c:pt>
                <c:pt idx="48">
                  <c:v>1402/01/15</c:v>
                </c:pt>
                <c:pt idx="49">
                  <c:v>1402/01/20</c:v>
                </c:pt>
                <c:pt idx="50">
                  <c:v>1402/01/27</c:v>
                </c:pt>
                <c:pt idx="51">
                  <c:v>1402/02/05</c:v>
                </c:pt>
                <c:pt idx="52">
                  <c:v>1402/02/10</c:v>
                </c:pt>
                <c:pt idx="53">
                  <c:v>1402/02/19</c:v>
                </c:pt>
                <c:pt idx="54">
                  <c:v>1402/02/25</c:v>
                </c:pt>
                <c:pt idx="55">
                  <c:v>1402/02/31</c:v>
                </c:pt>
                <c:pt idx="56">
                  <c:v>1402/03/07</c:v>
                </c:pt>
                <c:pt idx="57">
                  <c:v>1402/03/16</c:v>
                </c:pt>
                <c:pt idx="58">
                  <c:v>1402/03/21</c:v>
                </c:pt>
                <c:pt idx="59">
                  <c:v>1402/03/28</c:v>
                </c:pt>
                <c:pt idx="60">
                  <c:v>1402/04/04</c:v>
                </c:pt>
                <c:pt idx="61">
                  <c:v>1402/04/11</c:v>
                </c:pt>
                <c:pt idx="62">
                  <c:v>1402/04/13</c:v>
                </c:pt>
                <c:pt idx="63">
                  <c:v>1402/04/18</c:v>
                </c:pt>
                <c:pt idx="64">
                  <c:v>1402/04/20</c:v>
                </c:pt>
                <c:pt idx="65">
                  <c:v>1402/04/25</c:v>
                </c:pt>
                <c:pt idx="66">
                  <c:v>1402/05/01</c:v>
                </c:pt>
                <c:pt idx="67">
                  <c:v>1402/05/08</c:v>
                </c:pt>
                <c:pt idx="68">
                  <c:v>1402/05/15</c:v>
                </c:pt>
                <c:pt idx="69">
                  <c:v>1402/05/22</c:v>
                </c:pt>
                <c:pt idx="70">
                  <c:v>1402/06/05</c:v>
                </c:pt>
                <c:pt idx="71">
                  <c:v>1402/06/12</c:v>
                </c:pt>
                <c:pt idx="72">
                  <c:v>1402/06/27</c:v>
                </c:pt>
                <c:pt idx="73">
                  <c:v>1402/07/03</c:v>
                </c:pt>
                <c:pt idx="74">
                  <c:v>1402/07/09</c:v>
                </c:pt>
                <c:pt idx="75">
                  <c:v>1402/07/16</c:v>
                </c:pt>
                <c:pt idx="76">
                  <c:v>1402/07/23</c:v>
                </c:pt>
                <c:pt idx="77">
                  <c:v>1402/07/25</c:v>
                </c:pt>
                <c:pt idx="78">
                  <c:v>1402/07/30</c:v>
                </c:pt>
                <c:pt idx="79">
                  <c:v>1402/08/07</c:v>
                </c:pt>
                <c:pt idx="80">
                  <c:v>1402/08/14</c:v>
                </c:pt>
                <c:pt idx="81">
                  <c:v>1402/08/21</c:v>
                </c:pt>
                <c:pt idx="82">
                  <c:v>1402/08/28</c:v>
                </c:pt>
                <c:pt idx="83">
                  <c:v>1402/08/30</c:v>
                </c:pt>
                <c:pt idx="84">
                  <c:v>1402/09/05</c:v>
                </c:pt>
                <c:pt idx="85">
                  <c:v>1402/09/12</c:v>
                </c:pt>
                <c:pt idx="86">
                  <c:v>1402/09/19</c:v>
                </c:pt>
                <c:pt idx="87">
                  <c:v>1402/09/28</c:v>
                </c:pt>
                <c:pt idx="88">
                  <c:v>1402/10/03</c:v>
                </c:pt>
                <c:pt idx="89">
                  <c:v>1402/10/10</c:v>
                </c:pt>
                <c:pt idx="90">
                  <c:v>1402/10/17</c:v>
                </c:pt>
                <c:pt idx="91">
                  <c:v>1402/10/24</c:v>
                </c:pt>
                <c:pt idx="92">
                  <c:v>1402/11/01</c:v>
                </c:pt>
                <c:pt idx="93">
                  <c:v>1402/11/08</c:v>
                </c:pt>
                <c:pt idx="94">
                  <c:v>1402/11/15</c:v>
                </c:pt>
                <c:pt idx="95">
                  <c:v>1402/11/23</c:v>
                </c:pt>
                <c:pt idx="96">
                  <c:v>1402/11/29</c:v>
                </c:pt>
                <c:pt idx="97">
                  <c:v>1402/12/07</c:v>
                </c:pt>
                <c:pt idx="98">
                  <c:v>1402/12/13</c:v>
                </c:pt>
                <c:pt idx="99">
                  <c:v>1402/12/20</c:v>
                </c:pt>
                <c:pt idx="100">
                  <c:v>1402/12/23</c:v>
                </c:pt>
                <c:pt idx="101">
                  <c:v>1403/01/19</c:v>
                </c:pt>
                <c:pt idx="102">
                  <c:v>1403/01/21</c:v>
                </c:pt>
                <c:pt idx="103">
                  <c:v>1403/01/26</c:v>
                </c:pt>
                <c:pt idx="104">
                  <c:v>1403/01/29</c:v>
                </c:pt>
                <c:pt idx="105">
                  <c:v>1403/02/02</c:v>
                </c:pt>
                <c:pt idx="106">
                  <c:v>1403/02/09</c:v>
                </c:pt>
                <c:pt idx="107">
                  <c:v>1403/02/17</c:v>
                </c:pt>
                <c:pt idx="108">
                  <c:v>1403/02/23</c:v>
                </c:pt>
                <c:pt idx="109">
                  <c:v>1403/02/24</c:v>
                </c:pt>
                <c:pt idx="110">
                  <c:v>1403/02/30</c:v>
                </c:pt>
                <c:pt idx="111">
                  <c:v>1403/03/06</c:v>
                </c:pt>
                <c:pt idx="112">
                  <c:v>1403/03/13</c:v>
                </c:pt>
                <c:pt idx="113">
                  <c:v>1403/03/20</c:v>
                </c:pt>
                <c:pt idx="114">
                  <c:v>1403/04/03</c:v>
                </c:pt>
                <c:pt idx="115">
                  <c:v>1403/04/10</c:v>
                </c:pt>
                <c:pt idx="116">
                  <c:v>1403/04/17</c:v>
                </c:pt>
                <c:pt idx="117">
                  <c:v>1403/04/24</c:v>
                </c:pt>
                <c:pt idx="118">
                  <c:v>1403/04/31</c:v>
                </c:pt>
                <c:pt idx="119">
                  <c:v>1403/05/08</c:v>
                </c:pt>
                <c:pt idx="120">
                  <c:v>1403/05/14</c:v>
                </c:pt>
                <c:pt idx="121">
                  <c:v>1403/05/21</c:v>
                </c:pt>
                <c:pt idx="122">
                  <c:v>1403/05/28</c:v>
                </c:pt>
                <c:pt idx="123">
                  <c:v>1403/06/05</c:v>
                </c:pt>
                <c:pt idx="124">
                  <c:v>1403/06/11</c:v>
                </c:pt>
                <c:pt idx="125">
                  <c:v>1403/06/13</c:v>
                </c:pt>
                <c:pt idx="126">
                  <c:v>1403/06/18</c:v>
                </c:pt>
                <c:pt idx="127">
                  <c:v>1403/06/25</c:v>
                </c:pt>
                <c:pt idx="128">
                  <c:v>1403/06/27</c:v>
                </c:pt>
                <c:pt idx="129">
                  <c:v>1403/07/02</c:v>
                </c:pt>
                <c:pt idx="130">
                  <c:v>1403/07/08</c:v>
                </c:pt>
                <c:pt idx="131">
                  <c:v>1403/07/10</c:v>
                </c:pt>
                <c:pt idx="132">
                  <c:v>1403/07/15</c:v>
                </c:pt>
                <c:pt idx="133">
                  <c:v>1403/07/22</c:v>
                </c:pt>
                <c:pt idx="134">
                  <c:v>1403/07/24</c:v>
                </c:pt>
                <c:pt idx="135">
                  <c:v>1403/07/29</c:v>
                </c:pt>
                <c:pt idx="136">
                  <c:v>1403/07/30</c:v>
                </c:pt>
                <c:pt idx="137">
                  <c:v>1403/08/01</c:v>
                </c:pt>
                <c:pt idx="138">
                  <c:v>1403/08/06</c:v>
                </c:pt>
                <c:pt idx="139">
                  <c:v>1403/08/08</c:v>
                </c:pt>
                <c:pt idx="140">
                  <c:v>1403/08/13</c:v>
                </c:pt>
                <c:pt idx="141">
                  <c:v>1403/08/15</c:v>
                </c:pt>
                <c:pt idx="142">
                  <c:v>1403/08/20</c:v>
                </c:pt>
                <c:pt idx="143">
                  <c:v>1403/08/21</c:v>
                </c:pt>
                <c:pt idx="144">
                  <c:v>1403/08/27</c:v>
                </c:pt>
                <c:pt idx="145">
                  <c:v>1403/08/28</c:v>
                </c:pt>
                <c:pt idx="146">
                  <c:v>1403/09/04</c:v>
                </c:pt>
                <c:pt idx="147">
                  <c:v>1403/09/05</c:v>
                </c:pt>
                <c:pt idx="148">
                  <c:v>1403/09/11</c:v>
                </c:pt>
                <c:pt idx="149">
                  <c:v>1403/09/12</c:v>
                </c:pt>
                <c:pt idx="150">
                  <c:v>1403/09/18</c:v>
                </c:pt>
                <c:pt idx="151">
                  <c:v>1403/09/19</c:v>
                </c:pt>
                <c:pt idx="152">
                  <c:v>1403/09/25</c:v>
                </c:pt>
                <c:pt idx="153">
                  <c:v>1403/09/26</c:v>
                </c:pt>
                <c:pt idx="154">
                  <c:v>1403/10/02</c:v>
                </c:pt>
                <c:pt idx="155">
                  <c:v>1403/10/03</c:v>
                </c:pt>
                <c:pt idx="156">
                  <c:v>1403/10/09</c:v>
                </c:pt>
                <c:pt idx="157">
                  <c:v>1403/10/10</c:v>
                </c:pt>
                <c:pt idx="158">
                  <c:v>1403/10/16</c:v>
                </c:pt>
                <c:pt idx="159">
                  <c:v>1403/10/17</c:v>
                </c:pt>
                <c:pt idx="160">
                  <c:v>1403/10/23</c:v>
                </c:pt>
                <c:pt idx="161">
                  <c:v>1403/10/24</c:v>
                </c:pt>
                <c:pt idx="162">
                  <c:v>1403/10/30</c:v>
                </c:pt>
                <c:pt idx="163">
                  <c:v>1403/11/07</c:v>
                </c:pt>
                <c:pt idx="164">
                  <c:v>1403/11/14</c:v>
                </c:pt>
                <c:pt idx="165">
                  <c:v>1403/11/23</c:v>
                </c:pt>
                <c:pt idx="166">
                  <c:v>1403/11/28</c:v>
                </c:pt>
                <c:pt idx="167">
                  <c:v>1403/12/06</c:v>
                </c:pt>
                <c:pt idx="168">
                  <c:v>1403/12/12</c:v>
                </c:pt>
              </c:strCache>
            </c:strRef>
          </c:cat>
          <c:val>
            <c:numRef>
              <c:f>هفتگی!$L$6:$L$174</c:f>
              <c:numCache>
                <c:formatCode>0.0%</c:formatCode>
                <c:ptCount val="169"/>
                <c:pt idx="0">
                  <c:v>0</c:v>
                </c:pt>
                <c:pt idx="1">
                  <c:v>0</c:v>
                </c:pt>
                <c:pt idx="2">
                  <c:v>4.706122526793477E-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7.709419631497294E-3</c:v>
                </c:pt>
                <c:pt idx="7">
                  <c:v>0</c:v>
                </c:pt>
                <c:pt idx="8">
                  <c:v>7.1456758773924545E-3</c:v>
                </c:pt>
                <c:pt idx="9">
                  <c:v>1.9244909036362889E-2</c:v>
                </c:pt>
                <c:pt idx="10">
                  <c:v>5.9433009823211647E-2</c:v>
                </c:pt>
                <c:pt idx="11">
                  <c:v>7.0243181732503102E-2</c:v>
                </c:pt>
                <c:pt idx="12">
                  <c:v>8.9897449455123013E-2</c:v>
                </c:pt>
                <c:pt idx="13">
                  <c:v>0.11763834809009954</c:v>
                </c:pt>
                <c:pt idx="14">
                  <c:v>0.12839055397045196</c:v>
                </c:pt>
                <c:pt idx="15">
                  <c:v>8.2835304784509622E-2</c:v>
                </c:pt>
                <c:pt idx="16">
                  <c:v>7.0274788434340651E-2</c:v>
                </c:pt>
                <c:pt idx="17">
                  <c:v>7.7755660287183836E-2</c:v>
                </c:pt>
                <c:pt idx="18">
                  <c:v>0.13008303426782586</c:v>
                </c:pt>
                <c:pt idx="19">
                  <c:v>7.2879631461436389E-2</c:v>
                </c:pt>
                <c:pt idx="20">
                  <c:v>5.0465723252393513E-2</c:v>
                </c:pt>
                <c:pt idx="21">
                  <c:v>6.1757104742072633E-2</c:v>
                </c:pt>
                <c:pt idx="22">
                  <c:v>6.0064024498702961E-2</c:v>
                </c:pt>
                <c:pt idx="23">
                  <c:v>7.3949374797674938E-2</c:v>
                </c:pt>
                <c:pt idx="24">
                  <c:v>8.0434976212238496E-2</c:v>
                </c:pt>
                <c:pt idx="25">
                  <c:v>0.12436237316025234</c:v>
                </c:pt>
                <c:pt idx="26">
                  <c:v>0.14430128917526419</c:v>
                </c:pt>
                <c:pt idx="27">
                  <c:v>0.14088795183106706</c:v>
                </c:pt>
                <c:pt idx="28">
                  <c:v>0.16972897432900935</c:v>
                </c:pt>
                <c:pt idx="29">
                  <c:v>2.2937850348966782E-2</c:v>
                </c:pt>
                <c:pt idx="30">
                  <c:v>5.8584608460846122E-2</c:v>
                </c:pt>
                <c:pt idx="31">
                  <c:v>1.3809732573433209E-4</c:v>
                </c:pt>
                <c:pt idx="32">
                  <c:v>5.5276048714478998E-2</c:v>
                </c:pt>
                <c:pt idx="33">
                  <c:v>0.1851827388815499</c:v>
                </c:pt>
                <c:pt idx="34">
                  <c:v>0.14437156157427</c:v>
                </c:pt>
                <c:pt idx="35">
                  <c:v>0</c:v>
                </c:pt>
                <c:pt idx="36">
                  <c:v>0</c:v>
                </c:pt>
                <c:pt idx="37">
                  <c:v>3.7202380951395497E-6</c:v>
                </c:pt>
                <c:pt idx="38">
                  <c:v>9.814708141321038E-2</c:v>
                </c:pt>
                <c:pt idx="39">
                  <c:v>0</c:v>
                </c:pt>
                <c:pt idx="40">
                  <c:v>0</c:v>
                </c:pt>
                <c:pt idx="41">
                  <c:v>0.2806826161790017</c:v>
                </c:pt>
                <c:pt idx="42">
                  <c:v>0.23425166725166724</c:v>
                </c:pt>
                <c:pt idx="43">
                  <c:v>0.38201795332136435</c:v>
                </c:pt>
                <c:pt idx="44">
                  <c:v>0.49585683375405698</c:v>
                </c:pt>
                <c:pt idx="45">
                  <c:v>0.64710834813499107</c:v>
                </c:pt>
                <c:pt idx="46">
                  <c:v>0.57342872570194392</c:v>
                </c:pt>
                <c:pt idx="47">
                  <c:v>0.24222679286494353</c:v>
                </c:pt>
                <c:pt idx="48">
                  <c:v>0.57168810289389071</c:v>
                </c:pt>
                <c:pt idx="49">
                  <c:v>0.45080115481775529</c:v>
                </c:pt>
                <c:pt idx="50">
                  <c:v>0.16106494438464303</c:v>
                </c:pt>
                <c:pt idx="51">
                  <c:v>0.39035264483627197</c:v>
                </c:pt>
                <c:pt idx="52">
                  <c:v>0.47913928304705</c:v>
                </c:pt>
                <c:pt idx="53">
                  <c:v>0.43230349755547204</c:v>
                </c:pt>
                <c:pt idx="54">
                  <c:v>0.11068849089841448</c:v>
                </c:pt>
                <c:pt idx="55">
                  <c:v>8.2218268090154201E-2</c:v>
                </c:pt>
                <c:pt idx="56">
                  <c:v>0.13438421375921372</c:v>
                </c:pt>
                <c:pt idx="57">
                  <c:v>3.9725209080021529E-5</c:v>
                </c:pt>
                <c:pt idx="58">
                  <c:v>9.6443345323740992E-2</c:v>
                </c:pt>
                <c:pt idx="59">
                  <c:v>0</c:v>
                </c:pt>
                <c:pt idx="60">
                  <c:v>5.1979913916786247E-2</c:v>
                </c:pt>
                <c:pt idx="61">
                  <c:v>9.1311046511627803E-2</c:v>
                </c:pt>
                <c:pt idx="62">
                  <c:v>0.12058139534883727</c:v>
                </c:pt>
                <c:pt idx="63">
                  <c:v>0.11098935226264417</c:v>
                </c:pt>
                <c:pt idx="64">
                  <c:v>0.10563442768411702</c:v>
                </c:pt>
                <c:pt idx="65">
                  <c:v>0.11331081081081074</c:v>
                </c:pt>
                <c:pt idx="66">
                  <c:v>4.4489092996480295E-5</c:v>
                </c:pt>
                <c:pt idx="67">
                  <c:v>3.5979440319817702E-3</c:v>
                </c:pt>
                <c:pt idx="68">
                  <c:v>2.3592950540079594E-2</c:v>
                </c:pt>
                <c:pt idx="69">
                  <c:v>9.0987868284209128E-5</c:v>
                </c:pt>
                <c:pt idx="70">
                  <c:v>1.1510613550450799E-2</c:v>
                </c:pt>
                <c:pt idx="71">
                  <c:v>4.1724137931034466E-2</c:v>
                </c:pt>
                <c:pt idx="72">
                  <c:v>1.4098050625545477E-2</c:v>
                </c:pt>
                <c:pt idx="73">
                  <c:v>8.7462951985772808E-3</c:v>
                </c:pt>
                <c:pt idx="74">
                  <c:v>2.8045838359469277E-2</c:v>
                </c:pt>
                <c:pt idx="75">
                  <c:v>0.12676579352850537</c:v>
                </c:pt>
                <c:pt idx="76">
                  <c:v>0</c:v>
                </c:pt>
                <c:pt idx="77">
                  <c:v>0</c:v>
                </c:pt>
                <c:pt idx="78">
                  <c:v>4.7163076923076863E-2</c:v>
                </c:pt>
                <c:pt idx="79">
                  <c:v>3.0611931119311153E-2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9.0525045262523918E-5</c:v>
                </c:pt>
                <c:pt idx="88">
                  <c:v>3.0175015086619794E-6</c:v>
                </c:pt>
                <c:pt idx="89">
                  <c:v>1.1566083283041539E-2</c:v>
                </c:pt>
                <c:pt idx="90">
                  <c:v>2.8456502764038438E-2</c:v>
                </c:pt>
                <c:pt idx="91">
                  <c:v>6.9934770277935376E-2</c:v>
                </c:pt>
                <c:pt idx="92">
                  <c:v>7.6013857466063373E-2</c:v>
                </c:pt>
                <c:pt idx="93">
                  <c:v>6.2053322166387481E-2</c:v>
                </c:pt>
                <c:pt idx="94">
                  <c:v>9.0619481236203114E-2</c:v>
                </c:pt>
                <c:pt idx="95">
                  <c:v>6.0692788188529301E-2</c:v>
                </c:pt>
                <c:pt idx="96">
                  <c:v>2.5677603423757134E-5</c:v>
                </c:pt>
                <c:pt idx="97">
                  <c:v>1.8257261410781211E-4</c:v>
                </c:pt>
                <c:pt idx="98">
                  <c:v>0.16630949067631495</c:v>
                </c:pt>
                <c:pt idx="99">
                  <c:v>9.0749452954048238E-2</c:v>
                </c:pt>
                <c:pt idx="100">
                  <c:v>0</c:v>
                </c:pt>
                <c:pt idx="101">
                  <c:v>0.30675802469135793</c:v>
                </c:pt>
                <c:pt idx="102">
                  <c:v>0.25804444444444452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1.1538461538460609E-3</c:v>
                </c:pt>
                <c:pt idx="112">
                  <c:v>0</c:v>
                </c:pt>
                <c:pt idx="113">
                  <c:v>7.3231836577480891E-5</c:v>
                </c:pt>
                <c:pt idx="114">
                  <c:v>0</c:v>
                </c:pt>
                <c:pt idx="115">
                  <c:v>2.5661271219057369E-6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1.3451114234008799E-5</c:v>
                </c:pt>
                <c:pt idx="125">
                  <c:v>4.818309576393176E-5</c:v>
                </c:pt>
                <c:pt idx="126">
                  <c:v>2.7305618131023834E-6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3.8136588258549153E-2</c:v>
                </c:pt>
                <c:pt idx="131">
                  <c:v>3.8410753113263585E-2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2.9187663777464179E-2</c:v>
                </c:pt>
                <c:pt idx="138">
                  <c:v>0</c:v>
                </c:pt>
                <c:pt idx="139">
                  <c:v>7.0606732513606163E-2</c:v>
                </c:pt>
                <c:pt idx="140">
                  <c:v>8.3143116307196063E-2</c:v>
                </c:pt>
                <c:pt idx="141">
                  <c:v>0.10106430155210644</c:v>
                </c:pt>
                <c:pt idx="142">
                  <c:v>6.6075024485798162E-2</c:v>
                </c:pt>
                <c:pt idx="143">
                  <c:v>6.644466209598443E-2</c:v>
                </c:pt>
                <c:pt idx="144">
                  <c:v>4.5668365346918094E-5</c:v>
                </c:pt>
                <c:pt idx="145">
                  <c:v>3.7161897295178381E-2</c:v>
                </c:pt>
                <c:pt idx="146">
                  <c:v>2.18228650683574E-2</c:v>
                </c:pt>
                <c:pt idx="147">
                  <c:v>4.2765999603725069E-2</c:v>
                </c:pt>
                <c:pt idx="148">
                  <c:v>3.5264124851837275E-2</c:v>
                </c:pt>
                <c:pt idx="149">
                  <c:v>4.4251284077439834E-2</c:v>
                </c:pt>
                <c:pt idx="150">
                  <c:v>0.12791575019638657</c:v>
                </c:pt>
                <c:pt idx="151">
                  <c:v>0.10079340141398263</c:v>
                </c:pt>
                <c:pt idx="152">
                  <c:v>0</c:v>
                </c:pt>
                <c:pt idx="153">
                  <c:v>0.10550242013552769</c:v>
                </c:pt>
                <c:pt idx="154">
                  <c:v>4.2002297090352192E-2</c:v>
                </c:pt>
                <c:pt idx="155">
                  <c:v>8.3850672730718223E-2</c:v>
                </c:pt>
                <c:pt idx="156">
                  <c:v>7.0600668027463342E-2</c:v>
                </c:pt>
                <c:pt idx="157">
                  <c:v>0.17827426238634247</c:v>
                </c:pt>
                <c:pt idx="158">
                  <c:v>8.9005584579355812E-3</c:v>
                </c:pt>
                <c:pt idx="159">
                  <c:v>7.0509818050801698E-2</c:v>
                </c:pt>
                <c:pt idx="160">
                  <c:v>0</c:v>
                </c:pt>
                <c:pt idx="161">
                  <c:v>8.9018361581920891E-2</c:v>
                </c:pt>
                <c:pt idx="162">
                  <c:v>0</c:v>
                </c:pt>
                <c:pt idx="163">
                  <c:v>4.7630801321049798E-2</c:v>
                </c:pt>
                <c:pt idx="164">
                  <c:v>4.6350338983050854E-2</c:v>
                </c:pt>
                <c:pt idx="165">
                  <c:v>0.20298675604970562</c:v>
                </c:pt>
                <c:pt idx="166">
                  <c:v>0.21659925845821104</c:v>
                </c:pt>
                <c:pt idx="167">
                  <c:v>0.23474097307221542</c:v>
                </c:pt>
                <c:pt idx="168">
                  <c:v>0.17708699605941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C5-44B9-9F11-60D40EAE88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1820976"/>
        <c:axId val="521820584"/>
      </c:barChart>
      <c:lineChart>
        <c:grouping val="standard"/>
        <c:varyColors val="0"/>
        <c:ser>
          <c:idx val="0"/>
          <c:order val="0"/>
          <c:tx>
            <c:strRef>
              <c:f>هفتگی!$K$5</c:f>
              <c:strCache>
                <c:ptCount val="1"/>
                <c:pt idx="0">
                  <c:v>قیمت میانگین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10"/>
              <c:layout>
                <c:manualLayout>
                  <c:x val="-4.9867607093803008E-2"/>
                  <c:y val="-4.47114565224801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C5-44B9-9F11-60D40EAE880D}"/>
                </c:ext>
              </c:extLst>
            </c:dLbl>
            <c:dLbl>
              <c:idx val="43"/>
              <c:layout>
                <c:manualLayout>
                  <c:x val="-9.4401743698769372E-2"/>
                  <c:y val="-1.44300144300144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AC5-44B9-9F11-60D40EAE880D}"/>
                </c:ext>
              </c:extLst>
            </c:dLbl>
            <c:dLbl>
              <c:idx val="82"/>
              <c:layout>
                <c:manualLayout>
                  <c:x val="-3.938328173815054E-2"/>
                  <c:y val="3.83045301155536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C5-44B9-9F11-60D40EAE880D}"/>
                </c:ext>
              </c:extLst>
            </c:dLbl>
            <c:dLbl>
              <c:idx val="95"/>
              <c:layout>
                <c:manualLayout>
                  <c:x val="-8.4612452032621438E-2"/>
                  <c:y val="-3.60534478644714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AC5-44B9-9F11-60D40EAE880D}"/>
                </c:ext>
              </c:extLst>
            </c:dLbl>
            <c:dLbl>
              <c:idx val="168"/>
              <c:layout>
                <c:manualLayout>
                  <c:x val="-6.0336454526359426E-2"/>
                  <c:y val="-5.97594632666957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AC5-44B9-9F11-60D40EAE880D}"/>
                </c:ext>
              </c:extLst>
            </c:dLbl>
            <c:dLbl>
              <c:idx val="169"/>
              <c:layout>
                <c:manualLayout>
                  <c:x val="-3.3251028806584482E-2"/>
                  <c:y val="-7.79363943143470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C5-44B9-9F11-60D40EAE88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هفتگی!$J$6:$J$174</c:f>
              <c:strCache>
                <c:ptCount val="169"/>
                <c:pt idx="0">
                  <c:v>1401/01/15</c:v>
                </c:pt>
                <c:pt idx="1">
                  <c:v>1401/01/21</c:v>
                </c:pt>
                <c:pt idx="2">
                  <c:v>1401/01/28</c:v>
                </c:pt>
                <c:pt idx="3">
                  <c:v>1401/02/05</c:v>
                </c:pt>
                <c:pt idx="4">
                  <c:v>1401/02/11</c:v>
                </c:pt>
                <c:pt idx="5">
                  <c:v>1401/02/18</c:v>
                </c:pt>
                <c:pt idx="6">
                  <c:v>1401/02/25</c:v>
                </c:pt>
                <c:pt idx="7">
                  <c:v>1401/02/26</c:v>
                </c:pt>
                <c:pt idx="8">
                  <c:v>1401/03/01</c:v>
                </c:pt>
                <c:pt idx="9">
                  <c:v>1401/03/08</c:v>
                </c:pt>
                <c:pt idx="10">
                  <c:v>1401/03/17</c:v>
                </c:pt>
                <c:pt idx="11">
                  <c:v>1401/03/22</c:v>
                </c:pt>
                <c:pt idx="12">
                  <c:v>1401/03/29</c:v>
                </c:pt>
                <c:pt idx="13">
                  <c:v>1401/04/05</c:v>
                </c:pt>
                <c:pt idx="14">
                  <c:v>1401/04/12</c:v>
                </c:pt>
                <c:pt idx="15">
                  <c:v>1401/04/20</c:v>
                </c:pt>
                <c:pt idx="16">
                  <c:v>1401/04/26</c:v>
                </c:pt>
                <c:pt idx="17">
                  <c:v>1401/05/02</c:v>
                </c:pt>
                <c:pt idx="18">
                  <c:v>1401/05/09</c:v>
                </c:pt>
                <c:pt idx="19">
                  <c:v>1401/05/23</c:v>
                </c:pt>
                <c:pt idx="20">
                  <c:v>1401/05/30</c:v>
                </c:pt>
                <c:pt idx="21">
                  <c:v>1401/06/06</c:v>
                </c:pt>
                <c:pt idx="22">
                  <c:v>1401/06/13</c:v>
                </c:pt>
                <c:pt idx="23">
                  <c:v>1401/06/20</c:v>
                </c:pt>
                <c:pt idx="24">
                  <c:v>1401/06/28</c:v>
                </c:pt>
                <c:pt idx="25">
                  <c:v>1401/07/10</c:v>
                </c:pt>
                <c:pt idx="26">
                  <c:v>1401/07/17</c:v>
                </c:pt>
                <c:pt idx="27">
                  <c:v>1401/07/24</c:v>
                </c:pt>
                <c:pt idx="28">
                  <c:v>1401/08/01</c:v>
                </c:pt>
                <c:pt idx="29">
                  <c:v>1401/08/08</c:v>
                </c:pt>
                <c:pt idx="30">
                  <c:v>1401/08/24</c:v>
                </c:pt>
                <c:pt idx="31">
                  <c:v>1401/08/29</c:v>
                </c:pt>
                <c:pt idx="32">
                  <c:v>1401/09/06</c:v>
                </c:pt>
                <c:pt idx="33">
                  <c:v>1401/09/16</c:v>
                </c:pt>
                <c:pt idx="34">
                  <c:v>1401/09/23</c:v>
                </c:pt>
                <c:pt idx="35">
                  <c:v>1401/09/27</c:v>
                </c:pt>
                <c:pt idx="36">
                  <c:v>1401/10/04</c:v>
                </c:pt>
                <c:pt idx="37">
                  <c:v>1401/10/13</c:v>
                </c:pt>
                <c:pt idx="38">
                  <c:v>1401/10/19</c:v>
                </c:pt>
                <c:pt idx="39">
                  <c:v>1401/10/27</c:v>
                </c:pt>
                <c:pt idx="40">
                  <c:v>1401/11/02</c:v>
                </c:pt>
                <c:pt idx="41">
                  <c:v>1401/11/09</c:v>
                </c:pt>
                <c:pt idx="42">
                  <c:v>1401/11/17</c:v>
                </c:pt>
                <c:pt idx="43">
                  <c:v>1401/11/24</c:v>
                </c:pt>
                <c:pt idx="44">
                  <c:v>1401/12/01</c:v>
                </c:pt>
                <c:pt idx="45">
                  <c:v>1401/12/10</c:v>
                </c:pt>
                <c:pt idx="46">
                  <c:v>1401/12/16</c:v>
                </c:pt>
                <c:pt idx="47">
                  <c:v>1401/12/21</c:v>
                </c:pt>
                <c:pt idx="48">
                  <c:v>1402/01/15</c:v>
                </c:pt>
                <c:pt idx="49">
                  <c:v>1402/01/20</c:v>
                </c:pt>
                <c:pt idx="50">
                  <c:v>1402/01/27</c:v>
                </c:pt>
                <c:pt idx="51">
                  <c:v>1402/02/05</c:v>
                </c:pt>
                <c:pt idx="52">
                  <c:v>1402/02/10</c:v>
                </c:pt>
                <c:pt idx="53">
                  <c:v>1402/02/19</c:v>
                </c:pt>
                <c:pt idx="54">
                  <c:v>1402/02/25</c:v>
                </c:pt>
                <c:pt idx="55">
                  <c:v>1402/02/31</c:v>
                </c:pt>
                <c:pt idx="56">
                  <c:v>1402/03/07</c:v>
                </c:pt>
                <c:pt idx="57">
                  <c:v>1402/03/16</c:v>
                </c:pt>
                <c:pt idx="58">
                  <c:v>1402/03/21</c:v>
                </c:pt>
                <c:pt idx="59">
                  <c:v>1402/03/28</c:v>
                </c:pt>
                <c:pt idx="60">
                  <c:v>1402/04/04</c:v>
                </c:pt>
                <c:pt idx="61">
                  <c:v>1402/04/11</c:v>
                </c:pt>
                <c:pt idx="62">
                  <c:v>1402/04/13</c:v>
                </c:pt>
                <c:pt idx="63">
                  <c:v>1402/04/18</c:v>
                </c:pt>
                <c:pt idx="64">
                  <c:v>1402/04/20</c:v>
                </c:pt>
                <c:pt idx="65">
                  <c:v>1402/04/25</c:v>
                </c:pt>
                <c:pt idx="66">
                  <c:v>1402/05/01</c:v>
                </c:pt>
                <c:pt idx="67">
                  <c:v>1402/05/08</c:v>
                </c:pt>
                <c:pt idx="68">
                  <c:v>1402/05/15</c:v>
                </c:pt>
                <c:pt idx="69">
                  <c:v>1402/05/22</c:v>
                </c:pt>
                <c:pt idx="70">
                  <c:v>1402/06/05</c:v>
                </c:pt>
                <c:pt idx="71">
                  <c:v>1402/06/12</c:v>
                </c:pt>
                <c:pt idx="72">
                  <c:v>1402/06/27</c:v>
                </c:pt>
                <c:pt idx="73">
                  <c:v>1402/07/03</c:v>
                </c:pt>
                <c:pt idx="74">
                  <c:v>1402/07/09</c:v>
                </c:pt>
                <c:pt idx="75">
                  <c:v>1402/07/16</c:v>
                </c:pt>
                <c:pt idx="76">
                  <c:v>1402/07/23</c:v>
                </c:pt>
                <c:pt idx="77">
                  <c:v>1402/07/25</c:v>
                </c:pt>
                <c:pt idx="78">
                  <c:v>1402/07/30</c:v>
                </c:pt>
                <c:pt idx="79">
                  <c:v>1402/08/07</c:v>
                </c:pt>
                <c:pt idx="80">
                  <c:v>1402/08/14</c:v>
                </c:pt>
                <c:pt idx="81">
                  <c:v>1402/08/21</c:v>
                </c:pt>
                <c:pt idx="82">
                  <c:v>1402/08/28</c:v>
                </c:pt>
                <c:pt idx="83">
                  <c:v>1402/08/30</c:v>
                </c:pt>
                <c:pt idx="84">
                  <c:v>1402/09/05</c:v>
                </c:pt>
                <c:pt idx="85">
                  <c:v>1402/09/12</c:v>
                </c:pt>
                <c:pt idx="86">
                  <c:v>1402/09/19</c:v>
                </c:pt>
                <c:pt idx="87">
                  <c:v>1402/09/28</c:v>
                </c:pt>
                <c:pt idx="88">
                  <c:v>1402/10/03</c:v>
                </c:pt>
                <c:pt idx="89">
                  <c:v>1402/10/10</c:v>
                </c:pt>
                <c:pt idx="90">
                  <c:v>1402/10/17</c:v>
                </c:pt>
                <c:pt idx="91">
                  <c:v>1402/10/24</c:v>
                </c:pt>
                <c:pt idx="92">
                  <c:v>1402/11/01</c:v>
                </c:pt>
                <c:pt idx="93">
                  <c:v>1402/11/08</c:v>
                </c:pt>
                <c:pt idx="94">
                  <c:v>1402/11/15</c:v>
                </c:pt>
                <c:pt idx="95">
                  <c:v>1402/11/23</c:v>
                </c:pt>
                <c:pt idx="96">
                  <c:v>1402/11/29</c:v>
                </c:pt>
                <c:pt idx="97">
                  <c:v>1402/12/07</c:v>
                </c:pt>
                <c:pt idx="98">
                  <c:v>1402/12/13</c:v>
                </c:pt>
                <c:pt idx="99">
                  <c:v>1402/12/20</c:v>
                </c:pt>
                <c:pt idx="100">
                  <c:v>1402/12/23</c:v>
                </c:pt>
                <c:pt idx="101">
                  <c:v>1403/01/19</c:v>
                </c:pt>
                <c:pt idx="102">
                  <c:v>1403/01/21</c:v>
                </c:pt>
                <c:pt idx="103">
                  <c:v>1403/01/26</c:v>
                </c:pt>
                <c:pt idx="104">
                  <c:v>1403/01/29</c:v>
                </c:pt>
                <c:pt idx="105">
                  <c:v>1403/02/02</c:v>
                </c:pt>
                <c:pt idx="106">
                  <c:v>1403/02/09</c:v>
                </c:pt>
                <c:pt idx="107">
                  <c:v>1403/02/17</c:v>
                </c:pt>
                <c:pt idx="108">
                  <c:v>1403/02/23</c:v>
                </c:pt>
                <c:pt idx="109">
                  <c:v>1403/02/24</c:v>
                </c:pt>
                <c:pt idx="110">
                  <c:v>1403/02/30</c:v>
                </c:pt>
                <c:pt idx="111">
                  <c:v>1403/03/06</c:v>
                </c:pt>
                <c:pt idx="112">
                  <c:v>1403/03/13</c:v>
                </c:pt>
                <c:pt idx="113">
                  <c:v>1403/03/20</c:v>
                </c:pt>
                <c:pt idx="114">
                  <c:v>1403/04/03</c:v>
                </c:pt>
                <c:pt idx="115">
                  <c:v>1403/04/10</c:v>
                </c:pt>
                <c:pt idx="116">
                  <c:v>1403/04/17</c:v>
                </c:pt>
                <c:pt idx="117">
                  <c:v>1403/04/24</c:v>
                </c:pt>
                <c:pt idx="118">
                  <c:v>1403/04/31</c:v>
                </c:pt>
                <c:pt idx="119">
                  <c:v>1403/05/08</c:v>
                </c:pt>
                <c:pt idx="120">
                  <c:v>1403/05/14</c:v>
                </c:pt>
                <c:pt idx="121">
                  <c:v>1403/05/21</c:v>
                </c:pt>
                <c:pt idx="122">
                  <c:v>1403/05/28</c:v>
                </c:pt>
                <c:pt idx="123">
                  <c:v>1403/06/05</c:v>
                </c:pt>
                <c:pt idx="124">
                  <c:v>1403/06/11</c:v>
                </c:pt>
                <c:pt idx="125">
                  <c:v>1403/06/13</c:v>
                </c:pt>
                <c:pt idx="126">
                  <c:v>1403/06/18</c:v>
                </c:pt>
                <c:pt idx="127">
                  <c:v>1403/06/25</c:v>
                </c:pt>
                <c:pt idx="128">
                  <c:v>1403/06/27</c:v>
                </c:pt>
                <c:pt idx="129">
                  <c:v>1403/07/02</c:v>
                </c:pt>
                <c:pt idx="130">
                  <c:v>1403/07/08</c:v>
                </c:pt>
                <c:pt idx="131">
                  <c:v>1403/07/10</c:v>
                </c:pt>
                <c:pt idx="132">
                  <c:v>1403/07/15</c:v>
                </c:pt>
                <c:pt idx="133">
                  <c:v>1403/07/22</c:v>
                </c:pt>
                <c:pt idx="134">
                  <c:v>1403/07/24</c:v>
                </c:pt>
                <c:pt idx="135">
                  <c:v>1403/07/29</c:v>
                </c:pt>
                <c:pt idx="136">
                  <c:v>1403/07/30</c:v>
                </c:pt>
                <c:pt idx="137">
                  <c:v>1403/08/01</c:v>
                </c:pt>
                <c:pt idx="138">
                  <c:v>1403/08/06</c:v>
                </c:pt>
                <c:pt idx="139">
                  <c:v>1403/08/08</c:v>
                </c:pt>
                <c:pt idx="140">
                  <c:v>1403/08/13</c:v>
                </c:pt>
                <c:pt idx="141">
                  <c:v>1403/08/15</c:v>
                </c:pt>
                <c:pt idx="142">
                  <c:v>1403/08/20</c:v>
                </c:pt>
                <c:pt idx="143">
                  <c:v>1403/08/21</c:v>
                </c:pt>
                <c:pt idx="144">
                  <c:v>1403/08/27</c:v>
                </c:pt>
                <c:pt idx="145">
                  <c:v>1403/08/28</c:v>
                </c:pt>
                <c:pt idx="146">
                  <c:v>1403/09/04</c:v>
                </c:pt>
                <c:pt idx="147">
                  <c:v>1403/09/05</c:v>
                </c:pt>
                <c:pt idx="148">
                  <c:v>1403/09/11</c:v>
                </c:pt>
                <c:pt idx="149">
                  <c:v>1403/09/12</c:v>
                </c:pt>
                <c:pt idx="150">
                  <c:v>1403/09/18</c:v>
                </c:pt>
                <c:pt idx="151">
                  <c:v>1403/09/19</c:v>
                </c:pt>
                <c:pt idx="152">
                  <c:v>1403/09/25</c:v>
                </c:pt>
                <c:pt idx="153">
                  <c:v>1403/09/26</c:v>
                </c:pt>
                <c:pt idx="154">
                  <c:v>1403/10/02</c:v>
                </c:pt>
                <c:pt idx="155">
                  <c:v>1403/10/03</c:v>
                </c:pt>
                <c:pt idx="156">
                  <c:v>1403/10/09</c:v>
                </c:pt>
                <c:pt idx="157">
                  <c:v>1403/10/10</c:v>
                </c:pt>
                <c:pt idx="158">
                  <c:v>1403/10/16</c:v>
                </c:pt>
                <c:pt idx="159">
                  <c:v>1403/10/17</c:v>
                </c:pt>
                <c:pt idx="160">
                  <c:v>1403/10/23</c:v>
                </c:pt>
                <c:pt idx="161">
                  <c:v>1403/10/24</c:v>
                </c:pt>
                <c:pt idx="162">
                  <c:v>1403/10/30</c:v>
                </c:pt>
                <c:pt idx="163">
                  <c:v>1403/11/07</c:v>
                </c:pt>
                <c:pt idx="164">
                  <c:v>1403/11/14</c:v>
                </c:pt>
                <c:pt idx="165">
                  <c:v>1403/11/23</c:v>
                </c:pt>
                <c:pt idx="166">
                  <c:v>1403/11/28</c:v>
                </c:pt>
                <c:pt idx="167">
                  <c:v>1403/12/06</c:v>
                </c:pt>
                <c:pt idx="168">
                  <c:v>1403/12/12</c:v>
                </c:pt>
              </c:strCache>
            </c:strRef>
          </c:cat>
          <c:val>
            <c:numRef>
              <c:f>هفتگی!$K$6:$K$174</c:f>
              <c:numCache>
                <c:formatCode>#,##0</c:formatCode>
                <c:ptCount val="169"/>
                <c:pt idx="0">
                  <c:v>2463486</c:v>
                </c:pt>
                <c:pt idx="1">
                  <c:v>2506597</c:v>
                </c:pt>
                <c:pt idx="2">
                  <c:v>2529633</c:v>
                </c:pt>
                <c:pt idx="3">
                  <c:v>2522827</c:v>
                </c:pt>
                <c:pt idx="4">
                  <c:v>2435614</c:v>
                </c:pt>
                <c:pt idx="5">
                  <c:v>2370631</c:v>
                </c:pt>
                <c:pt idx="6">
                  <c:v>2304835</c:v>
                </c:pt>
                <c:pt idx="7">
                  <c:v>2287202</c:v>
                </c:pt>
                <c:pt idx="8">
                  <c:v>2347999</c:v>
                </c:pt>
                <c:pt idx="9">
                  <c:v>2351027</c:v>
                </c:pt>
                <c:pt idx="10">
                  <c:v>2443988</c:v>
                </c:pt>
                <c:pt idx="11">
                  <c:v>2526659</c:v>
                </c:pt>
                <c:pt idx="12">
                  <c:v>2510630</c:v>
                </c:pt>
                <c:pt idx="13">
                  <c:v>2460454</c:v>
                </c:pt>
                <c:pt idx="14">
                  <c:v>2385166</c:v>
                </c:pt>
                <c:pt idx="15">
                  <c:v>2174787</c:v>
                </c:pt>
                <c:pt idx="16">
                  <c:v>2037191</c:v>
                </c:pt>
                <c:pt idx="17">
                  <c:v>2063388</c:v>
                </c:pt>
                <c:pt idx="18">
                  <c:v>2268488</c:v>
                </c:pt>
                <c:pt idx="19">
                  <c:v>2277702</c:v>
                </c:pt>
                <c:pt idx="20">
                  <c:v>2214845</c:v>
                </c:pt>
                <c:pt idx="21">
                  <c:v>2284243</c:v>
                </c:pt>
                <c:pt idx="22">
                  <c:v>2175280</c:v>
                </c:pt>
                <c:pt idx="23">
                  <c:v>2236012</c:v>
                </c:pt>
                <c:pt idx="24">
                  <c:v>2305054</c:v>
                </c:pt>
                <c:pt idx="25">
                  <c:v>2275389</c:v>
                </c:pt>
                <c:pt idx="26">
                  <c:v>2353798</c:v>
                </c:pt>
                <c:pt idx="27">
                  <c:v>2364156</c:v>
                </c:pt>
                <c:pt idx="28">
                  <c:v>2402249</c:v>
                </c:pt>
                <c:pt idx="29">
                  <c:v>2137088</c:v>
                </c:pt>
                <c:pt idx="30">
                  <c:v>2352175</c:v>
                </c:pt>
                <c:pt idx="31">
                  <c:v>2281315</c:v>
                </c:pt>
                <c:pt idx="32">
                  <c:v>2339547</c:v>
                </c:pt>
                <c:pt idx="33">
                  <c:v>2691550</c:v>
                </c:pt>
                <c:pt idx="34">
                  <c:v>2704150</c:v>
                </c:pt>
                <c:pt idx="35">
                  <c:v>2626000</c:v>
                </c:pt>
                <c:pt idx="36">
                  <c:v>2630000</c:v>
                </c:pt>
                <c:pt idx="37">
                  <c:v>2688010</c:v>
                </c:pt>
                <c:pt idx="38">
                  <c:v>2859575</c:v>
                </c:pt>
                <c:pt idx="39">
                  <c:v>2787000</c:v>
                </c:pt>
                <c:pt idx="40">
                  <c:v>2878000</c:v>
                </c:pt>
                <c:pt idx="41">
                  <c:v>3720383</c:v>
                </c:pt>
                <c:pt idx="42">
                  <c:v>3516383</c:v>
                </c:pt>
                <c:pt idx="43">
                  <c:v>3848920</c:v>
                </c:pt>
                <c:pt idx="44">
                  <c:v>4148011</c:v>
                </c:pt>
                <c:pt idx="45">
                  <c:v>4636610</c:v>
                </c:pt>
                <c:pt idx="46">
                  <c:v>4370985</c:v>
                </c:pt>
                <c:pt idx="47">
                  <c:v>3412397</c:v>
                </c:pt>
                <c:pt idx="48">
                  <c:v>4399155</c:v>
                </c:pt>
                <c:pt idx="49">
                  <c:v>4020170</c:v>
                </c:pt>
                <c:pt idx="50">
                  <c:v>3235888</c:v>
                </c:pt>
                <c:pt idx="51">
                  <c:v>3863790</c:v>
                </c:pt>
                <c:pt idx="52">
                  <c:v>3961135</c:v>
                </c:pt>
                <c:pt idx="53">
                  <c:v>3808495</c:v>
                </c:pt>
                <c:pt idx="54">
                  <c:v>3783005</c:v>
                </c:pt>
                <c:pt idx="55">
                  <c:v>3649240</c:v>
                </c:pt>
                <c:pt idx="56">
                  <c:v>3693555</c:v>
                </c:pt>
                <c:pt idx="57">
                  <c:v>3348133</c:v>
                </c:pt>
                <c:pt idx="58">
                  <c:v>3657735</c:v>
                </c:pt>
                <c:pt idx="59">
                  <c:v>3485000</c:v>
                </c:pt>
                <c:pt idx="60">
                  <c:v>3666150</c:v>
                </c:pt>
                <c:pt idx="61">
                  <c:v>3754110</c:v>
                </c:pt>
                <c:pt idx="62">
                  <c:v>3854800</c:v>
                </c:pt>
                <c:pt idx="63">
                  <c:v>3756255</c:v>
                </c:pt>
                <c:pt idx="64">
                  <c:v>3738150</c:v>
                </c:pt>
                <c:pt idx="65">
                  <c:v>3789710</c:v>
                </c:pt>
                <c:pt idx="66">
                  <c:v>3484155</c:v>
                </c:pt>
                <c:pt idx="67">
                  <c:v>3514600</c:v>
                </c:pt>
                <c:pt idx="68">
                  <c:v>3601000</c:v>
                </c:pt>
                <c:pt idx="69">
                  <c:v>3462315</c:v>
                </c:pt>
                <c:pt idx="70">
                  <c:v>3478585</c:v>
                </c:pt>
                <c:pt idx="71">
                  <c:v>3594990</c:v>
                </c:pt>
                <c:pt idx="72">
                  <c:v>3485455</c:v>
                </c:pt>
                <c:pt idx="73">
                  <c:v>3403510</c:v>
                </c:pt>
                <c:pt idx="74">
                  <c:v>3409000</c:v>
                </c:pt>
                <c:pt idx="75">
                  <c:v>3656355</c:v>
                </c:pt>
                <c:pt idx="76">
                  <c:v>3257000</c:v>
                </c:pt>
                <c:pt idx="77">
                  <c:v>3257000</c:v>
                </c:pt>
                <c:pt idx="78">
                  <c:v>3403280</c:v>
                </c:pt>
                <c:pt idx="79">
                  <c:v>3351550</c:v>
                </c:pt>
                <c:pt idx="80">
                  <c:v>3327000</c:v>
                </c:pt>
                <c:pt idx="81">
                  <c:v>3314000</c:v>
                </c:pt>
                <c:pt idx="82">
                  <c:v>3305000</c:v>
                </c:pt>
                <c:pt idx="83">
                  <c:v>3305000</c:v>
                </c:pt>
                <c:pt idx="84">
                  <c:v>3304000</c:v>
                </c:pt>
                <c:pt idx="85">
                  <c:v>3316000</c:v>
                </c:pt>
                <c:pt idx="86">
                  <c:v>3314000</c:v>
                </c:pt>
                <c:pt idx="87">
                  <c:v>3314300</c:v>
                </c:pt>
                <c:pt idx="88">
                  <c:v>3314010</c:v>
                </c:pt>
                <c:pt idx="89">
                  <c:v>3352330</c:v>
                </c:pt>
                <c:pt idx="90">
                  <c:v>3534805</c:v>
                </c:pt>
                <c:pt idx="91">
                  <c:v>3772590</c:v>
                </c:pt>
                <c:pt idx="92">
                  <c:v>3804785</c:v>
                </c:pt>
                <c:pt idx="93">
                  <c:v>3804275</c:v>
                </c:pt>
                <c:pt idx="94">
                  <c:v>3952405</c:v>
                </c:pt>
                <c:pt idx="95">
                  <c:v>3735760</c:v>
                </c:pt>
                <c:pt idx="96">
                  <c:v>3505090</c:v>
                </c:pt>
                <c:pt idx="97">
                  <c:v>3615660</c:v>
                </c:pt>
                <c:pt idx="98">
                  <c:v>4190550</c:v>
                </c:pt>
                <c:pt idx="99">
                  <c:v>3987780</c:v>
                </c:pt>
                <c:pt idx="100">
                  <c:v>3988000</c:v>
                </c:pt>
                <c:pt idx="101">
                  <c:v>5292370</c:v>
                </c:pt>
                <c:pt idx="102">
                  <c:v>5095080</c:v>
                </c:pt>
                <c:pt idx="103">
                  <c:v>5292000</c:v>
                </c:pt>
                <c:pt idx="104">
                  <c:v>5292000</c:v>
                </c:pt>
                <c:pt idx="105">
                  <c:v>5292000</c:v>
                </c:pt>
                <c:pt idx="106">
                  <c:v>5292000</c:v>
                </c:pt>
                <c:pt idx="107">
                  <c:v>5155000</c:v>
                </c:pt>
                <c:pt idx="108">
                  <c:v>5155000</c:v>
                </c:pt>
                <c:pt idx="109">
                  <c:v>5155000</c:v>
                </c:pt>
                <c:pt idx="110">
                  <c:v>5239000</c:v>
                </c:pt>
                <c:pt idx="111">
                  <c:v>5310120</c:v>
                </c:pt>
                <c:pt idx="112">
                  <c:v>5242000</c:v>
                </c:pt>
                <c:pt idx="113">
                  <c:v>5189380</c:v>
                </c:pt>
                <c:pt idx="114">
                  <c:v>5083000</c:v>
                </c:pt>
                <c:pt idx="115">
                  <c:v>5066013</c:v>
                </c:pt>
                <c:pt idx="116">
                  <c:v>5107000</c:v>
                </c:pt>
                <c:pt idx="117">
                  <c:v>5152000</c:v>
                </c:pt>
                <c:pt idx="118">
                  <c:v>5104000</c:v>
                </c:pt>
                <c:pt idx="119">
                  <c:v>4916000</c:v>
                </c:pt>
                <c:pt idx="120">
                  <c:v>4903000</c:v>
                </c:pt>
                <c:pt idx="121">
                  <c:v>4854000</c:v>
                </c:pt>
                <c:pt idx="122">
                  <c:v>4913000</c:v>
                </c:pt>
                <c:pt idx="123">
                  <c:v>4962000</c:v>
                </c:pt>
                <c:pt idx="124">
                  <c:v>4981067</c:v>
                </c:pt>
                <c:pt idx="125">
                  <c:v>4981240</c:v>
                </c:pt>
                <c:pt idx="126">
                  <c:v>4883013.333333333</c:v>
                </c:pt>
                <c:pt idx="127">
                  <c:v>4908000</c:v>
                </c:pt>
                <c:pt idx="128">
                  <c:v>4908000</c:v>
                </c:pt>
                <c:pt idx="129">
                  <c:v>4976000</c:v>
                </c:pt>
                <c:pt idx="130">
                  <c:v>5251933</c:v>
                </c:pt>
                <c:pt idx="131">
                  <c:v>5253320</c:v>
                </c:pt>
                <c:pt idx="132">
                  <c:v>5134000</c:v>
                </c:pt>
                <c:pt idx="133">
                  <c:v>5044000</c:v>
                </c:pt>
                <c:pt idx="134">
                  <c:v>5044000</c:v>
                </c:pt>
                <c:pt idx="135">
                  <c:v>4961000</c:v>
                </c:pt>
                <c:pt idx="136">
                  <c:v>4961000</c:v>
                </c:pt>
                <c:pt idx="137">
                  <c:v>5105800</c:v>
                </c:pt>
                <c:pt idx="138">
                  <c:v>4961000</c:v>
                </c:pt>
                <c:pt idx="139">
                  <c:v>5311280</c:v>
                </c:pt>
                <c:pt idx="140">
                  <c:v>5373473</c:v>
                </c:pt>
                <c:pt idx="141">
                  <c:v>5462380</c:v>
                </c:pt>
                <c:pt idx="142">
                  <c:v>5442313</c:v>
                </c:pt>
                <c:pt idx="143">
                  <c:v>5444200</c:v>
                </c:pt>
                <c:pt idx="144">
                  <c:v>5102233</c:v>
                </c:pt>
                <c:pt idx="145">
                  <c:v>5291600</c:v>
                </c:pt>
                <c:pt idx="146">
                  <c:v>5157140</c:v>
                </c:pt>
                <c:pt idx="147">
                  <c:v>5262840</c:v>
                </c:pt>
                <c:pt idx="148">
                  <c:v>5240507</c:v>
                </c:pt>
                <c:pt idx="149">
                  <c:v>5286000</c:v>
                </c:pt>
                <c:pt idx="150">
                  <c:v>5743347</c:v>
                </c:pt>
                <c:pt idx="151">
                  <c:v>5605240</c:v>
                </c:pt>
                <c:pt idx="152">
                  <c:v>5165000</c:v>
                </c:pt>
                <c:pt idx="153">
                  <c:v>5709920</c:v>
                </c:pt>
                <c:pt idx="154">
                  <c:v>5443420</c:v>
                </c:pt>
                <c:pt idx="155">
                  <c:v>5719480</c:v>
                </c:pt>
                <c:pt idx="156">
                  <c:v>5769467</c:v>
                </c:pt>
                <c:pt idx="157">
                  <c:v>6349720</c:v>
                </c:pt>
                <c:pt idx="158">
                  <c:v>5600407</c:v>
                </c:pt>
                <c:pt idx="159">
                  <c:v>5942400</c:v>
                </c:pt>
                <c:pt idx="160">
                  <c:v>5664000</c:v>
                </c:pt>
                <c:pt idx="161">
                  <c:v>6168200</c:v>
                </c:pt>
                <c:pt idx="162">
                  <c:v>5753000</c:v>
                </c:pt>
                <c:pt idx="163">
                  <c:v>6027020</c:v>
                </c:pt>
                <c:pt idx="164">
                  <c:v>6173467</c:v>
                </c:pt>
                <c:pt idx="165">
                  <c:v>7357467</c:v>
                </c:pt>
                <c:pt idx="166">
                  <c:v>7875047</c:v>
                </c:pt>
                <c:pt idx="167">
                  <c:v>8070267</c:v>
                </c:pt>
                <c:pt idx="168">
                  <c:v>776642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6-BAC5-44B9-9F11-60D40EAE88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5661600"/>
        <c:axId val="375663168"/>
      </c:lineChart>
      <c:catAx>
        <c:axId val="375661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75663168"/>
        <c:crosses val="autoZero"/>
        <c:auto val="1"/>
        <c:lblAlgn val="ctr"/>
        <c:lblOffset val="100"/>
        <c:noMultiLvlLbl val="0"/>
      </c:catAx>
      <c:valAx>
        <c:axId val="37566316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r>
                  <a:rPr lang="fa-IR"/>
                  <a:t>نرخ کاتد بورس کالا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DanaFaNum" pitchFamily="2" charset="-78"/>
                  <a:ea typeface="+mn-ea"/>
                  <a:cs typeface="DanaFaNum" pitchFamily="2" charset="-78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75661600"/>
        <c:crosses val="autoZero"/>
        <c:crossBetween val="between"/>
      </c:valAx>
      <c:valAx>
        <c:axId val="52182058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r>
                  <a:rPr lang="fa-IR"/>
                  <a:t>درصد رقابت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DanaFaNum" pitchFamily="2" charset="-78"/>
                  <a:ea typeface="+mn-ea"/>
                  <a:cs typeface="DanaFaNum" pitchFamily="2" charset="-78"/>
                </a:defRPr>
              </a:pPr>
              <a:endParaRPr lang="en-US"/>
            </a:p>
          </c:txPr>
        </c:title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521820976"/>
        <c:crosses val="max"/>
        <c:crossBetween val="between"/>
      </c:valAx>
      <c:catAx>
        <c:axId val="521820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182058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 sz="1100" b="0" i="0" baseline="0">
                <a:effectLst/>
              </a:rPr>
              <a:t>ارزش معاملات خرد از ابتدای سال 1401</a:t>
            </a:r>
            <a:r>
              <a:rPr lang="en-US" sz="1100" b="0" i="0" baseline="0">
                <a:effectLst/>
              </a:rPr>
              <a:t> </a:t>
            </a:r>
            <a:r>
              <a:rPr lang="fa-IR" sz="1100" b="0" i="0" baseline="0">
                <a:effectLst/>
              </a:rPr>
              <a:t>- میلیون ریال</a:t>
            </a:r>
            <a:endParaRPr lang="en-US" sz="11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0013983607697573E-2"/>
          <c:y val="8.3126424890319364E-2"/>
          <c:w val="0.9297582153695223"/>
          <c:h val="0.76104584554667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  بورس ایران-ارزش معاملات سهام '!$B$1</c:f>
              <c:strCache>
                <c:ptCount val="1"/>
                <c:pt idx="0">
                  <c:v> مقدار </c:v>
                </c:pt>
              </c:strCache>
            </c:strRef>
          </c:tx>
          <c:spPr>
            <a:solidFill>
              <a:schemeClr val="accent1">
                <a:shade val="65000"/>
              </a:schemeClr>
            </a:solidFill>
            <a:ln w="19050"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cat>
            <c:strRef>
              <c:f>'  بورس ایران-ارزش معاملات سهام '!$A$2:$A$711</c:f>
              <c:strCache>
                <c:ptCount val="710"/>
                <c:pt idx="0">
                  <c:v>1401-01-06</c:v>
                </c:pt>
                <c:pt idx="1">
                  <c:v>1401-01-07</c:v>
                </c:pt>
                <c:pt idx="2">
                  <c:v>1401-01-08</c:v>
                </c:pt>
                <c:pt idx="3">
                  <c:v>1401-01-09</c:v>
                </c:pt>
                <c:pt idx="4">
                  <c:v>1401-01-10</c:v>
                </c:pt>
                <c:pt idx="5">
                  <c:v>1401-01-14</c:v>
                </c:pt>
                <c:pt idx="6">
                  <c:v>1401-01-15</c:v>
                </c:pt>
                <c:pt idx="7">
                  <c:v>1401-01-16</c:v>
                </c:pt>
                <c:pt idx="8">
                  <c:v>1401-01-17</c:v>
                </c:pt>
                <c:pt idx="9">
                  <c:v>1401-01-20</c:v>
                </c:pt>
                <c:pt idx="10">
                  <c:v>1401-01-21</c:v>
                </c:pt>
                <c:pt idx="11">
                  <c:v>1401-01-22</c:v>
                </c:pt>
                <c:pt idx="12">
                  <c:v>1401-01-23</c:v>
                </c:pt>
                <c:pt idx="13">
                  <c:v>1401-01-24</c:v>
                </c:pt>
                <c:pt idx="14">
                  <c:v>1401-01-27</c:v>
                </c:pt>
                <c:pt idx="15">
                  <c:v>1401-01-28</c:v>
                </c:pt>
                <c:pt idx="16">
                  <c:v>1401-01-29</c:v>
                </c:pt>
                <c:pt idx="17">
                  <c:v>1401-01-30</c:v>
                </c:pt>
                <c:pt idx="18">
                  <c:v>1401-01-31</c:v>
                </c:pt>
                <c:pt idx="19">
                  <c:v>1401-02-04</c:v>
                </c:pt>
                <c:pt idx="20">
                  <c:v>1401-02-05</c:v>
                </c:pt>
                <c:pt idx="21">
                  <c:v>1401-02-06</c:v>
                </c:pt>
                <c:pt idx="22">
                  <c:v>1401-02-07</c:v>
                </c:pt>
                <c:pt idx="23">
                  <c:v>1401-02-10</c:v>
                </c:pt>
                <c:pt idx="24">
                  <c:v>1401-02-11</c:v>
                </c:pt>
                <c:pt idx="25">
                  <c:v>1401-02-12</c:v>
                </c:pt>
                <c:pt idx="26">
                  <c:v>1401-02-17</c:v>
                </c:pt>
                <c:pt idx="27">
                  <c:v>1401-02-18</c:v>
                </c:pt>
                <c:pt idx="28">
                  <c:v>1401-02-19</c:v>
                </c:pt>
                <c:pt idx="29">
                  <c:v>1401-02-20</c:v>
                </c:pt>
                <c:pt idx="30">
                  <c:v>1401-02-21</c:v>
                </c:pt>
                <c:pt idx="31">
                  <c:v>1401-02-24</c:v>
                </c:pt>
                <c:pt idx="32">
                  <c:v>1401-02-25</c:v>
                </c:pt>
                <c:pt idx="33">
                  <c:v>1401-02-26</c:v>
                </c:pt>
                <c:pt idx="34">
                  <c:v>1401-02-27</c:v>
                </c:pt>
                <c:pt idx="35">
                  <c:v>1401-02-28</c:v>
                </c:pt>
                <c:pt idx="36">
                  <c:v>1401-02-31</c:v>
                </c:pt>
                <c:pt idx="37">
                  <c:v>1401-03-01</c:v>
                </c:pt>
                <c:pt idx="38">
                  <c:v>1401-03-02</c:v>
                </c:pt>
                <c:pt idx="39">
                  <c:v>1401-03-03</c:v>
                </c:pt>
                <c:pt idx="40">
                  <c:v>1401-03-04</c:v>
                </c:pt>
                <c:pt idx="41">
                  <c:v>1401-03-07</c:v>
                </c:pt>
                <c:pt idx="42">
                  <c:v>1401-03-08</c:v>
                </c:pt>
                <c:pt idx="43">
                  <c:v>1401-03-09</c:v>
                </c:pt>
                <c:pt idx="44">
                  <c:v>1401-03-10</c:v>
                </c:pt>
                <c:pt idx="45">
                  <c:v>1401-03-11</c:v>
                </c:pt>
                <c:pt idx="46">
                  <c:v>1401-03-16</c:v>
                </c:pt>
                <c:pt idx="47">
                  <c:v>1401-03-17</c:v>
                </c:pt>
                <c:pt idx="48">
                  <c:v>1401-03-18</c:v>
                </c:pt>
                <c:pt idx="49">
                  <c:v>1401-03-21</c:v>
                </c:pt>
                <c:pt idx="50">
                  <c:v>1401-03-22</c:v>
                </c:pt>
                <c:pt idx="51">
                  <c:v>1401-03-23</c:v>
                </c:pt>
                <c:pt idx="52">
                  <c:v>1401-03-24</c:v>
                </c:pt>
                <c:pt idx="53">
                  <c:v>1401-03-25</c:v>
                </c:pt>
                <c:pt idx="54">
                  <c:v>1401-03-28</c:v>
                </c:pt>
                <c:pt idx="55">
                  <c:v>1401-03-29</c:v>
                </c:pt>
                <c:pt idx="56">
                  <c:v>1401-03-30</c:v>
                </c:pt>
                <c:pt idx="57">
                  <c:v>1401-03-31</c:v>
                </c:pt>
                <c:pt idx="58">
                  <c:v>1401-04-01</c:v>
                </c:pt>
                <c:pt idx="59">
                  <c:v>1401-04-04</c:v>
                </c:pt>
                <c:pt idx="60">
                  <c:v>1401-04-05</c:v>
                </c:pt>
                <c:pt idx="61">
                  <c:v>1401-04-06</c:v>
                </c:pt>
                <c:pt idx="62">
                  <c:v>1401-04-07</c:v>
                </c:pt>
                <c:pt idx="63">
                  <c:v>1401-04-08</c:v>
                </c:pt>
                <c:pt idx="64">
                  <c:v>1401-04-11</c:v>
                </c:pt>
                <c:pt idx="65">
                  <c:v>1401-04-12</c:v>
                </c:pt>
                <c:pt idx="66">
                  <c:v>1401-04-13</c:v>
                </c:pt>
                <c:pt idx="67">
                  <c:v>1401-04-14</c:v>
                </c:pt>
                <c:pt idx="68">
                  <c:v>1401-04-15</c:v>
                </c:pt>
                <c:pt idx="69">
                  <c:v>1401-04-18</c:v>
                </c:pt>
                <c:pt idx="70">
                  <c:v>1401-04-20</c:v>
                </c:pt>
                <c:pt idx="71">
                  <c:v>1401-04-21</c:v>
                </c:pt>
                <c:pt idx="72">
                  <c:v>1401-04-22</c:v>
                </c:pt>
                <c:pt idx="73">
                  <c:v>1401-04-25</c:v>
                </c:pt>
                <c:pt idx="74">
                  <c:v>1401-04-26</c:v>
                </c:pt>
                <c:pt idx="75">
                  <c:v>1401-04-28</c:v>
                </c:pt>
                <c:pt idx="76">
                  <c:v>1401-04-29</c:v>
                </c:pt>
                <c:pt idx="77">
                  <c:v>1401-05-01</c:v>
                </c:pt>
                <c:pt idx="78">
                  <c:v>1401-05-02</c:v>
                </c:pt>
                <c:pt idx="79">
                  <c:v>1401-05-03</c:v>
                </c:pt>
                <c:pt idx="80">
                  <c:v>1401-05-04</c:v>
                </c:pt>
                <c:pt idx="81">
                  <c:v>1401-05-05</c:v>
                </c:pt>
                <c:pt idx="82">
                  <c:v>1401-05-08</c:v>
                </c:pt>
                <c:pt idx="83">
                  <c:v>1401-05-09</c:v>
                </c:pt>
                <c:pt idx="84">
                  <c:v>1401-05-10</c:v>
                </c:pt>
                <c:pt idx="85">
                  <c:v>1401-05-11</c:v>
                </c:pt>
                <c:pt idx="86">
                  <c:v>1401-05-12</c:v>
                </c:pt>
                <c:pt idx="87">
                  <c:v>1401-05-15</c:v>
                </c:pt>
                <c:pt idx="88">
                  <c:v>1401-05-18</c:v>
                </c:pt>
                <c:pt idx="89">
                  <c:v>1401-05-19</c:v>
                </c:pt>
                <c:pt idx="90">
                  <c:v>1401-05-22</c:v>
                </c:pt>
                <c:pt idx="91">
                  <c:v>1401-05-23</c:v>
                </c:pt>
                <c:pt idx="92">
                  <c:v>1401-05-24</c:v>
                </c:pt>
                <c:pt idx="93">
                  <c:v>1401-05-25</c:v>
                </c:pt>
                <c:pt idx="94">
                  <c:v>1401-05-26</c:v>
                </c:pt>
                <c:pt idx="95">
                  <c:v>1401-05-29</c:v>
                </c:pt>
                <c:pt idx="96">
                  <c:v>1401-05-30</c:v>
                </c:pt>
                <c:pt idx="97">
                  <c:v>1401-05-31</c:v>
                </c:pt>
                <c:pt idx="98">
                  <c:v>1401-06-01</c:v>
                </c:pt>
                <c:pt idx="99">
                  <c:v>1401-06-02</c:v>
                </c:pt>
                <c:pt idx="100">
                  <c:v>1401-06-05</c:v>
                </c:pt>
                <c:pt idx="101">
                  <c:v>1401-06-06</c:v>
                </c:pt>
                <c:pt idx="102">
                  <c:v>1401-06-07</c:v>
                </c:pt>
                <c:pt idx="103">
                  <c:v>1401-06-08</c:v>
                </c:pt>
                <c:pt idx="104">
                  <c:v>1401-06-09</c:v>
                </c:pt>
                <c:pt idx="105">
                  <c:v>1401-06-12</c:v>
                </c:pt>
                <c:pt idx="106">
                  <c:v>1401-06-13</c:v>
                </c:pt>
                <c:pt idx="107">
                  <c:v>1401-06-14</c:v>
                </c:pt>
                <c:pt idx="108">
                  <c:v>1401-06-15</c:v>
                </c:pt>
                <c:pt idx="109">
                  <c:v>1401-06-16</c:v>
                </c:pt>
                <c:pt idx="110">
                  <c:v>1401-06-19</c:v>
                </c:pt>
                <c:pt idx="111">
                  <c:v>1401-06-20</c:v>
                </c:pt>
                <c:pt idx="112">
                  <c:v>1401-06-21</c:v>
                </c:pt>
                <c:pt idx="113">
                  <c:v>1401-06-22</c:v>
                </c:pt>
                <c:pt idx="114">
                  <c:v>1401-06-23</c:v>
                </c:pt>
                <c:pt idx="115">
                  <c:v>1401-06-27</c:v>
                </c:pt>
                <c:pt idx="116">
                  <c:v>1401-06-28</c:v>
                </c:pt>
                <c:pt idx="117">
                  <c:v>1401-06-29</c:v>
                </c:pt>
                <c:pt idx="118">
                  <c:v>1401-06-30</c:v>
                </c:pt>
                <c:pt idx="119">
                  <c:v>1401-07-02</c:v>
                </c:pt>
                <c:pt idx="120">
                  <c:v>1401-07-04</c:v>
                </c:pt>
                <c:pt idx="121">
                  <c:v>1401-07-06</c:v>
                </c:pt>
                <c:pt idx="122">
                  <c:v>1401-07-09</c:v>
                </c:pt>
                <c:pt idx="123">
                  <c:v>1401-07-10</c:v>
                </c:pt>
                <c:pt idx="124">
                  <c:v>1401-07-11</c:v>
                </c:pt>
                <c:pt idx="125">
                  <c:v>1401-07-12</c:v>
                </c:pt>
                <c:pt idx="126">
                  <c:v>1401-07-16</c:v>
                </c:pt>
                <c:pt idx="127">
                  <c:v>1401-07-17</c:v>
                </c:pt>
                <c:pt idx="128">
                  <c:v>1401-07-18</c:v>
                </c:pt>
                <c:pt idx="129">
                  <c:v>1401-07-19</c:v>
                </c:pt>
                <c:pt idx="130">
                  <c:v>1401-07-20</c:v>
                </c:pt>
                <c:pt idx="131">
                  <c:v>1401-07-23</c:v>
                </c:pt>
                <c:pt idx="132">
                  <c:v>1401-07-24</c:v>
                </c:pt>
                <c:pt idx="133">
                  <c:v>1401-07-25</c:v>
                </c:pt>
                <c:pt idx="134">
                  <c:v>1401-07-26</c:v>
                </c:pt>
                <c:pt idx="135">
                  <c:v>1401-07-27</c:v>
                </c:pt>
                <c:pt idx="136">
                  <c:v>1401-07-30</c:v>
                </c:pt>
                <c:pt idx="137">
                  <c:v>1401-08-01</c:v>
                </c:pt>
                <c:pt idx="138">
                  <c:v>1401-08-02</c:v>
                </c:pt>
                <c:pt idx="139">
                  <c:v>1401-08-03</c:v>
                </c:pt>
                <c:pt idx="140">
                  <c:v>1401-08-04</c:v>
                </c:pt>
                <c:pt idx="141">
                  <c:v>1401-08-07</c:v>
                </c:pt>
                <c:pt idx="142">
                  <c:v>1401-08-08</c:v>
                </c:pt>
                <c:pt idx="143">
                  <c:v>1401-08-09</c:v>
                </c:pt>
                <c:pt idx="144">
                  <c:v>1401-08-10</c:v>
                </c:pt>
                <c:pt idx="145">
                  <c:v>1401-08-11</c:v>
                </c:pt>
                <c:pt idx="146">
                  <c:v>1401-08-14</c:v>
                </c:pt>
                <c:pt idx="147">
                  <c:v>1401-08-15</c:v>
                </c:pt>
                <c:pt idx="148">
                  <c:v>1401-08-16</c:v>
                </c:pt>
                <c:pt idx="149">
                  <c:v>1401-08-17</c:v>
                </c:pt>
                <c:pt idx="150">
                  <c:v>1401-08-18</c:v>
                </c:pt>
                <c:pt idx="151">
                  <c:v>1401-08-21</c:v>
                </c:pt>
                <c:pt idx="152">
                  <c:v>1401-08-22</c:v>
                </c:pt>
                <c:pt idx="153">
                  <c:v>1401-08-23</c:v>
                </c:pt>
                <c:pt idx="154">
                  <c:v>1401-08-24</c:v>
                </c:pt>
                <c:pt idx="155">
                  <c:v>1401-08-25</c:v>
                </c:pt>
                <c:pt idx="156">
                  <c:v>1401-08-28</c:v>
                </c:pt>
                <c:pt idx="157">
                  <c:v>1401-08-29</c:v>
                </c:pt>
                <c:pt idx="158">
                  <c:v>1401-08-30</c:v>
                </c:pt>
                <c:pt idx="159">
                  <c:v>1401-09-01</c:v>
                </c:pt>
                <c:pt idx="160">
                  <c:v>1401-09-02</c:v>
                </c:pt>
                <c:pt idx="161">
                  <c:v>1401-09-05</c:v>
                </c:pt>
                <c:pt idx="162">
                  <c:v>1401-09-06</c:v>
                </c:pt>
                <c:pt idx="163">
                  <c:v>1401-09-07</c:v>
                </c:pt>
                <c:pt idx="164">
                  <c:v>1401-09-08</c:v>
                </c:pt>
                <c:pt idx="165">
                  <c:v>1401-09-09</c:v>
                </c:pt>
                <c:pt idx="166">
                  <c:v>1401-09-12</c:v>
                </c:pt>
                <c:pt idx="167">
                  <c:v>1401-09-13</c:v>
                </c:pt>
                <c:pt idx="168">
                  <c:v>1401-09-14</c:v>
                </c:pt>
                <c:pt idx="169">
                  <c:v>1401-09-15</c:v>
                </c:pt>
                <c:pt idx="170">
                  <c:v>1401-09-16</c:v>
                </c:pt>
                <c:pt idx="171">
                  <c:v>1401-09-19</c:v>
                </c:pt>
                <c:pt idx="172">
                  <c:v>1401-09-20</c:v>
                </c:pt>
                <c:pt idx="173">
                  <c:v>1401-09-21</c:v>
                </c:pt>
                <c:pt idx="174">
                  <c:v>1401-09-22</c:v>
                </c:pt>
                <c:pt idx="175">
                  <c:v>1401-09-23</c:v>
                </c:pt>
                <c:pt idx="176">
                  <c:v>1401-09-26</c:v>
                </c:pt>
                <c:pt idx="177">
                  <c:v>1401-09-27</c:v>
                </c:pt>
                <c:pt idx="178">
                  <c:v>1401-09-28</c:v>
                </c:pt>
                <c:pt idx="179">
                  <c:v>1401-09-29</c:v>
                </c:pt>
                <c:pt idx="180">
                  <c:v>1401-09-30</c:v>
                </c:pt>
                <c:pt idx="181">
                  <c:v>1401-10-03</c:v>
                </c:pt>
                <c:pt idx="182">
                  <c:v>1401-10-04</c:v>
                </c:pt>
                <c:pt idx="183">
                  <c:v>1401-10-05</c:v>
                </c:pt>
                <c:pt idx="184">
                  <c:v>1401-10-07</c:v>
                </c:pt>
                <c:pt idx="185">
                  <c:v>1401-10-10</c:v>
                </c:pt>
                <c:pt idx="186">
                  <c:v>1401-10-11</c:v>
                </c:pt>
                <c:pt idx="187">
                  <c:v>1401-10-12</c:v>
                </c:pt>
                <c:pt idx="188">
                  <c:v>1401-10-13</c:v>
                </c:pt>
                <c:pt idx="189">
                  <c:v>1401-10-14</c:v>
                </c:pt>
                <c:pt idx="190">
                  <c:v>1401-10-17</c:v>
                </c:pt>
                <c:pt idx="191">
                  <c:v>1401-10-18</c:v>
                </c:pt>
                <c:pt idx="192">
                  <c:v>1401-10-19</c:v>
                </c:pt>
                <c:pt idx="193">
                  <c:v>1401-10-20</c:v>
                </c:pt>
                <c:pt idx="194">
                  <c:v>1401-10-21</c:v>
                </c:pt>
                <c:pt idx="195">
                  <c:v>1401-10-24</c:v>
                </c:pt>
                <c:pt idx="196">
                  <c:v>1401-10-26</c:v>
                </c:pt>
                <c:pt idx="197">
                  <c:v>1401-10-27</c:v>
                </c:pt>
                <c:pt idx="198">
                  <c:v>1401-10-28</c:v>
                </c:pt>
                <c:pt idx="199">
                  <c:v>1401-11-01</c:v>
                </c:pt>
                <c:pt idx="200">
                  <c:v>1401-11-02</c:v>
                </c:pt>
                <c:pt idx="201">
                  <c:v>1401-11-03</c:v>
                </c:pt>
                <c:pt idx="202">
                  <c:v>1401-11-04</c:v>
                </c:pt>
                <c:pt idx="203">
                  <c:v>1401-11-05</c:v>
                </c:pt>
                <c:pt idx="204">
                  <c:v>1401-11-08</c:v>
                </c:pt>
                <c:pt idx="205">
                  <c:v>1401-11-09</c:v>
                </c:pt>
                <c:pt idx="206">
                  <c:v>1401-11-10</c:v>
                </c:pt>
                <c:pt idx="207">
                  <c:v>1401-11-11</c:v>
                </c:pt>
                <c:pt idx="208">
                  <c:v>1401-11-12</c:v>
                </c:pt>
                <c:pt idx="209">
                  <c:v>1401-11-16</c:v>
                </c:pt>
                <c:pt idx="210">
                  <c:v>1401-11-17</c:v>
                </c:pt>
                <c:pt idx="211">
                  <c:v>1401-11-18</c:v>
                </c:pt>
                <c:pt idx="212">
                  <c:v>1401-11-19</c:v>
                </c:pt>
                <c:pt idx="213">
                  <c:v>1401-11-23</c:v>
                </c:pt>
                <c:pt idx="214">
                  <c:v>1401-11-24</c:v>
                </c:pt>
                <c:pt idx="215">
                  <c:v>1401-11-25</c:v>
                </c:pt>
                <c:pt idx="216">
                  <c:v>1401-11-26</c:v>
                </c:pt>
                <c:pt idx="217">
                  <c:v>1401-11-30</c:v>
                </c:pt>
                <c:pt idx="218">
                  <c:v>1401-12-01</c:v>
                </c:pt>
                <c:pt idx="219">
                  <c:v>1401-12-02</c:v>
                </c:pt>
                <c:pt idx="220">
                  <c:v>1401-12-03</c:v>
                </c:pt>
                <c:pt idx="221">
                  <c:v>1401-12-06</c:v>
                </c:pt>
                <c:pt idx="222">
                  <c:v>1401-12-07</c:v>
                </c:pt>
                <c:pt idx="223">
                  <c:v>1401-12-08</c:v>
                </c:pt>
                <c:pt idx="224">
                  <c:v>1401-12-09</c:v>
                </c:pt>
                <c:pt idx="225">
                  <c:v>1401-12-10</c:v>
                </c:pt>
                <c:pt idx="226">
                  <c:v>1401-12-13</c:v>
                </c:pt>
                <c:pt idx="227">
                  <c:v>1401-12-14</c:v>
                </c:pt>
                <c:pt idx="228">
                  <c:v>1401-12-15</c:v>
                </c:pt>
                <c:pt idx="229">
                  <c:v>1401-12-16</c:v>
                </c:pt>
                <c:pt idx="230">
                  <c:v>1401-12-20</c:v>
                </c:pt>
                <c:pt idx="231">
                  <c:v>1401-12-21</c:v>
                </c:pt>
                <c:pt idx="232">
                  <c:v>1401-12-22</c:v>
                </c:pt>
                <c:pt idx="233">
                  <c:v>1401-12-23</c:v>
                </c:pt>
                <c:pt idx="234">
                  <c:v>1401-12-24</c:v>
                </c:pt>
                <c:pt idx="235">
                  <c:v>1401-12-27</c:v>
                </c:pt>
                <c:pt idx="236">
                  <c:v>1401-12-28</c:v>
                </c:pt>
                <c:pt idx="237">
                  <c:v>1402-01-05</c:v>
                </c:pt>
                <c:pt idx="238">
                  <c:v>1402-01-06</c:v>
                </c:pt>
                <c:pt idx="239">
                  <c:v>1402-01-07</c:v>
                </c:pt>
                <c:pt idx="240">
                  <c:v>1402-01-08</c:v>
                </c:pt>
                <c:pt idx="241">
                  <c:v>1402-01-09</c:v>
                </c:pt>
                <c:pt idx="242">
                  <c:v>1402-01-14</c:v>
                </c:pt>
                <c:pt idx="243">
                  <c:v>1402-01-15</c:v>
                </c:pt>
                <c:pt idx="244">
                  <c:v>1402-01-16</c:v>
                </c:pt>
                <c:pt idx="245">
                  <c:v>1402-01-19</c:v>
                </c:pt>
                <c:pt idx="246">
                  <c:v>1402-01-20</c:v>
                </c:pt>
                <c:pt idx="247">
                  <c:v>1402-01-21</c:v>
                </c:pt>
                <c:pt idx="248">
                  <c:v>1402-01-22</c:v>
                </c:pt>
                <c:pt idx="249">
                  <c:v>1402-01-26</c:v>
                </c:pt>
                <c:pt idx="250">
                  <c:v>1402-01-27</c:v>
                </c:pt>
                <c:pt idx="251">
                  <c:v>1402-01-28</c:v>
                </c:pt>
                <c:pt idx="252">
                  <c:v>1402-01-29</c:v>
                </c:pt>
                <c:pt idx="253">
                  <c:v>1402-01-30</c:v>
                </c:pt>
                <c:pt idx="254">
                  <c:v>1402-02-04</c:v>
                </c:pt>
                <c:pt idx="255">
                  <c:v>1402-02-05</c:v>
                </c:pt>
                <c:pt idx="256">
                  <c:v>1402-02-06</c:v>
                </c:pt>
                <c:pt idx="257">
                  <c:v>1402-02-09</c:v>
                </c:pt>
                <c:pt idx="258">
                  <c:v>1402-02-10</c:v>
                </c:pt>
                <c:pt idx="259">
                  <c:v>1402-02-11</c:v>
                </c:pt>
                <c:pt idx="260">
                  <c:v>1402-02-12</c:v>
                </c:pt>
                <c:pt idx="261">
                  <c:v>1402-02-13</c:v>
                </c:pt>
                <c:pt idx="262">
                  <c:v>1402-02-16</c:v>
                </c:pt>
                <c:pt idx="263">
                  <c:v>1402-02-17</c:v>
                </c:pt>
                <c:pt idx="264">
                  <c:v>1402-02-18</c:v>
                </c:pt>
                <c:pt idx="265">
                  <c:v>1402-02-19</c:v>
                </c:pt>
                <c:pt idx="266">
                  <c:v>1402-02-20</c:v>
                </c:pt>
                <c:pt idx="267">
                  <c:v>1402-02-23</c:v>
                </c:pt>
                <c:pt idx="268">
                  <c:v>1402-02-24</c:v>
                </c:pt>
                <c:pt idx="269">
                  <c:v>1402-02-25</c:v>
                </c:pt>
                <c:pt idx="270">
                  <c:v>1402-02-27</c:v>
                </c:pt>
                <c:pt idx="271">
                  <c:v>1402-02-30</c:v>
                </c:pt>
                <c:pt idx="272">
                  <c:v>1402-02-31</c:v>
                </c:pt>
                <c:pt idx="273">
                  <c:v>1402-03-01</c:v>
                </c:pt>
                <c:pt idx="274">
                  <c:v>1402-03-02</c:v>
                </c:pt>
                <c:pt idx="275">
                  <c:v>1402-03-03</c:v>
                </c:pt>
                <c:pt idx="276">
                  <c:v>1402-03-06</c:v>
                </c:pt>
                <c:pt idx="277">
                  <c:v>1402-03-07</c:v>
                </c:pt>
                <c:pt idx="278">
                  <c:v>1402-03-08</c:v>
                </c:pt>
                <c:pt idx="279">
                  <c:v>1402-03-09</c:v>
                </c:pt>
                <c:pt idx="280">
                  <c:v>1402-03-10</c:v>
                </c:pt>
                <c:pt idx="281">
                  <c:v>1402-03-13</c:v>
                </c:pt>
                <c:pt idx="282">
                  <c:v>1402-03-16</c:v>
                </c:pt>
                <c:pt idx="283">
                  <c:v>1402-03-17</c:v>
                </c:pt>
                <c:pt idx="284">
                  <c:v>1402-03-20</c:v>
                </c:pt>
                <c:pt idx="285">
                  <c:v>1402-03-21</c:v>
                </c:pt>
                <c:pt idx="286">
                  <c:v>1402-03-22</c:v>
                </c:pt>
                <c:pt idx="287">
                  <c:v>1402-03-23</c:v>
                </c:pt>
                <c:pt idx="288">
                  <c:v>1402-03-24</c:v>
                </c:pt>
                <c:pt idx="289">
                  <c:v>1402-03-27</c:v>
                </c:pt>
                <c:pt idx="290">
                  <c:v>1402-03-28</c:v>
                </c:pt>
                <c:pt idx="291">
                  <c:v>1402-03-29</c:v>
                </c:pt>
                <c:pt idx="292">
                  <c:v>1402-03-30</c:v>
                </c:pt>
                <c:pt idx="293">
                  <c:v>1402-03-31</c:v>
                </c:pt>
                <c:pt idx="294">
                  <c:v>1402-04-03</c:v>
                </c:pt>
                <c:pt idx="295">
                  <c:v>1402-04-04</c:v>
                </c:pt>
                <c:pt idx="296">
                  <c:v>1402-04-05</c:v>
                </c:pt>
                <c:pt idx="297">
                  <c:v>1402-04-06</c:v>
                </c:pt>
                <c:pt idx="298">
                  <c:v>1402-04-07</c:v>
                </c:pt>
                <c:pt idx="299">
                  <c:v>1402-04-10</c:v>
                </c:pt>
                <c:pt idx="300">
                  <c:v>1402-04-11</c:v>
                </c:pt>
                <c:pt idx="301">
                  <c:v>1402-04-12</c:v>
                </c:pt>
                <c:pt idx="302">
                  <c:v>1402-04-13</c:v>
                </c:pt>
                <c:pt idx="303">
                  <c:v>1402-04-14</c:v>
                </c:pt>
                <c:pt idx="304">
                  <c:v>1402-04-17</c:v>
                </c:pt>
                <c:pt idx="305">
                  <c:v>1402-04-18</c:v>
                </c:pt>
                <c:pt idx="306">
                  <c:v>1402-04-19</c:v>
                </c:pt>
                <c:pt idx="307">
                  <c:v>1402-04-20</c:v>
                </c:pt>
                <c:pt idx="308">
                  <c:v>1402-04-21</c:v>
                </c:pt>
                <c:pt idx="309">
                  <c:v>1402-04-24</c:v>
                </c:pt>
                <c:pt idx="310">
                  <c:v>1402-04-25</c:v>
                </c:pt>
                <c:pt idx="311">
                  <c:v>1402-04-26</c:v>
                </c:pt>
                <c:pt idx="312">
                  <c:v>1402-04-27</c:v>
                </c:pt>
                <c:pt idx="313">
                  <c:v>1402-04-28</c:v>
                </c:pt>
                <c:pt idx="314">
                  <c:v>1402-04-31</c:v>
                </c:pt>
                <c:pt idx="315">
                  <c:v>1402-05-01</c:v>
                </c:pt>
                <c:pt idx="316">
                  <c:v>1402-05-02</c:v>
                </c:pt>
                <c:pt idx="317">
                  <c:v>1402-05-03</c:v>
                </c:pt>
                <c:pt idx="318">
                  <c:v>1402-05-04</c:v>
                </c:pt>
                <c:pt idx="319">
                  <c:v>1402-05-07</c:v>
                </c:pt>
                <c:pt idx="320">
                  <c:v>1402-05-08</c:v>
                </c:pt>
                <c:pt idx="321">
                  <c:v>1402-05-09</c:v>
                </c:pt>
                <c:pt idx="322">
                  <c:v>1402-05-10</c:v>
                </c:pt>
                <c:pt idx="323">
                  <c:v>1402-05-14</c:v>
                </c:pt>
                <c:pt idx="324">
                  <c:v>1402-05-15</c:v>
                </c:pt>
                <c:pt idx="325">
                  <c:v>1402-05-16</c:v>
                </c:pt>
                <c:pt idx="326">
                  <c:v>1402-05-17</c:v>
                </c:pt>
                <c:pt idx="327">
                  <c:v>1402-05-18</c:v>
                </c:pt>
                <c:pt idx="328">
                  <c:v>1402-05-21</c:v>
                </c:pt>
                <c:pt idx="329">
                  <c:v>1402-05-22</c:v>
                </c:pt>
                <c:pt idx="330">
                  <c:v>1402-05-23</c:v>
                </c:pt>
                <c:pt idx="331">
                  <c:v>1402-05-24</c:v>
                </c:pt>
                <c:pt idx="332">
                  <c:v>1402-05-25</c:v>
                </c:pt>
                <c:pt idx="333">
                  <c:v>1402-05-28</c:v>
                </c:pt>
                <c:pt idx="334">
                  <c:v>1402-05-29</c:v>
                </c:pt>
                <c:pt idx="335">
                  <c:v>1402-05-30</c:v>
                </c:pt>
                <c:pt idx="336">
                  <c:v>1402-05-31</c:v>
                </c:pt>
                <c:pt idx="337">
                  <c:v>1402-06-01</c:v>
                </c:pt>
                <c:pt idx="338">
                  <c:v>1402-06-04</c:v>
                </c:pt>
                <c:pt idx="339">
                  <c:v>1402-06-05</c:v>
                </c:pt>
                <c:pt idx="340">
                  <c:v>1402-06-06</c:v>
                </c:pt>
                <c:pt idx="341">
                  <c:v>1402-06-07</c:v>
                </c:pt>
                <c:pt idx="342">
                  <c:v>1402-06-08</c:v>
                </c:pt>
                <c:pt idx="343">
                  <c:v>1402-06-11</c:v>
                </c:pt>
                <c:pt idx="344">
                  <c:v>1402-06-12</c:v>
                </c:pt>
                <c:pt idx="345">
                  <c:v>1402-06-13</c:v>
                </c:pt>
                <c:pt idx="346">
                  <c:v>1402-06-14</c:v>
                </c:pt>
                <c:pt idx="347">
                  <c:v>1402-06-18</c:v>
                </c:pt>
                <c:pt idx="348">
                  <c:v>1402-06-19</c:v>
                </c:pt>
                <c:pt idx="349">
                  <c:v>1402-06-20</c:v>
                </c:pt>
                <c:pt idx="350">
                  <c:v>1402-06-21</c:v>
                </c:pt>
                <c:pt idx="351">
                  <c:v>1402-06-22</c:v>
                </c:pt>
                <c:pt idx="352">
                  <c:v>1402-06-26</c:v>
                </c:pt>
                <c:pt idx="353">
                  <c:v>1402-06-27</c:v>
                </c:pt>
                <c:pt idx="354">
                  <c:v>1402-06-28</c:v>
                </c:pt>
                <c:pt idx="355">
                  <c:v>1402-06-29</c:v>
                </c:pt>
                <c:pt idx="356">
                  <c:v>1402-07-01</c:v>
                </c:pt>
                <c:pt idx="357">
                  <c:v>1402-07-03</c:v>
                </c:pt>
                <c:pt idx="358">
                  <c:v>1402-07-04</c:v>
                </c:pt>
                <c:pt idx="359">
                  <c:v>1402-07-05</c:v>
                </c:pt>
                <c:pt idx="360">
                  <c:v>1402-07-08</c:v>
                </c:pt>
                <c:pt idx="361">
                  <c:v>1402-07-09</c:v>
                </c:pt>
                <c:pt idx="362">
                  <c:v>1402-07-10</c:v>
                </c:pt>
                <c:pt idx="363">
                  <c:v>1402-07-12</c:v>
                </c:pt>
                <c:pt idx="364">
                  <c:v>1402-07-15</c:v>
                </c:pt>
                <c:pt idx="365">
                  <c:v>1402-07-16</c:v>
                </c:pt>
                <c:pt idx="366">
                  <c:v>1402-07-17</c:v>
                </c:pt>
                <c:pt idx="367">
                  <c:v>1402-07-18</c:v>
                </c:pt>
                <c:pt idx="368">
                  <c:v>1402-07-19</c:v>
                </c:pt>
                <c:pt idx="369">
                  <c:v>1402-07-22</c:v>
                </c:pt>
                <c:pt idx="370">
                  <c:v>1402-07-23</c:v>
                </c:pt>
                <c:pt idx="371">
                  <c:v>1402-07-24</c:v>
                </c:pt>
                <c:pt idx="372">
                  <c:v>1402-07-25</c:v>
                </c:pt>
                <c:pt idx="373">
                  <c:v>1402-07-26</c:v>
                </c:pt>
                <c:pt idx="374">
                  <c:v>1402-07-29</c:v>
                </c:pt>
                <c:pt idx="375">
                  <c:v>1402-07-30</c:v>
                </c:pt>
                <c:pt idx="376">
                  <c:v>1402-08-01</c:v>
                </c:pt>
                <c:pt idx="377">
                  <c:v>1402-08-02</c:v>
                </c:pt>
                <c:pt idx="378">
                  <c:v>1402-08-03</c:v>
                </c:pt>
                <c:pt idx="379">
                  <c:v>1402-08-06</c:v>
                </c:pt>
                <c:pt idx="380">
                  <c:v>1402-08-07</c:v>
                </c:pt>
                <c:pt idx="381">
                  <c:v>1402-08-08</c:v>
                </c:pt>
                <c:pt idx="382">
                  <c:v>1402-08-09</c:v>
                </c:pt>
                <c:pt idx="383">
                  <c:v>1402-08-10</c:v>
                </c:pt>
                <c:pt idx="384">
                  <c:v>1402-08-13</c:v>
                </c:pt>
                <c:pt idx="385">
                  <c:v>1402-08-14</c:v>
                </c:pt>
                <c:pt idx="386">
                  <c:v>1402-08-15</c:v>
                </c:pt>
                <c:pt idx="387">
                  <c:v>1402-08-16</c:v>
                </c:pt>
                <c:pt idx="388">
                  <c:v>1402-08-17</c:v>
                </c:pt>
                <c:pt idx="389">
                  <c:v>1402-08-20</c:v>
                </c:pt>
                <c:pt idx="390">
                  <c:v>1402-08-21</c:v>
                </c:pt>
                <c:pt idx="391">
                  <c:v>1402-08-22</c:v>
                </c:pt>
                <c:pt idx="392">
                  <c:v>1402-08-23</c:v>
                </c:pt>
                <c:pt idx="393">
                  <c:v>1402-08-24</c:v>
                </c:pt>
                <c:pt idx="394">
                  <c:v>1402-08-27</c:v>
                </c:pt>
                <c:pt idx="395">
                  <c:v>1402-08-28</c:v>
                </c:pt>
                <c:pt idx="396">
                  <c:v>1402-08-29</c:v>
                </c:pt>
                <c:pt idx="397">
                  <c:v>1402-08-30</c:v>
                </c:pt>
                <c:pt idx="398">
                  <c:v>1402-09-01</c:v>
                </c:pt>
                <c:pt idx="399">
                  <c:v>1402-09-04</c:v>
                </c:pt>
                <c:pt idx="400">
                  <c:v>1402-09-05</c:v>
                </c:pt>
                <c:pt idx="401">
                  <c:v>1402-09-06</c:v>
                </c:pt>
                <c:pt idx="402">
                  <c:v>1402-09-07</c:v>
                </c:pt>
                <c:pt idx="403">
                  <c:v>1402-09-08</c:v>
                </c:pt>
                <c:pt idx="404">
                  <c:v>1402-09-11</c:v>
                </c:pt>
                <c:pt idx="405">
                  <c:v>1402-09-12</c:v>
                </c:pt>
                <c:pt idx="406">
                  <c:v>1402-09-13</c:v>
                </c:pt>
                <c:pt idx="407">
                  <c:v>1402-09-14</c:v>
                </c:pt>
                <c:pt idx="408">
                  <c:v>1402-09-15</c:v>
                </c:pt>
                <c:pt idx="409">
                  <c:v>1402-09-18</c:v>
                </c:pt>
                <c:pt idx="410">
                  <c:v>1402-09-19</c:v>
                </c:pt>
                <c:pt idx="411">
                  <c:v>1402-09-20</c:v>
                </c:pt>
                <c:pt idx="412">
                  <c:v>1402-09-21</c:v>
                </c:pt>
                <c:pt idx="413">
                  <c:v>1402-09-22</c:v>
                </c:pt>
                <c:pt idx="414">
                  <c:v>1402-09-25</c:v>
                </c:pt>
                <c:pt idx="415">
                  <c:v>1402-09-27</c:v>
                </c:pt>
                <c:pt idx="416">
                  <c:v>1402-09-28</c:v>
                </c:pt>
                <c:pt idx="417">
                  <c:v>1402-09-29</c:v>
                </c:pt>
                <c:pt idx="418">
                  <c:v>1402-10-02</c:v>
                </c:pt>
                <c:pt idx="419">
                  <c:v>1402-10-03</c:v>
                </c:pt>
                <c:pt idx="420">
                  <c:v>1402-10-04</c:v>
                </c:pt>
                <c:pt idx="421">
                  <c:v>1402-10-05</c:v>
                </c:pt>
                <c:pt idx="422">
                  <c:v>1402-10-06</c:v>
                </c:pt>
                <c:pt idx="423">
                  <c:v>1402-10-09</c:v>
                </c:pt>
                <c:pt idx="424">
                  <c:v>1402-10-10</c:v>
                </c:pt>
                <c:pt idx="425">
                  <c:v>1402-10-11</c:v>
                </c:pt>
                <c:pt idx="426">
                  <c:v>1402-10-12</c:v>
                </c:pt>
                <c:pt idx="427">
                  <c:v>1402-10-13</c:v>
                </c:pt>
                <c:pt idx="428">
                  <c:v>1402-10-16</c:v>
                </c:pt>
                <c:pt idx="429">
                  <c:v>1402-10-17</c:v>
                </c:pt>
                <c:pt idx="430">
                  <c:v>1402-10-18</c:v>
                </c:pt>
                <c:pt idx="431">
                  <c:v>1402-10-19</c:v>
                </c:pt>
                <c:pt idx="432">
                  <c:v>1402-10-20</c:v>
                </c:pt>
                <c:pt idx="433">
                  <c:v>1402-10-23</c:v>
                </c:pt>
                <c:pt idx="434">
                  <c:v>1402-10-24</c:v>
                </c:pt>
                <c:pt idx="435">
                  <c:v>1402-10-25</c:v>
                </c:pt>
                <c:pt idx="436">
                  <c:v>1402-10-26</c:v>
                </c:pt>
                <c:pt idx="437">
                  <c:v>1402-10-27</c:v>
                </c:pt>
                <c:pt idx="438">
                  <c:v>1402-10-30</c:v>
                </c:pt>
                <c:pt idx="439">
                  <c:v>1402-11-01</c:v>
                </c:pt>
                <c:pt idx="440">
                  <c:v>1402-11-02</c:v>
                </c:pt>
                <c:pt idx="441">
                  <c:v>1402-11-03</c:v>
                </c:pt>
                <c:pt idx="442">
                  <c:v>1402-11-04</c:v>
                </c:pt>
                <c:pt idx="443">
                  <c:v>1402-11-07</c:v>
                </c:pt>
                <c:pt idx="444">
                  <c:v>1402-11-08</c:v>
                </c:pt>
                <c:pt idx="445">
                  <c:v>1402-11-09</c:v>
                </c:pt>
                <c:pt idx="446">
                  <c:v>1402-11-10</c:v>
                </c:pt>
                <c:pt idx="447">
                  <c:v>1402-11-11</c:v>
                </c:pt>
                <c:pt idx="448">
                  <c:v>1402-11-14</c:v>
                </c:pt>
                <c:pt idx="449">
                  <c:v>1402-11-15</c:v>
                </c:pt>
                <c:pt idx="450">
                  <c:v>1402-11-16</c:v>
                </c:pt>
                <c:pt idx="451">
                  <c:v>1402-11-17</c:v>
                </c:pt>
                <c:pt idx="452">
                  <c:v>1402-11-18</c:v>
                </c:pt>
                <c:pt idx="453">
                  <c:v>1402-11-21</c:v>
                </c:pt>
                <c:pt idx="454">
                  <c:v>1402-11-23</c:v>
                </c:pt>
                <c:pt idx="455">
                  <c:v>1402-11-24</c:v>
                </c:pt>
                <c:pt idx="456">
                  <c:v>1402-11-25</c:v>
                </c:pt>
                <c:pt idx="457">
                  <c:v>1402-11-28</c:v>
                </c:pt>
                <c:pt idx="458">
                  <c:v>1402-11-29</c:v>
                </c:pt>
                <c:pt idx="459">
                  <c:v>1402-11-30</c:v>
                </c:pt>
                <c:pt idx="460">
                  <c:v>1402-12-01</c:v>
                </c:pt>
                <c:pt idx="461">
                  <c:v>1402-12-02</c:v>
                </c:pt>
                <c:pt idx="462">
                  <c:v>1402-12-05</c:v>
                </c:pt>
                <c:pt idx="463">
                  <c:v>1402-12-07</c:v>
                </c:pt>
                <c:pt idx="464">
                  <c:v>1402-12-08</c:v>
                </c:pt>
                <c:pt idx="465">
                  <c:v>1402-12-09</c:v>
                </c:pt>
                <c:pt idx="466">
                  <c:v>1402-12-12</c:v>
                </c:pt>
                <c:pt idx="467">
                  <c:v>1402-12-13</c:v>
                </c:pt>
                <c:pt idx="468">
                  <c:v>1402-12-14</c:v>
                </c:pt>
                <c:pt idx="469">
                  <c:v>1402-12-15</c:v>
                </c:pt>
                <c:pt idx="470">
                  <c:v>1402-12-16</c:v>
                </c:pt>
                <c:pt idx="471">
                  <c:v>1402-12-19</c:v>
                </c:pt>
                <c:pt idx="472">
                  <c:v>1402-12-20</c:v>
                </c:pt>
                <c:pt idx="473">
                  <c:v>1402-12-21</c:v>
                </c:pt>
                <c:pt idx="474">
                  <c:v>1402-12-22</c:v>
                </c:pt>
                <c:pt idx="475">
                  <c:v>1402-12-23</c:v>
                </c:pt>
                <c:pt idx="476">
                  <c:v>1402-12-26</c:v>
                </c:pt>
                <c:pt idx="477">
                  <c:v>1402-12-27</c:v>
                </c:pt>
                <c:pt idx="478">
                  <c:v>1402-12-28</c:v>
                </c:pt>
                <c:pt idx="479">
                  <c:v>1403-01-05</c:v>
                </c:pt>
                <c:pt idx="480">
                  <c:v>1403-01-06</c:v>
                </c:pt>
                <c:pt idx="481">
                  <c:v>1403-01-07</c:v>
                </c:pt>
                <c:pt idx="482">
                  <c:v>1403-01-08</c:v>
                </c:pt>
                <c:pt idx="483">
                  <c:v>1403-01-11</c:v>
                </c:pt>
                <c:pt idx="484">
                  <c:v>1403-01-14</c:v>
                </c:pt>
                <c:pt idx="485">
                  <c:v>1403-01-15</c:v>
                </c:pt>
                <c:pt idx="486">
                  <c:v>1403-01-18</c:v>
                </c:pt>
                <c:pt idx="487">
                  <c:v>1403-01-19</c:v>
                </c:pt>
                <c:pt idx="488">
                  <c:v>1403-01-20</c:v>
                </c:pt>
                <c:pt idx="489">
                  <c:v>1403-01-21</c:v>
                </c:pt>
                <c:pt idx="490">
                  <c:v>1403-01-25</c:v>
                </c:pt>
                <c:pt idx="491">
                  <c:v>1403-01-26</c:v>
                </c:pt>
                <c:pt idx="492">
                  <c:v>1403-01-27</c:v>
                </c:pt>
                <c:pt idx="493">
                  <c:v>1403-01-28</c:v>
                </c:pt>
                <c:pt idx="494">
                  <c:v>1403-01-29</c:v>
                </c:pt>
                <c:pt idx="495">
                  <c:v>1403-02-01</c:v>
                </c:pt>
                <c:pt idx="496">
                  <c:v>1403-02-02</c:v>
                </c:pt>
                <c:pt idx="497">
                  <c:v>1403-02-03</c:v>
                </c:pt>
                <c:pt idx="498">
                  <c:v>1403-02-04</c:v>
                </c:pt>
                <c:pt idx="499">
                  <c:v>1403-02-05</c:v>
                </c:pt>
                <c:pt idx="500">
                  <c:v>1403-02-08</c:v>
                </c:pt>
                <c:pt idx="501">
                  <c:v>1403-02-09</c:v>
                </c:pt>
                <c:pt idx="502">
                  <c:v>1403-02-10</c:v>
                </c:pt>
                <c:pt idx="503">
                  <c:v>1403-02-11</c:v>
                </c:pt>
                <c:pt idx="504">
                  <c:v>1403-02-12</c:v>
                </c:pt>
                <c:pt idx="505">
                  <c:v>1403-02-16</c:v>
                </c:pt>
                <c:pt idx="506">
                  <c:v>1403-02-17</c:v>
                </c:pt>
                <c:pt idx="507">
                  <c:v>1403-02-18</c:v>
                </c:pt>
                <c:pt idx="508">
                  <c:v>1403-02-19</c:v>
                </c:pt>
                <c:pt idx="509">
                  <c:v>1403-02-22</c:v>
                </c:pt>
                <c:pt idx="510">
                  <c:v>1403-02-23</c:v>
                </c:pt>
                <c:pt idx="511">
                  <c:v>1403-02-24</c:v>
                </c:pt>
                <c:pt idx="512">
                  <c:v>1403-02-25</c:v>
                </c:pt>
                <c:pt idx="513">
                  <c:v>1403-02-26</c:v>
                </c:pt>
                <c:pt idx="514">
                  <c:v>1403-02-29</c:v>
                </c:pt>
                <c:pt idx="515">
                  <c:v>1403-02-30</c:v>
                </c:pt>
                <c:pt idx="516">
                  <c:v>1403-03-01</c:v>
                </c:pt>
                <c:pt idx="517">
                  <c:v>1403-03-05</c:v>
                </c:pt>
                <c:pt idx="518">
                  <c:v>1403-03-06</c:v>
                </c:pt>
                <c:pt idx="519">
                  <c:v>1403-03-07</c:v>
                </c:pt>
                <c:pt idx="520">
                  <c:v>1403-03-08</c:v>
                </c:pt>
                <c:pt idx="521">
                  <c:v>1403-03-09</c:v>
                </c:pt>
                <c:pt idx="522">
                  <c:v>1403-03-12</c:v>
                </c:pt>
                <c:pt idx="523">
                  <c:v>1403-03-13</c:v>
                </c:pt>
                <c:pt idx="524">
                  <c:v>1403-03-16</c:v>
                </c:pt>
                <c:pt idx="525">
                  <c:v>1403-03-19</c:v>
                </c:pt>
                <c:pt idx="526">
                  <c:v>1403-03-20</c:v>
                </c:pt>
                <c:pt idx="527">
                  <c:v>1403-03-21</c:v>
                </c:pt>
                <c:pt idx="528">
                  <c:v>1403-03-22</c:v>
                </c:pt>
                <c:pt idx="529">
                  <c:v>1403-03-23</c:v>
                </c:pt>
                <c:pt idx="530">
                  <c:v>1403-03-26</c:v>
                </c:pt>
                <c:pt idx="531">
                  <c:v>1403-03-27</c:v>
                </c:pt>
                <c:pt idx="532">
                  <c:v>1403-03-29</c:v>
                </c:pt>
                <c:pt idx="533">
                  <c:v>1403-03-30</c:v>
                </c:pt>
                <c:pt idx="534">
                  <c:v>1403-04-02</c:v>
                </c:pt>
                <c:pt idx="535">
                  <c:v>1403-04-03</c:v>
                </c:pt>
                <c:pt idx="536">
                  <c:v>1403-04-04</c:v>
                </c:pt>
                <c:pt idx="537">
                  <c:v>1403-04-06</c:v>
                </c:pt>
                <c:pt idx="538">
                  <c:v>1403-04-09</c:v>
                </c:pt>
                <c:pt idx="539">
                  <c:v>1403-04-10</c:v>
                </c:pt>
                <c:pt idx="540">
                  <c:v>1403-04-11</c:v>
                </c:pt>
                <c:pt idx="541">
                  <c:v>1403-04-12</c:v>
                </c:pt>
                <c:pt idx="542">
                  <c:v>1403-04-13</c:v>
                </c:pt>
                <c:pt idx="543">
                  <c:v>1403-04-16</c:v>
                </c:pt>
                <c:pt idx="544">
                  <c:v>1403-04-17</c:v>
                </c:pt>
                <c:pt idx="545">
                  <c:v>1403-04-18</c:v>
                </c:pt>
                <c:pt idx="546">
                  <c:v>1403-04-19</c:v>
                </c:pt>
                <c:pt idx="547">
                  <c:v>1403-04-20</c:v>
                </c:pt>
                <c:pt idx="548">
                  <c:v>1403-04-23</c:v>
                </c:pt>
                <c:pt idx="549">
                  <c:v>1403-04-24</c:v>
                </c:pt>
                <c:pt idx="550">
                  <c:v>1403-04-27</c:v>
                </c:pt>
                <c:pt idx="551">
                  <c:v>1403-04-30</c:v>
                </c:pt>
                <c:pt idx="552">
                  <c:v>1403-04-31</c:v>
                </c:pt>
                <c:pt idx="553">
                  <c:v>1403-05-01</c:v>
                </c:pt>
                <c:pt idx="554">
                  <c:v>1403-05-02</c:v>
                </c:pt>
                <c:pt idx="555">
                  <c:v>1403-05-03</c:v>
                </c:pt>
                <c:pt idx="556">
                  <c:v>1403-05-06</c:v>
                </c:pt>
                <c:pt idx="557">
                  <c:v>1403-05-08</c:v>
                </c:pt>
                <c:pt idx="558">
                  <c:v>1403-05-09</c:v>
                </c:pt>
                <c:pt idx="559">
                  <c:v>1403-05-10</c:v>
                </c:pt>
                <c:pt idx="560">
                  <c:v>1403-05-13</c:v>
                </c:pt>
                <c:pt idx="561">
                  <c:v>1403-05-14</c:v>
                </c:pt>
                <c:pt idx="562">
                  <c:v>1403-05-15</c:v>
                </c:pt>
                <c:pt idx="563">
                  <c:v>1403-05-16</c:v>
                </c:pt>
                <c:pt idx="564">
                  <c:v>1403-05-20</c:v>
                </c:pt>
                <c:pt idx="565">
                  <c:v>1403-05-21</c:v>
                </c:pt>
                <c:pt idx="566">
                  <c:v>1403-05-22</c:v>
                </c:pt>
                <c:pt idx="567">
                  <c:v>1403-05-23</c:v>
                </c:pt>
                <c:pt idx="568">
                  <c:v>1403-05-24</c:v>
                </c:pt>
                <c:pt idx="569">
                  <c:v>1403-05-27</c:v>
                </c:pt>
                <c:pt idx="570">
                  <c:v>1403-05-28</c:v>
                </c:pt>
                <c:pt idx="571">
                  <c:v>1403-05-29</c:v>
                </c:pt>
                <c:pt idx="572">
                  <c:v>1403-05-30</c:v>
                </c:pt>
                <c:pt idx="573">
                  <c:v>1403-05-31</c:v>
                </c:pt>
                <c:pt idx="574">
                  <c:v> 1403-06-03 </c:v>
                </c:pt>
                <c:pt idx="575">
                  <c:v> 1403-06-05 </c:v>
                </c:pt>
                <c:pt idx="576">
                  <c:v> 1403-06-06 </c:v>
                </c:pt>
                <c:pt idx="577">
                  <c:v> 1403-06-07 </c:v>
                </c:pt>
                <c:pt idx="578">
                  <c:v> 1403-06-10 </c:v>
                </c:pt>
                <c:pt idx="579">
                  <c:v> 1403-06-11 </c:v>
                </c:pt>
                <c:pt idx="580">
                  <c:v> 1403-06-13 </c:v>
                </c:pt>
                <c:pt idx="581">
                  <c:v> 1403-06-17 </c:v>
                </c:pt>
                <c:pt idx="582">
                  <c:v> 1403-06-18 </c:v>
                </c:pt>
                <c:pt idx="583">
                  <c:v> 1403-06-19 </c:v>
                </c:pt>
                <c:pt idx="584">
                  <c:v> 1403-06-20 </c:v>
                </c:pt>
                <c:pt idx="585">
                  <c:v> 1403-06-21 </c:v>
                </c:pt>
                <c:pt idx="586">
                  <c:v> 1403-06-24 </c:v>
                </c:pt>
                <c:pt idx="587">
                  <c:v> 1403-06-25 </c:v>
                </c:pt>
                <c:pt idx="588">
                  <c:v> 1403-06-26 </c:v>
                </c:pt>
                <c:pt idx="589">
                  <c:v> 1403-06-27 </c:v>
                </c:pt>
                <c:pt idx="590">
                  <c:v> 1403-06-28 </c:v>
                </c:pt>
                <c:pt idx="591">
                  <c:v> 1403-07-01 </c:v>
                </c:pt>
                <c:pt idx="592">
                  <c:v> 1403-07-02 </c:v>
                </c:pt>
                <c:pt idx="593">
                  <c:v> 1403-07-03 </c:v>
                </c:pt>
                <c:pt idx="594">
                  <c:v> 1403-07-04 </c:v>
                </c:pt>
                <c:pt idx="595">
                  <c:v> 1403-07-07 </c:v>
                </c:pt>
                <c:pt idx="596">
                  <c:v> 1403-07-08 </c:v>
                </c:pt>
                <c:pt idx="597">
                  <c:v> 1403-07-09 </c:v>
                </c:pt>
                <c:pt idx="598">
                  <c:v> 1403-07-10 </c:v>
                </c:pt>
                <c:pt idx="599">
                  <c:v> 1403-07-11 </c:v>
                </c:pt>
                <c:pt idx="600">
                  <c:v> 1403-07-14 </c:v>
                </c:pt>
                <c:pt idx="601">
                  <c:v> 1403-07-15 </c:v>
                </c:pt>
                <c:pt idx="602">
                  <c:v> 1403-07-16 </c:v>
                </c:pt>
                <c:pt idx="603">
                  <c:v> 1403-07-17 </c:v>
                </c:pt>
                <c:pt idx="604">
                  <c:v> 1403-07-18 </c:v>
                </c:pt>
                <c:pt idx="605">
                  <c:v> 1403-07-21 </c:v>
                </c:pt>
                <c:pt idx="606">
                  <c:v> 1403-07-22 </c:v>
                </c:pt>
                <c:pt idx="607">
                  <c:v> 1403-07-23 </c:v>
                </c:pt>
                <c:pt idx="608">
                  <c:v> 1403-07-24 </c:v>
                </c:pt>
                <c:pt idx="609">
                  <c:v> 1403-07-25 </c:v>
                </c:pt>
                <c:pt idx="610">
                  <c:v> 1403-07-28 </c:v>
                </c:pt>
                <c:pt idx="611">
                  <c:v> 1403-07-29 </c:v>
                </c:pt>
                <c:pt idx="612">
                  <c:v> 1403-07-30 </c:v>
                </c:pt>
                <c:pt idx="613">
                  <c:v> 1403-08-01 </c:v>
                </c:pt>
                <c:pt idx="614">
                  <c:v> 1403-08-02 </c:v>
                </c:pt>
                <c:pt idx="615">
                  <c:v> 1403-08-05 </c:v>
                </c:pt>
                <c:pt idx="616">
                  <c:v> 1403-08-06 </c:v>
                </c:pt>
                <c:pt idx="617">
                  <c:v> 1403-08-07 </c:v>
                </c:pt>
                <c:pt idx="618">
                  <c:v> 1403-08-08 </c:v>
                </c:pt>
                <c:pt idx="619">
                  <c:v> 1403-08-09 </c:v>
                </c:pt>
                <c:pt idx="620">
                  <c:v> 1403-08-12 </c:v>
                </c:pt>
                <c:pt idx="621">
                  <c:v> 1403-08-13 </c:v>
                </c:pt>
                <c:pt idx="622">
                  <c:v> 1403-08-14 </c:v>
                </c:pt>
                <c:pt idx="623">
                  <c:v> 1403-08-15 </c:v>
                </c:pt>
                <c:pt idx="624">
                  <c:v> 1403-08-16 </c:v>
                </c:pt>
                <c:pt idx="625">
                  <c:v> 1403-08-19 </c:v>
                </c:pt>
                <c:pt idx="626">
                  <c:v> 1403-08-20 </c:v>
                </c:pt>
                <c:pt idx="627">
                  <c:v> 1403-08-21 </c:v>
                </c:pt>
                <c:pt idx="628">
                  <c:v> 1403-08-22 </c:v>
                </c:pt>
                <c:pt idx="629">
                  <c:v> 1403-08-23 </c:v>
                </c:pt>
                <c:pt idx="630">
                  <c:v> 1403-08-26 </c:v>
                </c:pt>
                <c:pt idx="631">
                  <c:v> 1403-08-27 </c:v>
                </c:pt>
                <c:pt idx="632">
                  <c:v> 1403-08-28 </c:v>
                </c:pt>
                <c:pt idx="633">
                  <c:v> 1403-08-29 </c:v>
                </c:pt>
                <c:pt idx="634">
                  <c:v> 1403-08-30 </c:v>
                </c:pt>
                <c:pt idx="635">
                  <c:v> 1403-09-03 </c:v>
                </c:pt>
                <c:pt idx="636">
                  <c:v> 1403-09-04 </c:v>
                </c:pt>
                <c:pt idx="637">
                  <c:v> 1403-09-05 </c:v>
                </c:pt>
                <c:pt idx="638">
                  <c:v> 1403-09-06 </c:v>
                </c:pt>
                <c:pt idx="639">
                  <c:v> 1403-09-07 </c:v>
                </c:pt>
                <c:pt idx="640">
                  <c:v> 1403-09-10 </c:v>
                </c:pt>
                <c:pt idx="641">
                  <c:v> 1403-09-11 </c:v>
                </c:pt>
                <c:pt idx="642">
                  <c:v> 1403-09-12 </c:v>
                </c:pt>
                <c:pt idx="643">
                  <c:v> 1403-09-13 </c:v>
                </c:pt>
                <c:pt idx="644">
                  <c:v> 1403-09-14 </c:v>
                </c:pt>
                <c:pt idx="645">
                  <c:v> 1403-09-17 </c:v>
                </c:pt>
                <c:pt idx="646">
                  <c:v> 1403-09-18 </c:v>
                </c:pt>
                <c:pt idx="647">
                  <c:v> 1403-09-19 </c:v>
                </c:pt>
                <c:pt idx="648">
                  <c:v> 1403-09-20 </c:v>
                </c:pt>
                <c:pt idx="649">
                  <c:v> 1403-09-21 </c:v>
                </c:pt>
                <c:pt idx="650">
                  <c:v> 1403-09-24 </c:v>
                </c:pt>
                <c:pt idx="651">
                  <c:v> 1403-09-25 </c:v>
                </c:pt>
                <c:pt idx="652">
                  <c:v> 1403-09-26 </c:v>
                </c:pt>
                <c:pt idx="653">
                  <c:v> 1403-09-27 </c:v>
                </c:pt>
                <c:pt idx="654">
                  <c:v> 1403-09-28 </c:v>
                </c:pt>
                <c:pt idx="655">
                  <c:v> 1403-10-01 </c:v>
                </c:pt>
                <c:pt idx="656">
                  <c:v> 1403-10-02 </c:v>
                </c:pt>
                <c:pt idx="657">
                  <c:v> 1403-10-03 </c:v>
                </c:pt>
                <c:pt idx="658">
                  <c:v> 1403-10-04 </c:v>
                </c:pt>
                <c:pt idx="659">
                  <c:v> 1403-10-05 </c:v>
                </c:pt>
                <c:pt idx="660">
                  <c:v> 1403-10-08 </c:v>
                </c:pt>
                <c:pt idx="661">
                  <c:v> 1403-10-09 </c:v>
                </c:pt>
                <c:pt idx="662">
                  <c:v> 1403-10-10 </c:v>
                </c:pt>
                <c:pt idx="663">
                  <c:v> 1403-10-11 </c:v>
                </c:pt>
                <c:pt idx="664">
                  <c:v> 1403-10-12 </c:v>
                </c:pt>
                <c:pt idx="665">
                  <c:v> 1403-10-15 </c:v>
                </c:pt>
                <c:pt idx="666">
                  <c:v> 1403-10-16 </c:v>
                </c:pt>
                <c:pt idx="667">
                  <c:v> 1403-10-17 </c:v>
                </c:pt>
                <c:pt idx="668">
                  <c:v> 1403-10-18 </c:v>
                </c:pt>
                <c:pt idx="669">
                  <c:v> 1403-10-19 </c:v>
                </c:pt>
                <c:pt idx="670">
                  <c:v> 1403-10-22 </c:v>
                </c:pt>
                <c:pt idx="671">
                  <c:v> 1403-10-23 </c:v>
                </c:pt>
                <c:pt idx="672">
                  <c:v> 1403-10-24 </c:v>
                </c:pt>
                <c:pt idx="673">
                  <c:v> 1403-10-26 </c:v>
                </c:pt>
                <c:pt idx="674">
                  <c:v> 1403-10-29 </c:v>
                </c:pt>
                <c:pt idx="675">
                  <c:v> 1403-10-30 </c:v>
                </c:pt>
                <c:pt idx="676">
                  <c:v> 1403-11-01 </c:v>
                </c:pt>
                <c:pt idx="677">
                  <c:v> 1403-11-02 </c:v>
                </c:pt>
                <c:pt idx="678">
                  <c:v> 1403-11-03 </c:v>
                </c:pt>
                <c:pt idx="679">
                  <c:v> 1403-11-06 </c:v>
                </c:pt>
                <c:pt idx="680">
                  <c:v> 1403-11-07 </c:v>
                </c:pt>
                <c:pt idx="681">
                  <c:v> 1403-11-08 </c:v>
                </c:pt>
                <c:pt idx="682">
                  <c:v> 1403-11-10 </c:v>
                </c:pt>
                <c:pt idx="683">
                  <c:v> 1403-11-13 </c:v>
                </c:pt>
                <c:pt idx="684">
                  <c:v> 1403-11-14 </c:v>
                </c:pt>
                <c:pt idx="685">
                  <c:v> 1403-11-15 </c:v>
                </c:pt>
                <c:pt idx="686">
                  <c:v> 1403-11-16 </c:v>
                </c:pt>
                <c:pt idx="687">
                  <c:v> 1403-11-17 </c:v>
                </c:pt>
                <c:pt idx="688">
                  <c:v> 1403-11-21 </c:v>
                </c:pt>
                <c:pt idx="689">
                  <c:v> 1403-11-23 </c:v>
                </c:pt>
                <c:pt idx="690">
                  <c:v> 1403-11-27 </c:v>
                </c:pt>
                <c:pt idx="691">
                  <c:v> 1403-11-28 </c:v>
                </c:pt>
                <c:pt idx="692">
                  <c:v> 1403-11-29 </c:v>
                </c:pt>
                <c:pt idx="693">
                  <c:v> 1403-11-30 </c:v>
                </c:pt>
                <c:pt idx="694">
                  <c:v> 1403-12-01 </c:v>
                </c:pt>
                <c:pt idx="695">
                  <c:v> 1403-12-04 </c:v>
                </c:pt>
                <c:pt idx="696">
                  <c:v> 1403-12-05 </c:v>
                </c:pt>
                <c:pt idx="697">
                  <c:v> 1403-12-06 </c:v>
                </c:pt>
                <c:pt idx="698">
                  <c:v> 1403-12-07 </c:v>
                </c:pt>
                <c:pt idx="699">
                  <c:v> 1403-12-08 </c:v>
                </c:pt>
                <c:pt idx="700">
                  <c:v> 1403-12-11 </c:v>
                </c:pt>
                <c:pt idx="701">
                  <c:v> 1403-12-12 </c:v>
                </c:pt>
                <c:pt idx="702">
                  <c:v> 1403-12-13 </c:v>
                </c:pt>
                <c:pt idx="703">
                  <c:v> 1403-12-14 </c:v>
                </c:pt>
                <c:pt idx="704">
                  <c:v> 1403-12-15 </c:v>
                </c:pt>
                <c:pt idx="705">
                  <c:v> 1403-12-18 </c:v>
                </c:pt>
                <c:pt idx="706">
                  <c:v> 1403-12-19 </c:v>
                </c:pt>
                <c:pt idx="707">
                  <c:v> 1403-12-20 </c:v>
                </c:pt>
                <c:pt idx="708">
                  <c:v> 1403-12-21 </c:v>
                </c:pt>
                <c:pt idx="709">
                  <c:v> 1403-12-22 </c:v>
                </c:pt>
              </c:strCache>
            </c:strRef>
          </c:cat>
          <c:val>
            <c:numRef>
              <c:f>'  بورس ایران-ارزش معاملات سهام '!$B$2:$B$711</c:f>
              <c:numCache>
                <c:formatCode>_(* #,##0_);_(* \(#,##0\);_(* "-"??_);_(@_)</c:formatCode>
                <c:ptCount val="710"/>
                <c:pt idx="0">
                  <c:v>44184573.491048001</c:v>
                </c:pt>
                <c:pt idx="1">
                  <c:v>41384195.945448004</c:v>
                </c:pt>
                <c:pt idx="2">
                  <c:v>40541937.550696</c:v>
                </c:pt>
                <c:pt idx="3">
                  <c:v>55432257.161329001</c:v>
                </c:pt>
                <c:pt idx="4">
                  <c:v>42573323.768549003</c:v>
                </c:pt>
                <c:pt idx="5">
                  <c:v>58296934.48387</c:v>
                </c:pt>
                <c:pt idx="6">
                  <c:v>82086344.198439002</c:v>
                </c:pt>
                <c:pt idx="7">
                  <c:v>59008202.332345001</c:v>
                </c:pt>
                <c:pt idx="8">
                  <c:v>67255258.446878001</c:v>
                </c:pt>
                <c:pt idx="9">
                  <c:v>52917950.233237997</c:v>
                </c:pt>
                <c:pt idx="10">
                  <c:v>61204869.757638998</c:v>
                </c:pt>
                <c:pt idx="11">
                  <c:v>57468977.633515</c:v>
                </c:pt>
                <c:pt idx="12">
                  <c:v>56899018.253408</c:v>
                </c:pt>
                <c:pt idx="13">
                  <c:v>49616625.889493003</c:v>
                </c:pt>
                <c:pt idx="14">
                  <c:v>49913168.722722001</c:v>
                </c:pt>
                <c:pt idx="15">
                  <c:v>59057759.996136002</c:v>
                </c:pt>
                <c:pt idx="16">
                  <c:v>73275994.261645004</c:v>
                </c:pt>
                <c:pt idx="17">
                  <c:v>58687361.770429</c:v>
                </c:pt>
                <c:pt idx="18">
                  <c:v>63478213.122588001</c:v>
                </c:pt>
                <c:pt idx="19">
                  <c:v>52868224.173936002</c:v>
                </c:pt>
                <c:pt idx="20">
                  <c:v>54581845.512217</c:v>
                </c:pt>
                <c:pt idx="21">
                  <c:v>67166121.171540007</c:v>
                </c:pt>
                <c:pt idx="22">
                  <c:v>63908073.122909002</c:v>
                </c:pt>
                <c:pt idx="23">
                  <c:v>59320166.032853998</c:v>
                </c:pt>
                <c:pt idx="24">
                  <c:v>60967725.795064002</c:v>
                </c:pt>
                <c:pt idx="25">
                  <c:v>53675008.598104</c:v>
                </c:pt>
                <c:pt idx="26">
                  <c:v>70087422.823969007</c:v>
                </c:pt>
                <c:pt idx="27">
                  <c:v>66945780.990222998</c:v>
                </c:pt>
                <c:pt idx="28">
                  <c:v>68310828.534823999</c:v>
                </c:pt>
                <c:pt idx="29">
                  <c:v>58377509.092109002</c:v>
                </c:pt>
                <c:pt idx="30">
                  <c:v>66777073.513287</c:v>
                </c:pt>
                <c:pt idx="31">
                  <c:v>80430100.778981</c:v>
                </c:pt>
                <c:pt idx="32">
                  <c:v>85693829.833782002</c:v>
                </c:pt>
                <c:pt idx="33">
                  <c:v>80187152.439436004</c:v>
                </c:pt>
                <c:pt idx="34">
                  <c:v>80525690.774342999</c:v>
                </c:pt>
                <c:pt idx="35">
                  <c:v>66112631.823319003</c:v>
                </c:pt>
                <c:pt idx="36">
                  <c:v>60153941.462362997</c:v>
                </c:pt>
                <c:pt idx="37">
                  <c:v>54361120.546695001</c:v>
                </c:pt>
                <c:pt idx="38">
                  <c:v>71751509.857622996</c:v>
                </c:pt>
                <c:pt idx="39">
                  <c:v>52802805.898537003</c:v>
                </c:pt>
                <c:pt idx="40">
                  <c:v>65309693.561561003</c:v>
                </c:pt>
                <c:pt idx="41">
                  <c:v>57355380.348095998</c:v>
                </c:pt>
                <c:pt idx="42">
                  <c:v>53329559.699841999</c:v>
                </c:pt>
                <c:pt idx="43">
                  <c:v>48732876.993251003</c:v>
                </c:pt>
                <c:pt idx="44">
                  <c:v>43083410.107400998</c:v>
                </c:pt>
                <c:pt idx="45">
                  <c:v>41310458.537963003</c:v>
                </c:pt>
                <c:pt idx="46">
                  <c:v>49993181.546233997</c:v>
                </c:pt>
                <c:pt idx="47">
                  <c:v>38583405.637215003</c:v>
                </c:pt>
                <c:pt idx="48">
                  <c:v>32914833.744796999</c:v>
                </c:pt>
                <c:pt idx="49">
                  <c:v>35803464.943639003</c:v>
                </c:pt>
                <c:pt idx="50">
                  <c:v>44138519.988913998</c:v>
                </c:pt>
                <c:pt idx="51">
                  <c:v>55147152.022118002</c:v>
                </c:pt>
                <c:pt idx="52">
                  <c:v>48632730.83749</c:v>
                </c:pt>
                <c:pt idx="53">
                  <c:v>34897774.944274999</c:v>
                </c:pt>
                <c:pt idx="54">
                  <c:v>40450066.609319001</c:v>
                </c:pt>
                <c:pt idx="55">
                  <c:v>42483715.512502998</c:v>
                </c:pt>
                <c:pt idx="56">
                  <c:v>45016901.104629003</c:v>
                </c:pt>
                <c:pt idx="57">
                  <c:v>36484760.920189001</c:v>
                </c:pt>
                <c:pt idx="58">
                  <c:v>38057806.303388998</c:v>
                </c:pt>
                <c:pt idx="59">
                  <c:v>41633175.303107999</c:v>
                </c:pt>
                <c:pt idx="60">
                  <c:v>37450932.048988998</c:v>
                </c:pt>
                <c:pt idx="61">
                  <c:v>38657546.019904003</c:v>
                </c:pt>
                <c:pt idx="62">
                  <c:v>36085826.722608998</c:v>
                </c:pt>
                <c:pt idx="63">
                  <c:v>35505104.000132002</c:v>
                </c:pt>
                <c:pt idx="64">
                  <c:v>33945018.886881001</c:v>
                </c:pt>
                <c:pt idx="65">
                  <c:v>31285850.943069998</c:v>
                </c:pt>
                <c:pt idx="66">
                  <c:v>30766072.649925999</c:v>
                </c:pt>
                <c:pt idx="67">
                  <c:v>35041860.701922998</c:v>
                </c:pt>
                <c:pt idx="68">
                  <c:v>32464167.965748999</c:v>
                </c:pt>
                <c:pt idx="69">
                  <c:v>28832240.314555001</c:v>
                </c:pt>
                <c:pt idx="70">
                  <c:v>34142005.492574997</c:v>
                </c:pt>
                <c:pt idx="71">
                  <c:v>28450864.77479</c:v>
                </c:pt>
                <c:pt idx="72">
                  <c:v>27398405.983704001</c:v>
                </c:pt>
                <c:pt idx="73">
                  <c:v>29849528.399904002</c:v>
                </c:pt>
                <c:pt idx="74">
                  <c:v>27734389.453287002</c:v>
                </c:pt>
                <c:pt idx="75">
                  <c:v>20734321.901826002</c:v>
                </c:pt>
                <c:pt idx="76">
                  <c:v>16569491.051138001</c:v>
                </c:pt>
                <c:pt idx="77">
                  <c:v>25900662.583572999</c:v>
                </c:pt>
                <c:pt idx="78">
                  <c:v>29035296.028181002</c:v>
                </c:pt>
                <c:pt idx="79">
                  <c:v>26024442.095704</c:v>
                </c:pt>
                <c:pt idx="80">
                  <c:v>24581142.85531</c:v>
                </c:pt>
                <c:pt idx="81">
                  <c:v>19817781.054044001</c:v>
                </c:pt>
                <c:pt idx="82">
                  <c:v>23013663.158004999</c:v>
                </c:pt>
                <c:pt idx="83">
                  <c:v>27957648.611315999</c:v>
                </c:pt>
                <c:pt idx="84">
                  <c:v>17945797.741441</c:v>
                </c:pt>
                <c:pt idx="85">
                  <c:v>18394358.568500001</c:v>
                </c:pt>
                <c:pt idx="86">
                  <c:v>21926381.780071001</c:v>
                </c:pt>
                <c:pt idx="87">
                  <c:v>27722836.713084999</c:v>
                </c:pt>
                <c:pt idx="88">
                  <c:v>26098640.731065001</c:v>
                </c:pt>
                <c:pt idx="89">
                  <c:v>21111683.720463</c:v>
                </c:pt>
                <c:pt idx="90">
                  <c:v>32513919.954890002</c:v>
                </c:pt>
                <c:pt idx="91">
                  <c:v>35285914.096368998</c:v>
                </c:pt>
                <c:pt idx="92">
                  <c:v>36498099.597401001</c:v>
                </c:pt>
                <c:pt idx="93">
                  <c:v>38885796.959110998</c:v>
                </c:pt>
                <c:pt idx="94">
                  <c:v>37953625.453679003</c:v>
                </c:pt>
                <c:pt idx="95">
                  <c:v>30028843.417787001</c:v>
                </c:pt>
                <c:pt idx="96">
                  <c:v>27475856.677809998</c:v>
                </c:pt>
                <c:pt idx="97">
                  <c:v>29765080.707214002</c:v>
                </c:pt>
                <c:pt idx="98">
                  <c:v>31990169.358945001</c:v>
                </c:pt>
                <c:pt idx="99">
                  <c:v>40034760.957327999</c:v>
                </c:pt>
                <c:pt idx="100">
                  <c:v>40528401.570798002</c:v>
                </c:pt>
                <c:pt idx="101">
                  <c:v>33003646.918272</c:v>
                </c:pt>
                <c:pt idx="102">
                  <c:v>31051494.303479999</c:v>
                </c:pt>
                <c:pt idx="103">
                  <c:v>26692090.829691999</c:v>
                </c:pt>
                <c:pt idx="104">
                  <c:v>27235528.781420998</c:v>
                </c:pt>
                <c:pt idx="105">
                  <c:v>29265718.227630001</c:v>
                </c:pt>
                <c:pt idx="106">
                  <c:v>22826958.001970999</c:v>
                </c:pt>
                <c:pt idx="107">
                  <c:v>29091035.610493999</c:v>
                </c:pt>
                <c:pt idx="108">
                  <c:v>25246293.062394001</c:v>
                </c:pt>
                <c:pt idx="109">
                  <c:v>31463239.028510001</c:v>
                </c:pt>
                <c:pt idx="110">
                  <c:v>26924761.853213001</c:v>
                </c:pt>
                <c:pt idx="111">
                  <c:v>31368276.350607999</c:v>
                </c:pt>
                <c:pt idx="112">
                  <c:v>23441123.680461001</c:v>
                </c:pt>
                <c:pt idx="113">
                  <c:v>28818426.180376999</c:v>
                </c:pt>
                <c:pt idx="114">
                  <c:v>24074322.828526001</c:v>
                </c:pt>
                <c:pt idx="115">
                  <c:v>22536707.746615998</c:v>
                </c:pt>
                <c:pt idx="116">
                  <c:v>21519739.543473002</c:v>
                </c:pt>
                <c:pt idx="117">
                  <c:v>24183004.82037</c:v>
                </c:pt>
                <c:pt idx="118">
                  <c:v>21209817.954815</c:v>
                </c:pt>
                <c:pt idx="119">
                  <c:v>25803555.558453001</c:v>
                </c:pt>
                <c:pt idx="120">
                  <c:v>20762703.036453001</c:v>
                </c:pt>
                <c:pt idx="121">
                  <c:v>22121538.388771001</c:v>
                </c:pt>
                <c:pt idx="122">
                  <c:v>23970611.383745998</c:v>
                </c:pt>
                <c:pt idx="123">
                  <c:v>20417624.954604998</c:v>
                </c:pt>
                <c:pt idx="124">
                  <c:v>17867126.804777998</c:v>
                </c:pt>
                <c:pt idx="125">
                  <c:v>18512217.522505999</c:v>
                </c:pt>
                <c:pt idx="126">
                  <c:v>21010375.524663001</c:v>
                </c:pt>
                <c:pt idx="127">
                  <c:v>22884180.263206001</c:v>
                </c:pt>
                <c:pt idx="128">
                  <c:v>21278398.359104</c:v>
                </c:pt>
                <c:pt idx="129">
                  <c:v>22288549.452654999</c:v>
                </c:pt>
                <c:pt idx="130">
                  <c:v>21316532.595541999</c:v>
                </c:pt>
                <c:pt idx="131">
                  <c:v>19279195.017333001</c:v>
                </c:pt>
                <c:pt idx="132">
                  <c:v>20120267.047127999</c:v>
                </c:pt>
                <c:pt idx="133">
                  <c:v>19999567.232891999</c:v>
                </c:pt>
                <c:pt idx="134">
                  <c:v>18477515.81126</c:v>
                </c:pt>
                <c:pt idx="135">
                  <c:v>15817421.716074999</c:v>
                </c:pt>
                <c:pt idx="136">
                  <c:v>21699724.394955002</c:v>
                </c:pt>
                <c:pt idx="137">
                  <c:v>23094046.389934</c:v>
                </c:pt>
                <c:pt idx="138">
                  <c:v>24166264.52208</c:v>
                </c:pt>
                <c:pt idx="139">
                  <c:v>22874912.495930001</c:v>
                </c:pt>
                <c:pt idx="140">
                  <c:v>27884028.933621999</c:v>
                </c:pt>
                <c:pt idx="141">
                  <c:v>27880289.104927</c:v>
                </c:pt>
                <c:pt idx="142">
                  <c:v>24678677.723559</c:v>
                </c:pt>
                <c:pt idx="143">
                  <c:v>24466629.730854001</c:v>
                </c:pt>
                <c:pt idx="144">
                  <c:v>24351068.900885001</c:v>
                </c:pt>
                <c:pt idx="145">
                  <c:v>21949812.330761999</c:v>
                </c:pt>
                <c:pt idx="146">
                  <c:v>46920498.856417999</c:v>
                </c:pt>
                <c:pt idx="147">
                  <c:v>38018461.514059998</c:v>
                </c:pt>
                <c:pt idx="148">
                  <c:v>57022029.806215003</c:v>
                </c:pt>
                <c:pt idx="149">
                  <c:v>66845814.513971999</c:v>
                </c:pt>
                <c:pt idx="150">
                  <c:v>53606673.312724002</c:v>
                </c:pt>
                <c:pt idx="151">
                  <c:v>43834901.012975998</c:v>
                </c:pt>
                <c:pt idx="152">
                  <c:v>37928649.545224003</c:v>
                </c:pt>
                <c:pt idx="153">
                  <c:v>37105612.178746998</c:v>
                </c:pt>
                <c:pt idx="154">
                  <c:v>33114053.205926999</c:v>
                </c:pt>
                <c:pt idx="155">
                  <c:v>30507509.118503001</c:v>
                </c:pt>
                <c:pt idx="156">
                  <c:v>34938964.687193997</c:v>
                </c:pt>
                <c:pt idx="157">
                  <c:v>35079340.661813997</c:v>
                </c:pt>
                <c:pt idx="158">
                  <c:v>35605046.460382</c:v>
                </c:pt>
                <c:pt idx="159">
                  <c:v>31274443.327884998</c:v>
                </c:pt>
                <c:pt idx="160">
                  <c:v>31732251.154442001</c:v>
                </c:pt>
                <c:pt idx="161">
                  <c:v>31501765.045104001</c:v>
                </c:pt>
                <c:pt idx="162">
                  <c:v>32489519.981375001</c:v>
                </c:pt>
                <c:pt idx="163">
                  <c:v>35949602.643307</c:v>
                </c:pt>
                <c:pt idx="164">
                  <c:v>34672790.313339002</c:v>
                </c:pt>
                <c:pt idx="165">
                  <c:v>28555948.810968999</c:v>
                </c:pt>
                <c:pt idx="166">
                  <c:v>29994400.957338002</c:v>
                </c:pt>
                <c:pt idx="167">
                  <c:v>32879624.249255002</c:v>
                </c:pt>
                <c:pt idx="168">
                  <c:v>34446500.801067002</c:v>
                </c:pt>
                <c:pt idx="169">
                  <c:v>34336983.720163003</c:v>
                </c:pt>
                <c:pt idx="170">
                  <c:v>43774053.433357</c:v>
                </c:pt>
                <c:pt idx="171">
                  <c:v>39007196.523495004</c:v>
                </c:pt>
                <c:pt idx="172">
                  <c:v>36948204.963102996</c:v>
                </c:pt>
                <c:pt idx="173">
                  <c:v>45394043.928018004</c:v>
                </c:pt>
                <c:pt idx="174">
                  <c:v>62176793.413341999</c:v>
                </c:pt>
                <c:pt idx="175">
                  <c:v>48220190.708903</c:v>
                </c:pt>
                <c:pt idx="176">
                  <c:v>44201918.275228001</c:v>
                </c:pt>
                <c:pt idx="177">
                  <c:v>61627642.059468001</c:v>
                </c:pt>
                <c:pt idx="178">
                  <c:v>61289793.195843004</c:v>
                </c:pt>
                <c:pt idx="179">
                  <c:v>49605814.083103001</c:v>
                </c:pt>
                <c:pt idx="180">
                  <c:v>44494902.784093</c:v>
                </c:pt>
                <c:pt idx="181">
                  <c:v>74145936.181899995</c:v>
                </c:pt>
                <c:pt idx="182">
                  <c:v>74367980.389230996</c:v>
                </c:pt>
                <c:pt idx="183">
                  <c:v>71769154.117887005</c:v>
                </c:pt>
                <c:pt idx="184">
                  <c:v>115349426.319041</c:v>
                </c:pt>
                <c:pt idx="185">
                  <c:v>100786070.41846099</c:v>
                </c:pt>
                <c:pt idx="186">
                  <c:v>82222516.349298999</c:v>
                </c:pt>
                <c:pt idx="187">
                  <c:v>78120226.706729993</c:v>
                </c:pt>
                <c:pt idx="188">
                  <c:v>98370711.847793996</c:v>
                </c:pt>
                <c:pt idx="189">
                  <c:v>66915023.201745003</c:v>
                </c:pt>
                <c:pt idx="190">
                  <c:v>86540360.631381005</c:v>
                </c:pt>
                <c:pt idx="191">
                  <c:v>105786601.76420601</c:v>
                </c:pt>
                <c:pt idx="192">
                  <c:v>106802013.33399899</c:v>
                </c:pt>
                <c:pt idx="193">
                  <c:v>107946312.184591</c:v>
                </c:pt>
                <c:pt idx="194">
                  <c:v>106816144.80329201</c:v>
                </c:pt>
                <c:pt idx="195">
                  <c:v>75236120.012477994</c:v>
                </c:pt>
                <c:pt idx="196">
                  <c:v>102328607.431118</c:v>
                </c:pt>
                <c:pt idx="197">
                  <c:v>113361058.260557</c:v>
                </c:pt>
                <c:pt idx="198">
                  <c:v>98219248.152649</c:v>
                </c:pt>
                <c:pt idx="199">
                  <c:v>106003516.77620099</c:v>
                </c:pt>
                <c:pt idx="200">
                  <c:v>90659720.280691996</c:v>
                </c:pt>
                <c:pt idx="201">
                  <c:v>102366560.58840799</c:v>
                </c:pt>
                <c:pt idx="202">
                  <c:v>70776743.457519993</c:v>
                </c:pt>
                <c:pt idx="203">
                  <c:v>92670634.616676003</c:v>
                </c:pt>
                <c:pt idx="204">
                  <c:v>72702756.899187997</c:v>
                </c:pt>
                <c:pt idx="205">
                  <c:v>78836170.453743994</c:v>
                </c:pt>
                <c:pt idx="206">
                  <c:v>71876193.280982003</c:v>
                </c:pt>
                <c:pt idx="207">
                  <c:v>67695188.607556999</c:v>
                </c:pt>
                <c:pt idx="208">
                  <c:v>50052406.295961</c:v>
                </c:pt>
                <c:pt idx="209">
                  <c:v>53998118.648287997</c:v>
                </c:pt>
                <c:pt idx="210">
                  <c:v>47282442.536104999</c:v>
                </c:pt>
                <c:pt idx="211">
                  <c:v>49220775.452229999</c:v>
                </c:pt>
                <c:pt idx="212">
                  <c:v>45273172.838445999</c:v>
                </c:pt>
                <c:pt idx="213">
                  <c:v>38644998.114637002</c:v>
                </c:pt>
                <c:pt idx="214">
                  <c:v>38972192.887289003</c:v>
                </c:pt>
                <c:pt idx="215">
                  <c:v>37382264.890538998</c:v>
                </c:pt>
                <c:pt idx="216">
                  <c:v>35409417.065095</c:v>
                </c:pt>
                <c:pt idx="217">
                  <c:v>47353084.691551</c:v>
                </c:pt>
                <c:pt idx="218">
                  <c:v>79099984.028167993</c:v>
                </c:pt>
                <c:pt idx="219">
                  <c:v>113673084.07834201</c:v>
                </c:pt>
                <c:pt idx="220">
                  <c:v>77084045.316740006</c:v>
                </c:pt>
                <c:pt idx="221">
                  <c:v>111005149.530148</c:v>
                </c:pt>
                <c:pt idx="222">
                  <c:v>169394909.055994</c:v>
                </c:pt>
                <c:pt idx="223">
                  <c:v>123899019.633656</c:v>
                </c:pt>
                <c:pt idx="224">
                  <c:v>101979309.861358</c:v>
                </c:pt>
                <c:pt idx="225">
                  <c:v>107529125.079054</c:v>
                </c:pt>
                <c:pt idx="226">
                  <c:v>76612592.142105997</c:v>
                </c:pt>
                <c:pt idx="227">
                  <c:v>70437927.819537997</c:v>
                </c:pt>
                <c:pt idx="228">
                  <c:v>74262124.491632998</c:v>
                </c:pt>
                <c:pt idx="229">
                  <c:v>103359840.46120401</c:v>
                </c:pt>
                <c:pt idx="230">
                  <c:v>94647761.925734997</c:v>
                </c:pt>
                <c:pt idx="231">
                  <c:v>70537879.661562994</c:v>
                </c:pt>
                <c:pt idx="232">
                  <c:v>64278673.965862997</c:v>
                </c:pt>
                <c:pt idx="233">
                  <c:v>90803609.777722999</c:v>
                </c:pt>
                <c:pt idx="234">
                  <c:v>88111979.578128994</c:v>
                </c:pt>
                <c:pt idx="235">
                  <c:v>121205020.838337</c:v>
                </c:pt>
                <c:pt idx="236">
                  <c:v>111997483.784935</c:v>
                </c:pt>
                <c:pt idx="237">
                  <c:v>94581667.265820995</c:v>
                </c:pt>
                <c:pt idx="238">
                  <c:v>91385194.207940996</c:v>
                </c:pt>
                <c:pt idx="239">
                  <c:v>105821081.45625301</c:v>
                </c:pt>
                <c:pt idx="240">
                  <c:v>108542636.837375</c:v>
                </c:pt>
                <c:pt idx="241">
                  <c:v>129315787.863125</c:v>
                </c:pt>
                <c:pt idx="242">
                  <c:v>139138645.99838799</c:v>
                </c:pt>
                <c:pt idx="243">
                  <c:v>144974250.32863799</c:v>
                </c:pt>
                <c:pt idx="244">
                  <c:v>130430277.76176199</c:v>
                </c:pt>
                <c:pt idx="245">
                  <c:v>182517226.073309</c:v>
                </c:pt>
                <c:pt idx="246">
                  <c:v>162548459.18548799</c:v>
                </c:pt>
                <c:pt idx="247">
                  <c:v>198921328.13352001</c:v>
                </c:pt>
                <c:pt idx="248">
                  <c:v>140370124.42841399</c:v>
                </c:pt>
                <c:pt idx="249">
                  <c:v>167915583.714488</c:v>
                </c:pt>
                <c:pt idx="250">
                  <c:v>187496831.62952301</c:v>
                </c:pt>
                <c:pt idx="251">
                  <c:v>180802489.37772399</c:v>
                </c:pt>
                <c:pt idx="252">
                  <c:v>198143687.160267</c:v>
                </c:pt>
                <c:pt idx="253">
                  <c:v>171660124.614797</c:v>
                </c:pt>
                <c:pt idx="254">
                  <c:v>156647388.29362801</c:v>
                </c:pt>
                <c:pt idx="255">
                  <c:v>196652333.48396599</c:v>
                </c:pt>
                <c:pt idx="256">
                  <c:v>182960076.82136801</c:v>
                </c:pt>
                <c:pt idx="257">
                  <c:v>216842826.15488499</c:v>
                </c:pt>
                <c:pt idx="258">
                  <c:v>204722443.97743699</c:v>
                </c:pt>
                <c:pt idx="259">
                  <c:v>203193120.64413199</c:v>
                </c:pt>
                <c:pt idx="260">
                  <c:v>204794221.88560399</c:v>
                </c:pt>
                <c:pt idx="261">
                  <c:v>235543349.43711299</c:v>
                </c:pt>
                <c:pt idx="262">
                  <c:v>254001412.54838601</c:v>
                </c:pt>
                <c:pt idx="263">
                  <c:v>219184761.523478</c:v>
                </c:pt>
                <c:pt idx="264">
                  <c:v>119384309.624668</c:v>
                </c:pt>
                <c:pt idx="265">
                  <c:v>226362118.05853599</c:v>
                </c:pt>
                <c:pt idx="266">
                  <c:v>173047119.43103701</c:v>
                </c:pt>
                <c:pt idx="267">
                  <c:v>139798391.051873</c:v>
                </c:pt>
                <c:pt idx="268">
                  <c:v>178548194.96160501</c:v>
                </c:pt>
                <c:pt idx="269">
                  <c:v>144613297.04293701</c:v>
                </c:pt>
                <c:pt idx="270">
                  <c:v>121192921.19374999</c:v>
                </c:pt>
                <c:pt idx="271">
                  <c:v>139621360.77730301</c:v>
                </c:pt>
                <c:pt idx="272">
                  <c:v>113305445.60699899</c:v>
                </c:pt>
                <c:pt idx="273">
                  <c:v>135992678.93743399</c:v>
                </c:pt>
                <c:pt idx="274">
                  <c:v>131640064.064431</c:v>
                </c:pt>
                <c:pt idx="275">
                  <c:v>124392006.435261</c:v>
                </c:pt>
                <c:pt idx="276">
                  <c:v>118595360.704475</c:v>
                </c:pt>
                <c:pt idx="277">
                  <c:v>117582747.62693401</c:v>
                </c:pt>
                <c:pt idx="278">
                  <c:v>103220423.860606</c:v>
                </c:pt>
                <c:pt idx="279">
                  <c:v>99988350.716736004</c:v>
                </c:pt>
                <c:pt idx="280">
                  <c:v>95055996.580412</c:v>
                </c:pt>
                <c:pt idx="281">
                  <c:v>67798061.623970002</c:v>
                </c:pt>
                <c:pt idx="282">
                  <c:v>84674139.468527004</c:v>
                </c:pt>
                <c:pt idx="283">
                  <c:v>81750677.556499004</c:v>
                </c:pt>
                <c:pt idx="284">
                  <c:v>87538549.037903994</c:v>
                </c:pt>
                <c:pt idx="285">
                  <c:v>88257464.880679995</c:v>
                </c:pt>
                <c:pt idx="286">
                  <c:v>106985464.515623</c:v>
                </c:pt>
                <c:pt idx="287">
                  <c:v>77987232.303120002</c:v>
                </c:pt>
                <c:pt idx="288">
                  <c:v>77128803.010474995</c:v>
                </c:pt>
                <c:pt idx="289">
                  <c:v>77907190.541832</c:v>
                </c:pt>
                <c:pt idx="290">
                  <c:v>83223136.407213002</c:v>
                </c:pt>
                <c:pt idx="291">
                  <c:v>75582104.501543</c:v>
                </c:pt>
                <c:pt idx="292">
                  <c:v>60031849.907006003</c:v>
                </c:pt>
                <c:pt idx="293">
                  <c:v>72285101.711675003</c:v>
                </c:pt>
                <c:pt idx="294">
                  <c:v>67341578.703439996</c:v>
                </c:pt>
                <c:pt idx="295">
                  <c:v>78577387.322620004</c:v>
                </c:pt>
                <c:pt idx="296">
                  <c:v>70549138.530669004</c:v>
                </c:pt>
                <c:pt idx="297">
                  <c:v>70186772.983980998</c:v>
                </c:pt>
                <c:pt idx="298">
                  <c:v>59433648.475675002</c:v>
                </c:pt>
                <c:pt idx="299">
                  <c:v>55671517.993885003</c:v>
                </c:pt>
                <c:pt idx="300">
                  <c:v>63911520.965173997</c:v>
                </c:pt>
                <c:pt idx="301">
                  <c:v>78901698.273231</c:v>
                </c:pt>
                <c:pt idx="302">
                  <c:v>82239270.385831997</c:v>
                </c:pt>
                <c:pt idx="303">
                  <c:v>66957281.697884999</c:v>
                </c:pt>
                <c:pt idx="304">
                  <c:v>66093864.139473997</c:v>
                </c:pt>
                <c:pt idx="305">
                  <c:v>72013190.229620993</c:v>
                </c:pt>
                <c:pt idx="306">
                  <c:v>67832813.682290003</c:v>
                </c:pt>
                <c:pt idx="307">
                  <c:v>82774427.007967994</c:v>
                </c:pt>
                <c:pt idx="308">
                  <c:v>75549992.580173001</c:v>
                </c:pt>
                <c:pt idx="309">
                  <c:v>49627283.092376001</c:v>
                </c:pt>
                <c:pt idx="310">
                  <c:v>53307960.276428998</c:v>
                </c:pt>
                <c:pt idx="311">
                  <c:v>69609513.015893996</c:v>
                </c:pt>
                <c:pt idx="312">
                  <c:v>69369682.221882001</c:v>
                </c:pt>
                <c:pt idx="313">
                  <c:v>73469423.438410997</c:v>
                </c:pt>
                <c:pt idx="314">
                  <c:v>45661459.029035002</c:v>
                </c:pt>
                <c:pt idx="315">
                  <c:v>41143024.361050002</c:v>
                </c:pt>
                <c:pt idx="316">
                  <c:v>44888871.742830001</c:v>
                </c:pt>
                <c:pt idx="317">
                  <c:v>50274478.985662997</c:v>
                </c:pt>
                <c:pt idx="318">
                  <c:v>43755298.072189003</c:v>
                </c:pt>
                <c:pt idx="319">
                  <c:v>45377032.847626001</c:v>
                </c:pt>
                <c:pt idx="320">
                  <c:v>58260174.703405999</c:v>
                </c:pt>
                <c:pt idx="321">
                  <c:v>45233555.679892004</c:v>
                </c:pt>
                <c:pt idx="322">
                  <c:v>50700107.939507999</c:v>
                </c:pt>
                <c:pt idx="323">
                  <c:v>62972667.579676002</c:v>
                </c:pt>
                <c:pt idx="324">
                  <c:v>49013028.777652003</c:v>
                </c:pt>
                <c:pt idx="325">
                  <c:v>60806743.697292</c:v>
                </c:pt>
                <c:pt idx="326">
                  <c:v>45942956.608659998</c:v>
                </c:pt>
                <c:pt idx="327">
                  <c:v>41549612.412363</c:v>
                </c:pt>
                <c:pt idx="328">
                  <c:v>48736727.660805002</c:v>
                </c:pt>
                <c:pt idx="329">
                  <c:v>46174812.564135</c:v>
                </c:pt>
                <c:pt idx="330">
                  <c:v>42180257.494687997</c:v>
                </c:pt>
                <c:pt idx="331">
                  <c:v>43061751.412794001</c:v>
                </c:pt>
                <c:pt idx="332">
                  <c:v>39703406.904586002</c:v>
                </c:pt>
                <c:pt idx="333">
                  <c:v>38258300.356186002</c:v>
                </c:pt>
                <c:pt idx="334">
                  <c:v>36604522.859488003</c:v>
                </c:pt>
                <c:pt idx="335">
                  <c:v>35413121.896494001</c:v>
                </c:pt>
                <c:pt idx="336">
                  <c:v>35511196.089679003</c:v>
                </c:pt>
                <c:pt idx="337">
                  <c:v>40471597.855786003</c:v>
                </c:pt>
                <c:pt idx="338">
                  <c:v>60372202.669171996</c:v>
                </c:pt>
                <c:pt idx="339">
                  <c:v>81724839.927121997</c:v>
                </c:pt>
                <c:pt idx="340">
                  <c:v>78313724.526513994</c:v>
                </c:pt>
                <c:pt idx="341">
                  <c:v>64906745.557558998</c:v>
                </c:pt>
                <c:pt idx="342">
                  <c:v>72177155.648785993</c:v>
                </c:pt>
                <c:pt idx="343">
                  <c:v>63550522.578203999</c:v>
                </c:pt>
                <c:pt idx="344">
                  <c:v>53147406.624542996</c:v>
                </c:pt>
                <c:pt idx="345">
                  <c:v>77058474.404915005</c:v>
                </c:pt>
                <c:pt idx="346">
                  <c:v>74489864.520634994</c:v>
                </c:pt>
                <c:pt idx="347">
                  <c:v>57447679.547095001</c:v>
                </c:pt>
                <c:pt idx="348">
                  <c:v>47328148.876460999</c:v>
                </c:pt>
                <c:pt idx="349">
                  <c:v>39851181.977968</c:v>
                </c:pt>
                <c:pt idx="350">
                  <c:v>42093899.060930997</c:v>
                </c:pt>
                <c:pt idx="351">
                  <c:v>38338734.116296001</c:v>
                </c:pt>
                <c:pt idx="352">
                  <c:v>50713396.514886998</c:v>
                </c:pt>
                <c:pt idx="353">
                  <c:v>47103161.745807</c:v>
                </c:pt>
                <c:pt idx="354">
                  <c:v>37341834.286123</c:v>
                </c:pt>
                <c:pt idx="355">
                  <c:v>35690030.907752998</c:v>
                </c:pt>
                <c:pt idx="356">
                  <c:v>34325533.472505003</c:v>
                </c:pt>
                <c:pt idx="357">
                  <c:v>47853782.511156999</c:v>
                </c:pt>
                <c:pt idx="358">
                  <c:v>39549680.538186997</c:v>
                </c:pt>
                <c:pt idx="359">
                  <c:v>40829576.295674004</c:v>
                </c:pt>
                <c:pt idx="360">
                  <c:v>58038041.265560001</c:v>
                </c:pt>
                <c:pt idx="361">
                  <c:v>54646902.684900001</c:v>
                </c:pt>
                <c:pt idx="362">
                  <c:v>48987657.250850998</c:v>
                </c:pt>
                <c:pt idx="363">
                  <c:v>38159871.680155002</c:v>
                </c:pt>
                <c:pt idx="364">
                  <c:v>42882440.275503002</c:v>
                </c:pt>
                <c:pt idx="365">
                  <c:v>56217816.084282003</c:v>
                </c:pt>
                <c:pt idx="366">
                  <c:v>44172652.642214</c:v>
                </c:pt>
                <c:pt idx="367">
                  <c:v>36476402.263971001</c:v>
                </c:pt>
                <c:pt idx="368">
                  <c:v>33399875.721494</c:v>
                </c:pt>
                <c:pt idx="369">
                  <c:v>36999260.048000999</c:v>
                </c:pt>
                <c:pt idx="370">
                  <c:v>32380370.666081998</c:v>
                </c:pt>
                <c:pt idx="371">
                  <c:v>40047968.255299002</c:v>
                </c:pt>
                <c:pt idx="372">
                  <c:v>39735571.525064997</c:v>
                </c:pt>
                <c:pt idx="373">
                  <c:v>42145455.339901</c:v>
                </c:pt>
                <c:pt idx="374">
                  <c:v>34436411.933715999</c:v>
                </c:pt>
                <c:pt idx="375">
                  <c:v>36051120.273823</c:v>
                </c:pt>
                <c:pt idx="376">
                  <c:v>37950425.255672</c:v>
                </c:pt>
                <c:pt idx="377">
                  <c:v>42098931.047663003</c:v>
                </c:pt>
                <c:pt idx="378">
                  <c:v>32236239.207026999</c:v>
                </c:pt>
                <c:pt idx="379">
                  <c:v>46809921.576196</c:v>
                </c:pt>
                <c:pt idx="380">
                  <c:v>36530115.279619001</c:v>
                </c:pt>
                <c:pt idx="381">
                  <c:v>42040150.288814999</c:v>
                </c:pt>
                <c:pt idx="382">
                  <c:v>33454431.210111</c:v>
                </c:pt>
                <c:pt idx="383">
                  <c:v>37055783.071681</c:v>
                </c:pt>
                <c:pt idx="384">
                  <c:v>42548592.797851004</c:v>
                </c:pt>
                <c:pt idx="385">
                  <c:v>42146106.490016997</c:v>
                </c:pt>
                <c:pt idx="386">
                  <c:v>44450436.977588996</c:v>
                </c:pt>
                <c:pt idx="387">
                  <c:v>61393332.690566003</c:v>
                </c:pt>
                <c:pt idx="388">
                  <c:v>41127529.136105999</c:v>
                </c:pt>
                <c:pt idx="389">
                  <c:v>40231737.009209</c:v>
                </c:pt>
                <c:pt idx="390">
                  <c:v>39281636.884722002</c:v>
                </c:pt>
                <c:pt idx="391">
                  <c:v>44209253.753331997</c:v>
                </c:pt>
                <c:pt idx="392">
                  <c:v>41656837.336217001</c:v>
                </c:pt>
                <c:pt idx="393">
                  <c:v>40902330.435464002</c:v>
                </c:pt>
                <c:pt idx="394">
                  <c:v>37140431.758217998</c:v>
                </c:pt>
                <c:pt idx="395">
                  <c:v>38765020.658436999</c:v>
                </c:pt>
                <c:pt idx="396">
                  <c:v>38852046.190425999</c:v>
                </c:pt>
                <c:pt idx="397">
                  <c:v>37860674.184823997</c:v>
                </c:pt>
                <c:pt idx="398">
                  <c:v>40906572.669092998</c:v>
                </c:pt>
                <c:pt idx="399">
                  <c:v>39229269.523925997</c:v>
                </c:pt>
                <c:pt idx="400">
                  <c:v>41809714.002345003</c:v>
                </c:pt>
                <c:pt idx="401">
                  <c:v>41438255.158050999</c:v>
                </c:pt>
                <c:pt idx="402">
                  <c:v>45364957.654011004</c:v>
                </c:pt>
                <c:pt idx="403">
                  <c:v>66086743.968794003</c:v>
                </c:pt>
                <c:pt idx="404">
                  <c:v>68266997.128417999</c:v>
                </c:pt>
                <c:pt idx="405">
                  <c:v>89848970.147905007</c:v>
                </c:pt>
                <c:pt idx="406">
                  <c:v>88560086.708103999</c:v>
                </c:pt>
                <c:pt idx="407">
                  <c:v>83795815.861019999</c:v>
                </c:pt>
                <c:pt idx="408">
                  <c:v>58456549.353689</c:v>
                </c:pt>
                <c:pt idx="409">
                  <c:v>54464325.070612997</c:v>
                </c:pt>
                <c:pt idx="410">
                  <c:v>54293646.980159998</c:v>
                </c:pt>
                <c:pt idx="411">
                  <c:v>58152934.715746</c:v>
                </c:pt>
                <c:pt idx="412">
                  <c:v>54579636.919425003</c:v>
                </c:pt>
                <c:pt idx="413">
                  <c:v>46969640.356531002</c:v>
                </c:pt>
                <c:pt idx="414">
                  <c:v>59607328.565329</c:v>
                </c:pt>
                <c:pt idx="415">
                  <c:v>84416147.076767996</c:v>
                </c:pt>
                <c:pt idx="416">
                  <c:v>69005751.255351007</c:v>
                </c:pt>
                <c:pt idx="417">
                  <c:v>50782323.279656999</c:v>
                </c:pt>
                <c:pt idx="418">
                  <c:v>52104909.478688002</c:v>
                </c:pt>
                <c:pt idx="419">
                  <c:v>53142717.870022997</c:v>
                </c:pt>
                <c:pt idx="420">
                  <c:v>55270773.168118998</c:v>
                </c:pt>
                <c:pt idx="421">
                  <c:v>53308108.288298003</c:v>
                </c:pt>
                <c:pt idx="422">
                  <c:v>49247823.790390998</c:v>
                </c:pt>
                <c:pt idx="423">
                  <c:v>54746744.011586003</c:v>
                </c:pt>
                <c:pt idx="424">
                  <c:v>45747975.451644003</c:v>
                </c:pt>
                <c:pt idx="425">
                  <c:v>50356986.008700997</c:v>
                </c:pt>
                <c:pt idx="426">
                  <c:v>50302525.090424001</c:v>
                </c:pt>
                <c:pt idx="427">
                  <c:v>46147118.138416998</c:v>
                </c:pt>
                <c:pt idx="428">
                  <c:v>48786883.295111999</c:v>
                </c:pt>
                <c:pt idx="429">
                  <c:v>44324943.585216001</c:v>
                </c:pt>
                <c:pt idx="430">
                  <c:v>48772151.337780997</c:v>
                </c:pt>
                <c:pt idx="431">
                  <c:v>51860343.928545997</c:v>
                </c:pt>
                <c:pt idx="432">
                  <c:v>62047329.040431999</c:v>
                </c:pt>
                <c:pt idx="433">
                  <c:v>67209250.434843004</c:v>
                </c:pt>
                <c:pt idx="434">
                  <c:v>64166851.307907</c:v>
                </c:pt>
                <c:pt idx="435">
                  <c:v>58935879.234807</c:v>
                </c:pt>
                <c:pt idx="436">
                  <c:v>53480013.294912003</c:v>
                </c:pt>
                <c:pt idx="437">
                  <c:v>46244728.977344997</c:v>
                </c:pt>
                <c:pt idx="438">
                  <c:v>65343934.075121999</c:v>
                </c:pt>
                <c:pt idx="439">
                  <c:v>58656239.563124001</c:v>
                </c:pt>
                <c:pt idx="440">
                  <c:v>52204364.518477999</c:v>
                </c:pt>
                <c:pt idx="441">
                  <c:v>55924662.332195997</c:v>
                </c:pt>
                <c:pt idx="442">
                  <c:v>45742943.074694999</c:v>
                </c:pt>
                <c:pt idx="443">
                  <c:v>47399876.880475</c:v>
                </c:pt>
                <c:pt idx="444">
                  <c:v>54954559.352217004</c:v>
                </c:pt>
                <c:pt idx="445">
                  <c:v>59101812.909464002</c:v>
                </c:pt>
                <c:pt idx="446">
                  <c:v>59959363.659984998</c:v>
                </c:pt>
                <c:pt idx="447">
                  <c:v>50292185.420054004</c:v>
                </c:pt>
                <c:pt idx="448">
                  <c:v>48850395.956234001</c:v>
                </c:pt>
                <c:pt idx="449">
                  <c:v>48202148.495880999</c:v>
                </c:pt>
                <c:pt idx="450">
                  <c:v>46468321.085592002</c:v>
                </c:pt>
                <c:pt idx="451">
                  <c:v>38018426.797847003</c:v>
                </c:pt>
                <c:pt idx="452">
                  <c:v>43895125.461430997</c:v>
                </c:pt>
                <c:pt idx="453">
                  <c:v>38088457.892247997</c:v>
                </c:pt>
                <c:pt idx="454">
                  <c:v>45099526.995058998</c:v>
                </c:pt>
                <c:pt idx="455">
                  <c:v>39630033.013489</c:v>
                </c:pt>
                <c:pt idx="456">
                  <c:v>47803163.106549002</c:v>
                </c:pt>
                <c:pt idx="457">
                  <c:v>40708583.448597997</c:v>
                </c:pt>
                <c:pt idx="458">
                  <c:v>36302225.721274003</c:v>
                </c:pt>
                <c:pt idx="459">
                  <c:v>38861453.234341003</c:v>
                </c:pt>
                <c:pt idx="460">
                  <c:v>36503865.049598001</c:v>
                </c:pt>
                <c:pt idx="461">
                  <c:v>32980718.168325</c:v>
                </c:pt>
                <c:pt idx="462">
                  <c:v>39387691.894725002</c:v>
                </c:pt>
                <c:pt idx="463">
                  <c:v>36040873.436659999</c:v>
                </c:pt>
                <c:pt idx="464">
                  <c:v>33545890.052090999</c:v>
                </c:pt>
                <c:pt idx="465">
                  <c:v>32408147.641846001</c:v>
                </c:pt>
                <c:pt idx="466">
                  <c:v>67546577.928950995</c:v>
                </c:pt>
                <c:pt idx="467">
                  <c:v>75834514.211572006</c:v>
                </c:pt>
                <c:pt idx="468">
                  <c:v>66705981.283762999</c:v>
                </c:pt>
                <c:pt idx="469">
                  <c:v>71033190.272088006</c:v>
                </c:pt>
                <c:pt idx="470">
                  <c:v>50256422.288005002</c:v>
                </c:pt>
                <c:pt idx="471">
                  <c:v>34880805.166933998</c:v>
                </c:pt>
                <c:pt idx="472">
                  <c:v>43631990.229321003</c:v>
                </c:pt>
                <c:pt idx="473">
                  <c:v>66416605.813925996</c:v>
                </c:pt>
                <c:pt idx="474">
                  <c:v>57325874.617095001</c:v>
                </c:pt>
                <c:pt idx="475">
                  <c:v>48124390.256825</c:v>
                </c:pt>
                <c:pt idx="476">
                  <c:v>42021935.335768998</c:v>
                </c:pt>
                <c:pt idx="477">
                  <c:v>39731567.168339998</c:v>
                </c:pt>
                <c:pt idx="478">
                  <c:v>45814363.499251999</c:v>
                </c:pt>
                <c:pt idx="479">
                  <c:v>56077079.058803</c:v>
                </c:pt>
                <c:pt idx="480">
                  <c:v>64403280.722883001</c:v>
                </c:pt>
                <c:pt idx="481">
                  <c:v>46784161.511271998</c:v>
                </c:pt>
                <c:pt idx="482">
                  <c:v>49447993.366576001</c:v>
                </c:pt>
                <c:pt idx="483">
                  <c:v>44897297.498893999</c:v>
                </c:pt>
                <c:pt idx="484">
                  <c:v>57041092.443002</c:v>
                </c:pt>
                <c:pt idx="485">
                  <c:v>45891544.276252002</c:v>
                </c:pt>
                <c:pt idx="486">
                  <c:v>70506711.169924006</c:v>
                </c:pt>
                <c:pt idx="487">
                  <c:v>52866132.864820004</c:v>
                </c:pt>
                <c:pt idx="488">
                  <c:v>45099317.992307</c:v>
                </c:pt>
                <c:pt idx="489">
                  <c:v>46666725.513942003</c:v>
                </c:pt>
                <c:pt idx="490">
                  <c:v>62263938.453120999</c:v>
                </c:pt>
                <c:pt idx="491">
                  <c:v>26331171.037799999</c:v>
                </c:pt>
                <c:pt idx="492">
                  <c:v>28154519.598995</c:v>
                </c:pt>
                <c:pt idx="493">
                  <c:v>41885627.206721999</c:v>
                </c:pt>
                <c:pt idx="494">
                  <c:v>28540876.564148001</c:v>
                </c:pt>
                <c:pt idx="495">
                  <c:v>77212539.256034002</c:v>
                </c:pt>
                <c:pt idx="496">
                  <c:v>69175769.137177005</c:v>
                </c:pt>
                <c:pt idx="497">
                  <c:v>56062265.825860001</c:v>
                </c:pt>
                <c:pt idx="498">
                  <c:v>55108143.879217997</c:v>
                </c:pt>
                <c:pt idx="499">
                  <c:v>51266762.348370999</c:v>
                </c:pt>
                <c:pt idx="500">
                  <c:v>52252818.209008001</c:v>
                </c:pt>
                <c:pt idx="501">
                  <c:v>42604846.446984999</c:v>
                </c:pt>
                <c:pt idx="502">
                  <c:v>44245595.117948003</c:v>
                </c:pt>
                <c:pt idx="503">
                  <c:v>38989614.559647001</c:v>
                </c:pt>
                <c:pt idx="504">
                  <c:v>38427660.185282998</c:v>
                </c:pt>
                <c:pt idx="505">
                  <c:v>40990000</c:v>
                </c:pt>
                <c:pt idx="506">
                  <c:v>37390000</c:v>
                </c:pt>
                <c:pt idx="507">
                  <c:v>37500000</c:v>
                </c:pt>
                <c:pt idx="508">
                  <c:v>36998981.024293996</c:v>
                </c:pt>
                <c:pt idx="509">
                  <c:v>35093766.037846997</c:v>
                </c:pt>
                <c:pt idx="510">
                  <c:v>41138316.810998</c:v>
                </c:pt>
                <c:pt idx="511">
                  <c:v>42433166.782123998</c:v>
                </c:pt>
                <c:pt idx="512">
                  <c:v>38349595.961650997</c:v>
                </c:pt>
                <c:pt idx="513">
                  <c:v>43985040.442460001</c:v>
                </c:pt>
                <c:pt idx="514">
                  <c:v>36795016.667597003</c:v>
                </c:pt>
                <c:pt idx="515">
                  <c:v>47549138.451214001</c:v>
                </c:pt>
                <c:pt idx="516">
                  <c:v>25678938.529561002</c:v>
                </c:pt>
                <c:pt idx="517">
                  <c:v>28443269.164634001</c:v>
                </c:pt>
                <c:pt idx="518">
                  <c:v>21396139.529871002</c:v>
                </c:pt>
                <c:pt idx="519">
                  <c:v>31588046.221893001</c:v>
                </c:pt>
                <c:pt idx="520">
                  <c:v>31310079.857900001</c:v>
                </c:pt>
                <c:pt idx="521">
                  <c:v>23467241.177117001</c:v>
                </c:pt>
                <c:pt idx="522">
                  <c:v>38369174</c:v>
                </c:pt>
                <c:pt idx="523">
                  <c:v>28072012</c:v>
                </c:pt>
                <c:pt idx="524">
                  <c:v>23240520</c:v>
                </c:pt>
                <c:pt idx="525">
                  <c:v>21720401.540530998</c:v>
                </c:pt>
                <c:pt idx="526">
                  <c:v>29483168.393247001</c:v>
                </c:pt>
                <c:pt idx="527">
                  <c:v>29453619.141847</c:v>
                </c:pt>
                <c:pt idx="528">
                  <c:v>30821136.342886999</c:v>
                </c:pt>
                <c:pt idx="529">
                  <c:v>26615900.59832</c:v>
                </c:pt>
                <c:pt idx="530">
                  <c:v>21093496.771315001</c:v>
                </c:pt>
                <c:pt idx="531">
                  <c:v>26926351.381960999</c:v>
                </c:pt>
                <c:pt idx="532">
                  <c:v>22396580.932673998</c:v>
                </c:pt>
                <c:pt idx="533">
                  <c:v>30956982.185079001</c:v>
                </c:pt>
                <c:pt idx="534">
                  <c:v>46385722.133034997</c:v>
                </c:pt>
                <c:pt idx="535">
                  <c:v>25029525.680787001</c:v>
                </c:pt>
                <c:pt idx="536">
                  <c:v>33481992.599489</c:v>
                </c:pt>
                <c:pt idx="537">
                  <c:v>34665867.765516996</c:v>
                </c:pt>
                <c:pt idx="538">
                  <c:v>41706179.714264996</c:v>
                </c:pt>
                <c:pt idx="539">
                  <c:v>37310396.438638002</c:v>
                </c:pt>
                <c:pt idx="540">
                  <c:v>28920672.304035999</c:v>
                </c:pt>
                <c:pt idx="541">
                  <c:v>33700871.099455997</c:v>
                </c:pt>
                <c:pt idx="542">
                  <c:v>40828116.074158996</c:v>
                </c:pt>
                <c:pt idx="543">
                  <c:v>59270605.298892997</c:v>
                </c:pt>
                <c:pt idx="544">
                  <c:v>80010086.069558993</c:v>
                </c:pt>
                <c:pt idx="545">
                  <c:v>52151271.063818</c:v>
                </c:pt>
                <c:pt idx="546">
                  <c:v>36250826.737765998</c:v>
                </c:pt>
                <c:pt idx="547">
                  <c:v>37182844.392090999</c:v>
                </c:pt>
                <c:pt idx="548">
                  <c:v>30454433.518679999</c:v>
                </c:pt>
                <c:pt idx="549">
                  <c:v>30994634.567685001</c:v>
                </c:pt>
                <c:pt idx="550">
                  <c:v>29226896.838208001</c:v>
                </c:pt>
                <c:pt idx="551">
                  <c:v>28059572.390211001</c:v>
                </c:pt>
                <c:pt idx="552">
                  <c:v>29260238.063611001</c:v>
                </c:pt>
                <c:pt idx="553">
                  <c:v>31409122.527833</c:v>
                </c:pt>
                <c:pt idx="554">
                  <c:v>31592309.467418998</c:v>
                </c:pt>
                <c:pt idx="555">
                  <c:v>30022388.389479</c:v>
                </c:pt>
                <c:pt idx="556">
                  <c:v>28482020.217450999</c:v>
                </c:pt>
                <c:pt idx="557">
                  <c:v>40310735.925327003</c:v>
                </c:pt>
                <c:pt idx="558">
                  <c:v>35487529.329363003</c:v>
                </c:pt>
                <c:pt idx="559">
                  <c:v>49287382.438233003</c:v>
                </c:pt>
                <c:pt idx="560">
                  <c:v>43760398.274011001</c:v>
                </c:pt>
                <c:pt idx="561">
                  <c:v>22437356.596078001</c:v>
                </c:pt>
                <c:pt idx="562">
                  <c:v>21931481.782547999</c:v>
                </c:pt>
                <c:pt idx="563">
                  <c:v>16946646.692535002</c:v>
                </c:pt>
                <c:pt idx="564">
                  <c:v>15895347.128238</c:v>
                </c:pt>
                <c:pt idx="565">
                  <c:v>16227966.286522999</c:v>
                </c:pt>
                <c:pt idx="566">
                  <c:v>17186311.862716001</c:v>
                </c:pt>
                <c:pt idx="567">
                  <c:v>17121578.623980001</c:v>
                </c:pt>
                <c:pt idx="568">
                  <c:v>17750848.66784</c:v>
                </c:pt>
                <c:pt idx="569">
                  <c:v>17852711.827542</c:v>
                </c:pt>
                <c:pt idx="570">
                  <c:v>18566344.570843</c:v>
                </c:pt>
                <c:pt idx="571">
                  <c:v>33942085.759781003</c:v>
                </c:pt>
                <c:pt idx="572">
                  <c:v>21609594.575823002</c:v>
                </c:pt>
                <c:pt idx="573">
                  <c:v>22698946.825557999</c:v>
                </c:pt>
                <c:pt idx="574">
                  <c:v>18057374.900821999</c:v>
                </c:pt>
                <c:pt idx="575">
                  <c:v>32008861.239296999</c:v>
                </c:pt>
                <c:pt idx="576">
                  <c:v>26209867.005922001</c:v>
                </c:pt>
                <c:pt idx="577">
                  <c:v>26675092.900481001</c:v>
                </c:pt>
                <c:pt idx="578">
                  <c:v>26727375.228654999</c:v>
                </c:pt>
                <c:pt idx="579">
                  <c:v>43179852.937772997</c:v>
                </c:pt>
                <c:pt idx="580">
                  <c:v>33322363.063809</c:v>
                </c:pt>
                <c:pt idx="581">
                  <c:v>30596520.427407</c:v>
                </c:pt>
                <c:pt idx="582">
                  <c:v>33815539.013815999</c:v>
                </c:pt>
                <c:pt idx="583">
                  <c:v>37271721.628651999</c:v>
                </c:pt>
                <c:pt idx="584">
                  <c:v>30887540.907917999</c:v>
                </c:pt>
                <c:pt idx="585">
                  <c:v>38025070.868869998</c:v>
                </c:pt>
                <c:pt idx="586">
                  <c:v>36693169.477559</c:v>
                </c:pt>
                <c:pt idx="587">
                  <c:v>30868610.898279</c:v>
                </c:pt>
                <c:pt idx="588">
                  <c:v>33493727.104068998</c:v>
                </c:pt>
                <c:pt idx="589">
                  <c:v>43263172</c:v>
                </c:pt>
                <c:pt idx="590">
                  <c:v>42106455</c:v>
                </c:pt>
                <c:pt idx="591">
                  <c:v>37549433.545552999</c:v>
                </c:pt>
                <c:pt idx="592">
                  <c:v>49826459.267701</c:v>
                </c:pt>
                <c:pt idx="593">
                  <c:v>55012025.357832998</c:v>
                </c:pt>
                <c:pt idx="594">
                  <c:v>61417543.347823001</c:v>
                </c:pt>
                <c:pt idx="595">
                  <c:v>21796103.154026002</c:v>
                </c:pt>
                <c:pt idx="596">
                  <c:v>38088996.808320999</c:v>
                </c:pt>
                <c:pt idx="597">
                  <c:v>28671860.456771001</c:v>
                </c:pt>
                <c:pt idx="598">
                  <c:v>17506900.267675001</c:v>
                </c:pt>
                <c:pt idx="599">
                  <c:v>17282560.799616002</c:v>
                </c:pt>
                <c:pt idx="600">
                  <c:v>11370068.870211</c:v>
                </c:pt>
                <c:pt idx="601">
                  <c:v>7346467.2814769996</c:v>
                </c:pt>
                <c:pt idx="602">
                  <c:v>31106333.474605002</c:v>
                </c:pt>
                <c:pt idx="603">
                  <c:v>25716101.767733</c:v>
                </c:pt>
                <c:pt idx="604">
                  <c:v>20304585.065377999</c:v>
                </c:pt>
                <c:pt idx="605">
                  <c:v>41637462.175035</c:v>
                </c:pt>
                <c:pt idx="606">
                  <c:v>41278104.169104002</c:v>
                </c:pt>
                <c:pt idx="607">
                  <c:v>25234950.849291001</c:v>
                </c:pt>
                <c:pt idx="608">
                  <c:v>22034201.824714001</c:v>
                </c:pt>
                <c:pt idx="609">
                  <c:v>31223114.906027</c:v>
                </c:pt>
                <c:pt idx="610">
                  <c:v>22633458.558513999</c:v>
                </c:pt>
                <c:pt idx="611">
                  <c:v>15216540.248307001</c:v>
                </c:pt>
                <c:pt idx="612">
                  <c:v>28200827.850060001</c:v>
                </c:pt>
                <c:pt idx="613">
                  <c:v>26638018.674635001</c:v>
                </c:pt>
                <c:pt idx="614">
                  <c:v>20960357.676954001</c:v>
                </c:pt>
                <c:pt idx="615">
                  <c:v>37687965.579332002</c:v>
                </c:pt>
                <c:pt idx="616">
                  <c:v>30679112.950342</c:v>
                </c:pt>
                <c:pt idx="617">
                  <c:v>52563938.735642001</c:v>
                </c:pt>
                <c:pt idx="618">
                  <c:v>45422657.802390002</c:v>
                </c:pt>
                <c:pt idx="619">
                  <c:v>51077908.153222002</c:v>
                </c:pt>
                <c:pt idx="620">
                  <c:v>45954109.076789998</c:v>
                </c:pt>
                <c:pt idx="621">
                  <c:v>21660940.974156</c:v>
                </c:pt>
                <c:pt idx="622">
                  <c:v>36850263.526782997</c:v>
                </c:pt>
                <c:pt idx="623">
                  <c:v>26649170.700155001</c:v>
                </c:pt>
                <c:pt idx="624">
                  <c:v>44356433.460591003</c:v>
                </c:pt>
                <c:pt idx="625">
                  <c:v>28181348.966481</c:v>
                </c:pt>
                <c:pt idx="626">
                  <c:v>37929075.707934998</c:v>
                </c:pt>
                <c:pt idx="627">
                  <c:v>78816471.388458997</c:v>
                </c:pt>
                <c:pt idx="628">
                  <c:v>70502733.947667003</c:v>
                </c:pt>
                <c:pt idx="629">
                  <c:v>56511554.950685002</c:v>
                </c:pt>
                <c:pt idx="630">
                  <c:v>50779177.229849003</c:v>
                </c:pt>
                <c:pt idx="631">
                  <c:v>91959653.472811997</c:v>
                </c:pt>
                <c:pt idx="632">
                  <c:v>72422068.374254003</c:v>
                </c:pt>
                <c:pt idx="633">
                  <c:v>104620689.65527099</c:v>
                </c:pt>
                <c:pt idx="634">
                  <c:v>77666356.973949</c:v>
                </c:pt>
                <c:pt idx="635">
                  <c:v>79586992.504547998</c:v>
                </c:pt>
                <c:pt idx="636">
                  <c:v>77715183.352017</c:v>
                </c:pt>
                <c:pt idx="637">
                  <c:v>77886703.209785998</c:v>
                </c:pt>
                <c:pt idx="638">
                  <c:v>161310741.84044299</c:v>
                </c:pt>
                <c:pt idx="639">
                  <c:v>104597189.44943</c:v>
                </c:pt>
                <c:pt idx="640">
                  <c:v>125472223.734431</c:v>
                </c:pt>
                <c:pt idx="641">
                  <c:v>83057432.430912003</c:v>
                </c:pt>
                <c:pt idx="642">
                  <c:v>82340682.287066996</c:v>
                </c:pt>
                <c:pt idx="643">
                  <c:v>129233290.54620899</c:v>
                </c:pt>
                <c:pt idx="644">
                  <c:v>108272471.724685</c:v>
                </c:pt>
                <c:pt idx="645">
                  <c:v>139060645.52832001</c:v>
                </c:pt>
                <c:pt idx="646">
                  <c:v>113062267.39955699</c:v>
                </c:pt>
                <c:pt idx="647">
                  <c:v>87642281.886153996</c:v>
                </c:pt>
                <c:pt idx="648">
                  <c:v>140031805.15074101</c:v>
                </c:pt>
                <c:pt idx="649">
                  <c:v>121615439.542475</c:v>
                </c:pt>
                <c:pt idx="650">
                  <c:v>86818743.066741005</c:v>
                </c:pt>
                <c:pt idx="651">
                  <c:v>143837675.79632601</c:v>
                </c:pt>
                <c:pt idx="652">
                  <c:v>188196750.10735899</c:v>
                </c:pt>
                <c:pt idx="653">
                  <c:v>172416054.76755399</c:v>
                </c:pt>
                <c:pt idx="654">
                  <c:v>162097745.45265299</c:v>
                </c:pt>
                <c:pt idx="655">
                  <c:v>80346978.386378005</c:v>
                </c:pt>
                <c:pt idx="656">
                  <c:v>119625651.972369</c:v>
                </c:pt>
                <c:pt idx="657">
                  <c:v>128183807.563262</c:v>
                </c:pt>
                <c:pt idx="658">
                  <c:v>146725515.65308601</c:v>
                </c:pt>
                <c:pt idx="659">
                  <c:v>215671657.87042001</c:v>
                </c:pt>
                <c:pt idx="660">
                  <c:v>169097297.970788</c:v>
                </c:pt>
                <c:pt idx="661">
                  <c:v>121227293.219704</c:v>
                </c:pt>
                <c:pt idx="662">
                  <c:v>136286627.37258101</c:v>
                </c:pt>
                <c:pt idx="663">
                  <c:v>150767244.98548999</c:v>
                </c:pt>
                <c:pt idx="664">
                  <c:v>135819827.93890899</c:v>
                </c:pt>
                <c:pt idx="665">
                  <c:v>91228162.676813006</c:v>
                </c:pt>
                <c:pt idx="666">
                  <c:v>158061206.03510499</c:v>
                </c:pt>
                <c:pt idx="667">
                  <c:v>130400072.73828501</c:v>
                </c:pt>
                <c:pt idx="668">
                  <c:v>122883036.199292</c:v>
                </c:pt>
                <c:pt idx="669">
                  <c:v>133424704.892948</c:v>
                </c:pt>
                <c:pt idx="670">
                  <c:v>183454790.836896</c:v>
                </c:pt>
                <c:pt idx="671">
                  <c:v>109070001.714021</c:v>
                </c:pt>
                <c:pt idx="672">
                  <c:v>140380094.83602899</c:v>
                </c:pt>
                <c:pt idx="673">
                  <c:v>103355438.360633</c:v>
                </c:pt>
                <c:pt idx="674">
                  <c:v>68984047.897874996</c:v>
                </c:pt>
                <c:pt idx="675">
                  <c:v>106776327.19620299</c:v>
                </c:pt>
                <c:pt idx="676">
                  <c:v>96711449.819674</c:v>
                </c:pt>
                <c:pt idx="677">
                  <c:v>110547743.840398</c:v>
                </c:pt>
                <c:pt idx="678">
                  <c:v>77578883.131500006</c:v>
                </c:pt>
                <c:pt idx="679">
                  <c:v>115561604.559981</c:v>
                </c:pt>
                <c:pt idx="680">
                  <c:v>105931770.306107</c:v>
                </c:pt>
                <c:pt idx="681">
                  <c:v>92011840.280864999</c:v>
                </c:pt>
                <c:pt idx="682">
                  <c:v>71871912.997969002</c:v>
                </c:pt>
                <c:pt idx="683">
                  <c:v>66979820.137856998</c:v>
                </c:pt>
                <c:pt idx="684">
                  <c:v>74745041.850685999</c:v>
                </c:pt>
                <c:pt idx="685">
                  <c:v>69809952.837660998</c:v>
                </c:pt>
                <c:pt idx="686">
                  <c:v>73404400.168891996</c:v>
                </c:pt>
                <c:pt idx="687">
                  <c:v>103518599.327907</c:v>
                </c:pt>
                <c:pt idx="688">
                  <c:v>129280880.83933</c:v>
                </c:pt>
                <c:pt idx="689">
                  <c:v>99920854.743248001</c:v>
                </c:pt>
                <c:pt idx="690">
                  <c:v>57283390.829415001</c:v>
                </c:pt>
                <c:pt idx="691">
                  <c:v>64737268.047730997</c:v>
                </c:pt>
                <c:pt idx="692">
                  <c:v>89187357.453571007</c:v>
                </c:pt>
                <c:pt idx="693">
                  <c:v>65227109.289306998</c:v>
                </c:pt>
                <c:pt idx="694">
                  <c:v>64898752.817780003</c:v>
                </c:pt>
                <c:pt idx="695">
                  <c:v>69238824.853136003</c:v>
                </c:pt>
                <c:pt idx="696">
                  <c:v>62864954.816013999</c:v>
                </c:pt>
                <c:pt idx="697">
                  <c:v>67361925.662953004</c:v>
                </c:pt>
                <c:pt idx="698">
                  <c:v>112833543.08556201</c:v>
                </c:pt>
                <c:pt idx="699" formatCode="0">
                  <c:v>116220012.00182299</c:v>
                </c:pt>
                <c:pt idx="700" formatCode="0">
                  <c:v>87105313.995361999</c:v>
                </c:pt>
                <c:pt idx="701" formatCode="0">
                  <c:v>87084240.439922005</c:v>
                </c:pt>
                <c:pt idx="702" formatCode="0">
                  <c:v>67705976.862505004</c:v>
                </c:pt>
                <c:pt idx="703" formatCode="0">
                  <c:v>118060452.89609399</c:v>
                </c:pt>
                <c:pt idx="704" formatCode="0">
                  <c:v>84286872.873146996</c:v>
                </c:pt>
                <c:pt idx="705" formatCode="0">
                  <c:v>66567039.951488003</c:v>
                </c:pt>
                <c:pt idx="706" formatCode="0">
                  <c:v>61019625.344114996</c:v>
                </c:pt>
                <c:pt idx="707" formatCode="0">
                  <c:v>82834290.033849999</c:v>
                </c:pt>
                <c:pt idx="708" formatCode="0">
                  <c:v>43757941.007271998</c:v>
                </c:pt>
                <c:pt idx="709" formatCode="0">
                  <c:v>75695477.527523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0F-4AF7-A095-D4468AEA41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44388544"/>
        <c:axId val="1444391040"/>
      </c:barChart>
      <c:lineChart>
        <c:grouping val="standard"/>
        <c:varyColors val="0"/>
        <c:ser>
          <c:idx val="1"/>
          <c:order val="1"/>
          <c:tx>
            <c:strRef>
              <c:f>'  بورس ایران-ارزش معاملات سهام '!$C$1</c:f>
              <c:strCache>
                <c:ptCount val="1"/>
                <c:pt idx="0">
                  <c:v>میانگین</c:v>
                </c:pt>
              </c:strCache>
            </c:strRef>
          </c:tx>
          <c:spPr>
            <a:ln w="28575" cap="rnd">
              <a:solidFill>
                <a:schemeClr val="accent2">
                  <a:lumMod val="75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52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00F-4AF7-A095-D4468AEA41F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  بورس ایران-ارزش معاملات سهام '!$A$2:$A$711</c:f>
              <c:strCache>
                <c:ptCount val="710"/>
                <c:pt idx="0">
                  <c:v>1401-01-06</c:v>
                </c:pt>
                <c:pt idx="1">
                  <c:v>1401-01-07</c:v>
                </c:pt>
                <c:pt idx="2">
                  <c:v>1401-01-08</c:v>
                </c:pt>
                <c:pt idx="3">
                  <c:v>1401-01-09</c:v>
                </c:pt>
                <c:pt idx="4">
                  <c:v>1401-01-10</c:v>
                </c:pt>
                <c:pt idx="5">
                  <c:v>1401-01-14</c:v>
                </c:pt>
                <c:pt idx="6">
                  <c:v>1401-01-15</c:v>
                </c:pt>
                <c:pt idx="7">
                  <c:v>1401-01-16</c:v>
                </c:pt>
                <c:pt idx="8">
                  <c:v>1401-01-17</c:v>
                </c:pt>
                <c:pt idx="9">
                  <c:v>1401-01-20</c:v>
                </c:pt>
                <c:pt idx="10">
                  <c:v>1401-01-21</c:v>
                </c:pt>
                <c:pt idx="11">
                  <c:v>1401-01-22</c:v>
                </c:pt>
                <c:pt idx="12">
                  <c:v>1401-01-23</c:v>
                </c:pt>
                <c:pt idx="13">
                  <c:v>1401-01-24</c:v>
                </c:pt>
                <c:pt idx="14">
                  <c:v>1401-01-27</c:v>
                </c:pt>
                <c:pt idx="15">
                  <c:v>1401-01-28</c:v>
                </c:pt>
                <c:pt idx="16">
                  <c:v>1401-01-29</c:v>
                </c:pt>
                <c:pt idx="17">
                  <c:v>1401-01-30</c:v>
                </c:pt>
                <c:pt idx="18">
                  <c:v>1401-01-31</c:v>
                </c:pt>
                <c:pt idx="19">
                  <c:v>1401-02-04</c:v>
                </c:pt>
                <c:pt idx="20">
                  <c:v>1401-02-05</c:v>
                </c:pt>
                <c:pt idx="21">
                  <c:v>1401-02-06</c:v>
                </c:pt>
                <c:pt idx="22">
                  <c:v>1401-02-07</c:v>
                </c:pt>
                <c:pt idx="23">
                  <c:v>1401-02-10</c:v>
                </c:pt>
                <c:pt idx="24">
                  <c:v>1401-02-11</c:v>
                </c:pt>
                <c:pt idx="25">
                  <c:v>1401-02-12</c:v>
                </c:pt>
                <c:pt idx="26">
                  <c:v>1401-02-17</c:v>
                </c:pt>
                <c:pt idx="27">
                  <c:v>1401-02-18</c:v>
                </c:pt>
                <c:pt idx="28">
                  <c:v>1401-02-19</c:v>
                </c:pt>
                <c:pt idx="29">
                  <c:v>1401-02-20</c:v>
                </c:pt>
                <c:pt idx="30">
                  <c:v>1401-02-21</c:v>
                </c:pt>
                <c:pt idx="31">
                  <c:v>1401-02-24</c:v>
                </c:pt>
                <c:pt idx="32">
                  <c:v>1401-02-25</c:v>
                </c:pt>
                <c:pt idx="33">
                  <c:v>1401-02-26</c:v>
                </c:pt>
                <c:pt idx="34">
                  <c:v>1401-02-27</c:v>
                </c:pt>
                <c:pt idx="35">
                  <c:v>1401-02-28</c:v>
                </c:pt>
                <c:pt idx="36">
                  <c:v>1401-02-31</c:v>
                </c:pt>
                <c:pt idx="37">
                  <c:v>1401-03-01</c:v>
                </c:pt>
                <c:pt idx="38">
                  <c:v>1401-03-02</c:v>
                </c:pt>
                <c:pt idx="39">
                  <c:v>1401-03-03</c:v>
                </c:pt>
                <c:pt idx="40">
                  <c:v>1401-03-04</c:v>
                </c:pt>
                <c:pt idx="41">
                  <c:v>1401-03-07</c:v>
                </c:pt>
                <c:pt idx="42">
                  <c:v>1401-03-08</c:v>
                </c:pt>
                <c:pt idx="43">
                  <c:v>1401-03-09</c:v>
                </c:pt>
                <c:pt idx="44">
                  <c:v>1401-03-10</c:v>
                </c:pt>
                <c:pt idx="45">
                  <c:v>1401-03-11</c:v>
                </c:pt>
                <c:pt idx="46">
                  <c:v>1401-03-16</c:v>
                </c:pt>
                <c:pt idx="47">
                  <c:v>1401-03-17</c:v>
                </c:pt>
                <c:pt idx="48">
                  <c:v>1401-03-18</c:v>
                </c:pt>
                <c:pt idx="49">
                  <c:v>1401-03-21</c:v>
                </c:pt>
                <c:pt idx="50">
                  <c:v>1401-03-22</c:v>
                </c:pt>
                <c:pt idx="51">
                  <c:v>1401-03-23</c:v>
                </c:pt>
                <c:pt idx="52">
                  <c:v>1401-03-24</c:v>
                </c:pt>
                <c:pt idx="53">
                  <c:v>1401-03-25</c:v>
                </c:pt>
                <c:pt idx="54">
                  <c:v>1401-03-28</c:v>
                </c:pt>
                <c:pt idx="55">
                  <c:v>1401-03-29</c:v>
                </c:pt>
                <c:pt idx="56">
                  <c:v>1401-03-30</c:v>
                </c:pt>
                <c:pt idx="57">
                  <c:v>1401-03-31</c:v>
                </c:pt>
                <c:pt idx="58">
                  <c:v>1401-04-01</c:v>
                </c:pt>
                <c:pt idx="59">
                  <c:v>1401-04-04</c:v>
                </c:pt>
                <c:pt idx="60">
                  <c:v>1401-04-05</c:v>
                </c:pt>
                <c:pt idx="61">
                  <c:v>1401-04-06</c:v>
                </c:pt>
                <c:pt idx="62">
                  <c:v>1401-04-07</c:v>
                </c:pt>
                <c:pt idx="63">
                  <c:v>1401-04-08</c:v>
                </c:pt>
                <c:pt idx="64">
                  <c:v>1401-04-11</c:v>
                </c:pt>
                <c:pt idx="65">
                  <c:v>1401-04-12</c:v>
                </c:pt>
                <c:pt idx="66">
                  <c:v>1401-04-13</c:v>
                </c:pt>
                <c:pt idx="67">
                  <c:v>1401-04-14</c:v>
                </c:pt>
                <c:pt idx="68">
                  <c:v>1401-04-15</c:v>
                </c:pt>
                <c:pt idx="69">
                  <c:v>1401-04-18</c:v>
                </c:pt>
                <c:pt idx="70">
                  <c:v>1401-04-20</c:v>
                </c:pt>
                <c:pt idx="71">
                  <c:v>1401-04-21</c:v>
                </c:pt>
                <c:pt idx="72">
                  <c:v>1401-04-22</c:v>
                </c:pt>
                <c:pt idx="73">
                  <c:v>1401-04-25</c:v>
                </c:pt>
                <c:pt idx="74">
                  <c:v>1401-04-26</c:v>
                </c:pt>
                <c:pt idx="75">
                  <c:v>1401-04-28</c:v>
                </c:pt>
                <c:pt idx="76">
                  <c:v>1401-04-29</c:v>
                </c:pt>
                <c:pt idx="77">
                  <c:v>1401-05-01</c:v>
                </c:pt>
                <c:pt idx="78">
                  <c:v>1401-05-02</c:v>
                </c:pt>
                <c:pt idx="79">
                  <c:v>1401-05-03</c:v>
                </c:pt>
                <c:pt idx="80">
                  <c:v>1401-05-04</c:v>
                </c:pt>
                <c:pt idx="81">
                  <c:v>1401-05-05</c:v>
                </c:pt>
                <c:pt idx="82">
                  <c:v>1401-05-08</c:v>
                </c:pt>
                <c:pt idx="83">
                  <c:v>1401-05-09</c:v>
                </c:pt>
                <c:pt idx="84">
                  <c:v>1401-05-10</c:v>
                </c:pt>
                <c:pt idx="85">
                  <c:v>1401-05-11</c:v>
                </c:pt>
                <c:pt idx="86">
                  <c:v>1401-05-12</c:v>
                </c:pt>
                <c:pt idx="87">
                  <c:v>1401-05-15</c:v>
                </c:pt>
                <c:pt idx="88">
                  <c:v>1401-05-18</c:v>
                </c:pt>
                <c:pt idx="89">
                  <c:v>1401-05-19</c:v>
                </c:pt>
                <c:pt idx="90">
                  <c:v>1401-05-22</c:v>
                </c:pt>
                <c:pt idx="91">
                  <c:v>1401-05-23</c:v>
                </c:pt>
                <c:pt idx="92">
                  <c:v>1401-05-24</c:v>
                </c:pt>
                <c:pt idx="93">
                  <c:v>1401-05-25</c:v>
                </c:pt>
                <c:pt idx="94">
                  <c:v>1401-05-26</c:v>
                </c:pt>
                <c:pt idx="95">
                  <c:v>1401-05-29</c:v>
                </c:pt>
                <c:pt idx="96">
                  <c:v>1401-05-30</c:v>
                </c:pt>
                <c:pt idx="97">
                  <c:v>1401-05-31</c:v>
                </c:pt>
                <c:pt idx="98">
                  <c:v>1401-06-01</c:v>
                </c:pt>
                <c:pt idx="99">
                  <c:v>1401-06-02</c:v>
                </c:pt>
                <c:pt idx="100">
                  <c:v>1401-06-05</c:v>
                </c:pt>
                <c:pt idx="101">
                  <c:v>1401-06-06</c:v>
                </c:pt>
                <c:pt idx="102">
                  <c:v>1401-06-07</c:v>
                </c:pt>
                <c:pt idx="103">
                  <c:v>1401-06-08</c:v>
                </c:pt>
                <c:pt idx="104">
                  <c:v>1401-06-09</c:v>
                </c:pt>
                <c:pt idx="105">
                  <c:v>1401-06-12</c:v>
                </c:pt>
                <c:pt idx="106">
                  <c:v>1401-06-13</c:v>
                </c:pt>
                <c:pt idx="107">
                  <c:v>1401-06-14</c:v>
                </c:pt>
                <c:pt idx="108">
                  <c:v>1401-06-15</c:v>
                </c:pt>
                <c:pt idx="109">
                  <c:v>1401-06-16</c:v>
                </c:pt>
                <c:pt idx="110">
                  <c:v>1401-06-19</c:v>
                </c:pt>
                <c:pt idx="111">
                  <c:v>1401-06-20</c:v>
                </c:pt>
                <c:pt idx="112">
                  <c:v>1401-06-21</c:v>
                </c:pt>
                <c:pt idx="113">
                  <c:v>1401-06-22</c:v>
                </c:pt>
                <c:pt idx="114">
                  <c:v>1401-06-23</c:v>
                </c:pt>
                <c:pt idx="115">
                  <c:v>1401-06-27</c:v>
                </c:pt>
                <c:pt idx="116">
                  <c:v>1401-06-28</c:v>
                </c:pt>
                <c:pt idx="117">
                  <c:v>1401-06-29</c:v>
                </c:pt>
                <c:pt idx="118">
                  <c:v>1401-06-30</c:v>
                </c:pt>
                <c:pt idx="119">
                  <c:v>1401-07-02</c:v>
                </c:pt>
                <c:pt idx="120">
                  <c:v>1401-07-04</c:v>
                </c:pt>
                <c:pt idx="121">
                  <c:v>1401-07-06</c:v>
                </c:pt>
                <c:pt idx="122">
                  <c:v>1401-07-09</c:v>
                </c:pt>
                <c:pt idx="123">
                  <c:v>1401-07-10</c:v>
                </c:pt>
                <c:pt idx="124">
                  <c:v>1401-07-11</c:v>
                </c:pt>
                <c:pt idx="125">
                  <c:v>1401-07-12</c:v>
                </c:pt>
                <c:pt idx="126">
                  <c:v>1401-07-16</c:v>
                </c:pt>
                <c:pt idx="127">
                  <c:v>1401-07-17</c:v>
                </c:pt>
                <c:pt idx="128">
                  <c:v>1401-07-18</c:v>
                </c:pt>
                <c:pt idx="129">
                  <c:v>1401-07-19</c:v>
                </c:pt>
                <c:pt idx="130">
                  <c:v>1401-07-20</c:v>
                </c:pt>
                <c:pt idx="131">
                  <c:v>1401-07-23</c:v>
                </c:pt>
                <c:pt idx="132">
                  <c:v>1401-07-24</c:v>
                </c:pt>
                <c:pt idx="133">
                  <c:v>1401-07-25</c:v>
                </c:pt>
                <c:pt idx="134">
                  <c:v>1401-07-26</c:v>
                </c:pt>
                <c:pt idx="135">
                  <c:v>1401-07-27</c:v>
                </c:pt>
                <c:pt idx="136">
                  <c:v>1401-07-30</c:v>
                </c:pt>
                <c:pt idx="137">
                  <c:v>1401-08-01</c:v>
                </c:pt>
                <c:pt idx="138">
                  <c:v>1401-08-02</c:v>
                </c:pt>
                <c:pt idx="139">
                  <c:v>1401-08-03</c:v>
                </c:pt>
                <c:pt idx="140">
                  <c:v>1401-08-04</c:v>
                </c:pt>
                <c:pt idx="141">
                  <c:v>1401-08-07</c:v>
                </c:pt>
                <c:pt idx="142">
                  <c:v>1401-08-08</c:v>
                </c:pt>
                <c:pt idx="143">
                  <c:v>1401-08-09</c:v>
                </c:pt>
                <c:pt idx="144">
                  <c:v>1401-08-10</c:v>
                </c:pt>
                <c:pt idx="145">
                  <c:v>1401-08-11</c:v>
                </c:pt>
                <c:pt idx="146">
                  <c:v>1401-08-14</c:v>
                </c:pt>
                <c:pt idx="147">
                  <c:v>1401-08-15</c:v>
                </c:pt>
                <c:pt idx="148">
                  <c:v>1401-08-16</c:v>
                </c:pt>
                <c:pt idx="149">
                  <c:v>1401-08-17</c:v>
                </c:pt>
                <c:pt idx="150">
                  <c:v>1401-08-18</c:v>
                </c:pt>
                <c:pt idx="151">
                  <c:v>1401-08-21</c:v>
                </c:pt>
                <c:pt idx="152">
                  <c:v>1401-08-22</c:v>
                </c:pt>
                <c:pt idx="153">
                  <c:v>1401-08-23</c:v>
                </c:pt>
                <c:pt idx="154">
                  <c:v>1401-08-24</c:v>
                </c:pt>
                <c:pt idx="155">
                  <c:v>1401-08-25</c:v>
                </c:pt>
                <c:pt idx="156">
                  <c:v>1401-08-28</c:v>
                </c:pt>
                <c:pt idx="157">
                  <c:v>1401-08-29</c:v>
                </c:pt>
                <c:pt idx="158">
                  <c:v>1401-08-30</c:v>
                </c:pt>
                <c:pt idx="159">
                  <c:v>1401-09-01</c:v>
                </c:pt>
                <c:pt idx="160">
                  <c:v>1401-09-02</c:v>
                </c:pt>
                <c:pt idx="161">
                  <c:v>1401-09-05</c:v>
                </c:pt>
                <c:pt idx="162">
                  <c:v>1401-09-06</c:v>
                </c:pt>
                <c:pt idx="163">
                  <c:v>1401-09-07</c:v>
                </c:pt>
                <c:pt idx="164">
                  <c:v>1401-09-08</c:v>
                </c:pt>
                <c:pt idx="165">
                  <c:v>1401-09-09</c:v>
                </c:pt>
                <c:pt idx="166">
                  <c:v>1401-09-12</c:v>
                </c:pt>
                <c:pt idx="167">
                  <c:v>1401-09-13</c:v>
                </c:pt>
                <c:pt idx="168">
                  <c:v>1401-09-14</c:v>
                </c:pt>
                <c:pt idx="169">
                  <c:v>1401-09-15</c:v>
                </c:pt>
                <c:pt idx="170">
                  <c:v>1401-09-16</c:v>
                </c:pt>
                <c:pt idx="171">
                  <c:v>1401-09-19</c:v>
                </c:pt>
                <c:pt idx="172">
                  <c:v>1401-09-20</c:v>
                </c:pt>
                <c:pt idx="173">
                  <c:v>1401-09-21</c:v>
                </c:pt>
                <c:pt idx="174">
                  <c:v>1401-09-22</c:v>
                </c:pt>
                <c:pt idx="175">
                  <c:v>1401-09-23</c:v>
                </c:pt>
                <c:pt idx="176">
                  <c:v>1401-09-26</c:v>
                </c:pt>
                <c:pt idx="177">
                  <c:v>1401-09-27</c:v>
                </c:pt>
                <c:pt idx="178">
                  <c:v>1401-09-28</c:v>
                </c:pt>
                <c:pt idx="179">
                  <c:v>1401-09-29</c:v>
                </c:pt>
                <c:pt idx="180">
                  <c:v>1401-09-30</c:v>
                </c:pt>
                <c:pt idx="181">
                  <c:v>1401-10-03</c:v>
                </c:pt>
                <c:pt idx="182">
                  <c:v>1401-10-04</c:v>
                </c:pt>
                <c:pt idx="183">
                  <c:v>1401-10-05</c:v>
                </c:pt>
                <c:pt idx="184">
                  <c:v>1401-10-07</c:v>
                </c:pt>
                <c:pt idx="185">
                  <c:v>1401-10-10</c:v>
                </c:pt>
                <c:pt idx="186">
                  <c:v>1401-10-11</c:v>
                </c:pt>
                <c:pt idx="187">
                  <c:v>1401-10-12</c:v>
                </c:pt>
                <c:pt idx="188">
                  <c:v>1401-10-13</c:v>
                </c:pt>
                <c:pt idx="189">
                  <c:v>1401-10-14</c:v>
                </c:pt>
                <c:pt idx="190">
                  <c:v>1401-10-17</c:v>
                </c:pt>
                <c:pt idx="191">
                  <c:v>1401-10-18</c:v>
                </c:pt>
                <c:pt idx="192">
                  <c:v>1401-10-19</c:v>
                </c:pt>
                <c:pt idx="193">
                  <c:v>1401-10-20</c:v>
                </c:pt>
                <c:pt idx="194">
                  <c:v>1401-10-21</c:v>
                </c:pt>
                <c:pt idx="195">
                  <c:v>1401-10-24</c:v>
                </c:pt>
                <c:pt idx="196">
                  <c:v>1401-10-26</c:v>
                </c:pt>
                <c:pt idx="197">
                  <c:v>1401-10-27</c:v>
                </c:pt>
                <c:pt idx="198">
                  <c:v>1401-10-28</c:v>
                </c:pt>
                <c:pt idx="199">
                  <c:v>1401-11-01</c:v>
                </c:pt>
                <c:pt idx="200">
                  <c:v>1401-11-02</c:v>
                </c:pt>
                <c:pt idx="201">
                  <c:v>1401-11-03</c:v>
                </c:pt>
                <c:pt idx="202">
                  <c:v>1401-11-04</c:v>
                </c:pt>
                <c:pt idx="203">
                  <c:v>1401-11-05</c:v>
                </c:pt>
                <c:pt idx="204">
                  <c:v>1401-11-08</c:v>
                </c:pt>
                <c:pt idx="205">
                  <c:v>1401-11-09</c:v>
                </c:pt>
                <c:pt idx="206">
                  <c:v>1401-11-10</c:v>
                </c:pt>
                <c:pt idx="207">
                  <c:v>1401-11-11</c:v>
                </c:pt>
                <c:pt idx="208">
                  <c:v>1401-11-12</c:v>
                </c:pt>
                <c:pt idx="209">
                  <c:v>1401-11-16</c:v>
                </c:pt>
                <c:pt idx="210">
                  <c:v>1401-11-17</c:v>
                </c:pt>
                <c:pt idx="211">
                  <c:v>1401-11-18</c:v>
                </c:pt>
                <c:pt idx="212">
                  <c:v>1401-11-19</c:v>
                </c:pt>
                <c:pt idx="213">
                  <c:v>1401-11-23</c:v>
                </c:pt>
                <c:pt idx="214">
                  <c:v>1401-11-24</c:v>
                </c:pt>
                <c:pt idx="215">
                  <c:v>1401-11-25</c:v>
                </c:pt>
                <c:pt idx="216">
                  <c:v>1401-11-26</c:v>
                </c:pt>
                <c:pt idx="217">
                  <c:v>1401-11-30</c:v>
                </c:pt>
                <c:pt idx="218">
                  <c:v>1401-12-01</c:v>
                </c:pt>
                <c:pt idx="219">
                  <c:v>1401-12-02</c:v>
                </c:pt>
                <c:pt idx="220">
                  <c:v>1401-12-03</c:v>
                </c:pt>
                <c:pt idx="221">
                  <c:v>1401-12-06</c:v>
                </c:pt>
                <c:pt idx="222">
                  <c:v>1401-12-07</c:v>
                </c:pt>
                <c:pt idx="223">
                  <c:v>1401-12-08</c:v>
                </c:pt>
                <c:pt idx="224">
                  <c:v>1401-12-09</c:v>
                </c:pt>
                <c:pt idx="225">
                  <c:v>1401-12-10</c:v>
                </c:pt>
                <c:pt idx="226">
                  <c:v>1401-12-13</c:v>
                </c:pt>
                <c:pt idx="227">
                  <c:v>1401-12-14</c:v>
                </c:pt>
                <c:pt idx="228">
                  <c:v>1401-12-15</c:v>
                </c:pt>
                <c:pt idx="229">
                  <c:v>1401-12-16</c:v>
                </c:pt>
                <c:pt idx="230">
                  <c:v>1401-12-20</c:v>
                </c:pt>
                <c:pt idx="231">
                  <c:v>1401-12-21</c:v>
                </c:pt>
                <c:pt idx="232">
                  <c:v>1401-12-22</c:v>
                </c:pt>
                <c:pt idx="233">
                  <c:v>1401-12-23</c:v>
                </c:pt>
                <c:pt idx="234">
                  <c:v>1401-12-24</c:v>
                </c:pt>
                <c:pt idx="235">
                  <c:v>1401-12-27</c:v>
                </c:pt>
                <c:pt idx="236">
                  <c:v>1401-12-28</c:v>
                </c:pt>
                <c:pt idx="237">
                  <c:v>1402-01-05</c:v>
                </c:pt>
                <c:pt idx="238">
                  <c:v>1402-01-06</c:v>
                </c:pt>
                <c:pt idx="239">
                  <c:v>1402-01-07</c:v>
                </c:pt>
                <c:pt idx="240">
                  <c:v>1402-01-08</c:v>
                </c:pt>
                <c:pt idx="241">
                  <c:v>1402-01-09</c:v>
                </c:pt>
                <c:pt idx="242">
                  <c:v>1402-01-14</c:v>
                </c:pt>
                <c:pt idx="243">
                  <c:v>1402-01-15</c:v>
                </c:pt>
                <c:pt idx="244">
                  <c:v>1402-01-16</c:v>
                </c:pt>
                <c:pt idx="245">
                  <c:v>1402-01-19</c:v>
                </c:pt>
                <c:pt idx="246">
                  <c:v>1402-01-20</c:v>
                </c:pt>
                <c:pt idx="247">
                  <c:v>1402-01-21</c:v>
                </c:pt>
                <c:pt idx="248">
                  <c:v>1402-01-22</c:v>
                </c:pt>
                <c:pt idx="249">
                  <c:v>1402-01-26</c:v>
                </c:pt>
                <c:pt idx="250">
                  <c:v>1402-01-27</c:v>
                </c:pt>
                <c:pt idx="251">
                  <c:v>1402-01-28</c:v>
                </c:pt>
                <c:pt idx="252">
                  <c:v>1402-01-29</c:v>
                </c:pt>
                <c:pt idx="253">
                  <c:v>1402-01-30</c:v>
                </c:pt>
                <c:pt idx="254">
                  <c:v>1402-02-04</c:v>
                </c:pt>
                <c:pt idx="255">
                  <c:v>1402-02-05</c:v>
                </c:pt>
                <c:pt idx="256">
                  <c:v>1402-02-06</c:v>
                </c:pt>
                <c:pt idx="257">
                  <c:v>1402-02-09</c:v>
                </c:pt>
                <c:pt idx="258">
                  <c:v>1402-02-10</c:v>
                </c:pt>
                <c:pt idx="259">
                  <c:v>1402-02-11</c:v>
                </c:pt>
                <c:pt idx="260">
                  <c:v>1402-02-12</c:v>
                </c:pt>
                <c:pt idx="261">
                  <c:v>1402-02-13</c:v>
                </c:pt>
                <c:pt idx="262">
                  <c:v>1402-02-16</c:v>
                </c:pt>
                <c:pt idx="263">
                  <c:v>1402-02-17</c:v>
                </c:pt>
                <c:pt idx="264">
                  <c:v>1402-02-18</c:v>
                </c:pt>
                <c:pt idx="265">
                  <c:v>1402-02-19</c:v>
                </c:pt>
                <c:pt idx="266">
                  <c:v>1402-02-20</c:v>
                </c:pt>
                <c:pt idx="267">
                  <c:v>1402-02-23</c:v>
                </c:pt>
                <c:pt idx="268">
                  <c:v>1402-02-24</c:v>
                </c:pt>
                <c:pt idx="269">
                  <c:v>1402-02-25</c:v>
                </c:pt>
                <c:pt idx="270">
                  <c:v>1402-02-27</c:v>
                </c:pt>
                <c:pt idx="271">
                  <c:v>1402-02-30</c:v>
                </c:pt>
                <c:pt idx="272">
                  <c:v>1402-02-31</c:v>
                </c:pt>
                <c:pt idx="273">
                  <c:v>1402-03-01</c:v>
                </c:pt>
                <c:pt idx="274">
                  <c:v>1402-03-02</c:v>
                </c:pt>
                <c:pt idx="275">
                  <c:v>1402-03-03</c:v>
                </c:pt>
                <c:pt idx="276">
                  <c:v>1402-03-06</c:v>
                </c:pt>
                <c:pt idx="277">
                  <c:v>1402-03-07</c:v>
                </c:pt>
                <c:pt idx="278">
                  <c:v>1402-03-08</c:v>
                </c:pt>
                <c:pt idx="279">
                  <c:v>1402-03-09</c:v>
                </c:pt>
                <c:pt idx="280">
                  <c:v>1402-03-10</c:v>
                </c:pt>
                <c:pt idx="281">
                  <c:v>1402-03-13</c:v>
                </c:pt>
                <c:pt idx="282">
                  <c:v>1402-03-16</c:v>
                </c:pt>
                <c:pt idx="283">
                  <c:v>1402-03-17</c:v>
                </c:pt>
                <c:pt idx="284">
                  <c:v>1402-03-20</c:v>
                </c:pt>
                <c:pt idx="285">
                  <c:v>1402-03-21</c:v>
                </c:pt>
                <c:pt idx="286">
                  <c:v>1402-03-22</c:v>
                </c:pt>
                <c:pt idx="287">
                  <c:v>1402-03-23</c:v>
                </c:pt>
                <c:pt idx="288">
                  <c:v>1402-03-24</c:v>
                </c:pt>
                <c:pt idx="289">
                  <c:v>1402-03-27</c:v>
                </c:pt>
                <c:pt idx="290">
                  <c:v>1402-03-28</c:v>
                </c:pt>
                <c:pt idx="291">
                  <c:v>1402-03-29</c:v>
                </c:pt>
                <c:pt idx="292">
                  <c:v>1402-03-30</c:v>
                </c:pt>
                <c:pt idx="293">
                  <c:v>1402-03-31</c:v>
                </c:pt>
                <c:pt idx="294">
                  <c:v>1402-04-03</c:v>
                </c:pt>
                <c:pt idx="295">
                  <c:v>1402-04-04</c:v>
                </c:pt>
                <c:pt idx="296">
                  <c:v>1402-04-05</c:v>
                </c:pt>
                <c:pt idx="297">
                  <c:v>1402-04-06</c:v>
                </c:pt>
                <c:pt idx="298">
                  <c:v>1402-04-07</c:v>
                </c:pt>
                <c:pt idx="299">
                  <c:v>1402-04-10</c:v>
                </c:pt>
                <c:pt idx="300">
                  <c:v>1402-04-11</c:v>
                </c:pt>
                <c:pt idx="301">
                  <c:v>1402-04-12</c:v>
                </c:pt>
                <c:pt idx="302">
                  <c:v>1402-04-13</c:v>
                </c:pt>
                <c:pt idx="303">
                  <c:v>1402-04-14</c:v>
                </c:pt>
                <c:pt idx="304">
                  <c:v>1402-04-17</c:v>
                </c:pt>
                <c:pt idx="305">
                  <c:v>1402-04-18</c:v>
                </c:pt>
                <c:pt idx="306">
                  <c:v>1402-04-19</c:v>
                </c:pt>
                <c:pt idx="307">
                  <c:v>1402-04-20</c:v>
                </c:pt>
                <c:pt idx="308">
                  <c:v>1402-04-21</c:v>
                </c:pt>
                <c:pt idx="309">
                  <c:v>1402-04-24</c:v>
                </c:pt>
                <c:pt idx="310">
                  <c:v>1402-04-25</c:v>
                </c:pt>
                <c:pt idx="311">
                  <c:v>1402-04-26</c:v>
                </c:pt>
                <c:pt idx="312">
                  <c:v>1402-04-27</c:v>
                </c:pt>
                <c:pt idx="313">
                  <c:v>1402-04-28</c:v>
                </c:pt>
                <c:pt idx="314">
                  <c:v>1402-04-31</c:v>
                </c:pt>
                <c:pt idx="315">
                  <c:v>1402-05-01</c:v>
                </c:pt>
                <c:pt idx="316">
                  <c:v>1402-05-02</c:v>
                </c:pt>
                <c:pt idx="317">
                  <c:v>1402-05-03</c:v>
                </c:pt>
                <c:pt idx="318">
                  <c:v>1402-05-04</c:v>
                </c:pt>
                <c:pt idx="319">
                  <c:v>1402-05-07</c:v>
                </c:pt>
                <c:pt idx="320">
                  <c:v>1402-05-08</c:v>
                </c:pt>
                <c:pt idx="321">
                  <c:v>1402-05-09</c:v>
                </c:pt>
                <c:pt idx="322">
                  <c:v>1402-05-10</c:v>
                </c:pt>
                <c:pt idx="323">
                  <c:v>1402-05-14</c:v>
                </c:pt>
                <c:pt idx="324">
                  <c:v>1402-05-15</c:v>
                </c:pt>
                <c:pt idx="325">
                  <c:v>1402-05-16</c:v>
                </c:pt>
                <c:pt idx="326">
                  <c:v>1402-05-17</c:v>
                </c:pt>
                <c:pt idx="327">
                  <c:v>1402-05-18</c:v>
                </c:pt>
                <c:pt idx="328">
                  <c:v>1402-05-21</c:v>
                </c:pt>
                <c:pt idx="329">
                  <c:v>1402-05-22</c:v>
                </c:pt>
                <c:pt idx="330">
                  <c:v>1402-05-23</c:v>
                </c:pt>
                <c:pt idx="331">
                  <c:v>1402-05-24</c:v>
                </c:pt>
                <c:pt idx="332">
                  <c:v>1402-05-25</c:v>
                </c:pt>
                <c:pt idx="333">
                  <c:v>1402-05-28</c:v>
                </c:pt>
                <c:pt idx="334">
                  <c:v>1402-05-29</c:v>
                </c:pt>
                <c:pt idx="335">
                  <c:v>1402-05-30</c:v>
                </c:pt>
                <c:pt idx="336">
                  <c:v>1402-05-31</c:v>
                </c:pt>
                <c:pt idx="337">
                  <c:v>1402-06-01</c:v>
                </c:pt>
                <c:pt idx="338">
                  <c:v>1402-06-04</c:v>
                </c:pt>
                <c:pt idx="339">
                  <c:v>1402-06-05</c:v>
                </c:pt>
                <c:pt idx="340">
                  <c:v>1402-06-06</c:v>
                </c:pt>
                <c:pt idx="341">
                  <c:v>1402-06-07</c:v>
                </c:pt>
                <c:pt idx="342">
                  <c:v>1402-06-08</c:v>
                </c:pt>
                <c:pt idx="343">
                  <c:v>1402-06-11</c:v>
                </c:pt>
                <c:pt idx="344">
                  <c:v>1402-06-12</c:v>
                </c:pt>
                <c:pt idx="345">
                  <c:v>1402-06-13</c:v>
                </c:pt>
                <c:pt idx="346">
                  <c:v>1402-06-14</c:v>
                </c:pt>
                <c:pt idx="347">
                  <c:v>1402-06-18</c:v>
                </c:pt>
                <c:pt idx="348">
                  <c:v>1402-06-19</c:v>
                </c:pt>
                <c:pt idx="349">
                  <c:v>1402-06-20</c:v>
                </c:pt>
                <c:pt idx="350">
                  <c:v>1402-06-21</c:v>
                </c:pt>
                <c:pt idx="351">
                  <c:v>1402-06-22</c:v>
                </c:pt>
                <c:pt idx="352">
                  <c:v>1402-06-26</c:v>
                </c:pt>
                <c:pt idx="353">
                  <c:v>1402-06-27</c:v>
                </c:pt>
                <c:pt idx="354">
                  <c:v>1402-06-28</c:v>
                </c:pt>
                <c:pt idx="355">
                  <c:v>1402-06-29</c:v>
                </c:pt>
                <c:pt idx="356">
                  <c:v>1402-07-01</c:v>
                </c:pt>
                <c:pt idx="357">
                  <c:v>1402-07-03</c:v>
                </c:pt>
                <c:pt idx="358">
                  <c:v>1402-07-04</c:v>
                </c:pt>
                <c:pt idx="359">
                  <c:v>1402-07-05</c:v>
                </c:pt>
                <c:pt idx="360">
                  <c:v>1402-07-08</c:v>
                </c:pt>
                <c:pt idx="361">
                  <c:v>1402-07-09</c:v>
                </c:pt>
                <c:pt idx="362">
                  <c:v>1402-07-10</c:v>
                </c:pt>
                <c:pt idx="363">
                  <c:v>1402-07-12</c:v>
                </c:pt>
                <c:pt idx="364">
                  <c:v>1402-07-15</c:v>
                </c:pt>
                <c:pt idx="365">
                  <c:v>1402-07-16</c:v>
                </c:pt>
                <c:pt idx="366">
                  <c:v>1402-07-17</c:v>
                </c:pt>
                <c:pt idx="367">
                  <c:v>1402-07-18</c:v>
                </c:pt>
                <c:pt idx="368">
                  <c:v>1402-07-19</c:v>
                </c:pt>
                <c:pt idx="369">
                  <c:v>1402-07-22</c:v>
                </c:pt>
                <c:pt idx="370">
                  <c:v>1402-07-23</c:v>
                </c:pt>
                <c:pt idx="371">
                  <c:v>1402-07-24</c:v>
                </c:pt>
                <c:pt idx="372">
                  <c:v>1402-07-25</c:v>
                </c:pt>
                <c:pt idx="373">
                  <c:v>1402-07-26</c:v>
                </c:pt>
                <c:pt idx="374">
                  <c:v>1402-07-29</c:v>
                </c:pt>
                <c:pt idx="375">
                  <c:v>1402-07-30</c:v>
                </c:pt>
                <c:pt idx="376">
                  <c:v>1402-08-01</c:v>
                </c:pt>
                <c:pt idx="377">
                  <c:v>1402-08-02</c:v>
                </c:pt>
                <c:pt idx="378">
                  <c:v>1402-08-03</c:v>
                </c:pt>
                <c:pt idx="379">
                  <c:v>1402-08-06</c:v>
                </c:pt>
                <c:pt idx="380">
                  <c:v>1402-08-07</c:v>
                </c:pt>
                <c:pt idx="381">
                  <c:v>1402-08-08</c:v>
                </c:pt>
                <c:pt idx="382">
                  <c:v>1402-08-09</c:v>
                </c:pt>
                <c:pt idx="383">
                  <c:v>1402-08-10</c:v>
                </c:pt>
                <c:pt idx="384">
                  <c:v>1402-08-13</c:v>
                </c:pt>
                <c:pt idx="385">
                  <c:v>1402-08-14</c:v>
                </c:pt>
                <c:pt idx="386">
                  <c:v>1402-08-15</c:v>
                </c:pt>
                <c:pt idx="387">
                  <c:v>1402-08-16</c:v>
                </c:pt>
                <c:pt idx="388">
                  <c:v>1402-08-17</c:v>
                </c:pt>
                <c:pt idx="389">
                  <c:v>1402-08-20</c:v>
                </c:pt>
                <c:pt idx="390">
                  <c:v>1402-08-21</c:v>
                </c:pt>
                <c:pt idx="391">
                  <c:v>1402-08-22</c:v>
                </c:pt>
                <c:pt idx="392">
                  <c:v>1402-08-23</c:v>
                </c:pt>
                <c:pt idx="393">
                  <c:v>1402-08-24</c:v>
                </c:pt>
                <c:pt idx="394">
                  <c:v>1402-08-27</c:v>
                </c:pt>
                <c:pt idx="395">
                  <c:v>1402-08-28</c:v>
                </c:pt>
                <c:pt idx="396">
                  <c:v>1402-08-29</c:v>
                </c:pt>
                <c:pt idx="397">
                  <c:v>1402-08-30</c:v>
                </c:pt>
                <c:pt idx="398">
                  <c:v>1402-09-01</c:v>
                </c:pt>
                <c:pt idx="399">
                  <c:v>1402-09-04</c:v>
                </c:pt>
                <c:pt idx="400">
                  <c:v>1402-09-05</c:v>
                </c:pt>
                <c:pt idx="401">
                  <c:v>1402-09-06</c:v>
                </c:pt>
                <c:pt idx="402">
                  <c:v>1402-09-07</c:v>
                </c:pt>
                <c:pt idx="403">
                  <c:v>1402-09-08</c:v>
                </c:pt>
                <c:pt idx="404">
                  <c:v>1402-09-11</c:v>
                </c:pt>
                <c:pt idx="405">
                  <c:v>1402-09-12</c:v>
                </c:pt>
                <c:pt idx="406">
                  <c:v>1402-09-13</c:v>
                </c:pt>
                <c:pt idx="407">
                  <c:v>1402-09-14</c:v>
                </c:pt>
                <c:pt idx="408">
                  <c:v>1402-09-15</c:v>
                </c:pt>
                <c:pt idx="409">
                  <c:v>1402-09-18</c:v>
                </c:pt>
                <c:pt idx="410">
                  <c:v>1402-09-19</c:v>
                </c:pt>
                <c:pt idx="411">
                  <c:v>1402-09-20</c:v>
                </c:pt>
                <c:pt idx="412">
                  <c:v>1402-09-21</c:v>
                </c:pt>
                <c:pt idx="413">
                  <c:v>1402-09-22</c:v>
                </c:pt>
                <c:pt idx="414">
                  <c:v>1402-09-25</c:v>
                </c:pt>
                <c:pt idx="415">
                  <c:v>1402-09-27</c:v>
                </c:pt>
                <c:pt idx="416">
                  <c:v>1402-09-28</c:v>
                </c:pt>
                <c:pt idx="417">
                  <c:v>1402-09-29</c:v>
                </c:pt>
                <c:pt idx="418">
                  <c:v>1402-10-02</c:v>
                </c:pt>
                <c:pt idx="419">
                  <c:v>1402-10-03</c:v>
                </c:pt>
                <c:pt idx="420">
                  <c:v>1402-10-04</c:v>
                </c:pt>
                <c:pt idx="421">
                  <c:v>1402-10-05</c:v>
                </c:pt>
                <c:pt idx="422">
                  <c:v>1402-10-06</c:v>
                </c:pt>
                <c:pt idx="423">
                  <c:v>1402-10-09</c:v>
                </c:pt>
                <c:pt idx="424">
                  <c:v>1402-10-10</c:v>
                </c:pt>
                <c:pt idx="425">
                  <c:v>1402-10-11</c:v>
                </c:pt>
                <c:pt idx="426">
                  <c:v>1402-10-12</c:v>
                </c:pt>
                <c:pt idx="427">
                  <c:v>1402-10-13</c:v>
                </c:pt>
                <c:pt idx="428">
                  <c:v>1402-10-16</c:v>
                </c:pt>
                <c:pt idx="429">
                  <c:v>1402-10-17</c:v>
                </c:pt>
                <c:pt idx="430">
                  <c:v>1402-10-18</c:v>
                </c:pt>
                <c:pt idx="431">
                  <c:v>1402-10-19</c:v>
                </c:pt>
                <c:pt idx="432">
                  <c:v>1402-10-20</c:v>
                </c:pt>
                <c:pt idx="433">
                  <c:v>1402-10-23</c:v>
                </c:pt>
                <c:pt idx="434">
                  <c:v>1402-10-24</c:v>
                </c:pt>
                <c:pt idx="435">
                  <c:v>1402-10-25</c:v>
                </c:pt>
                <c:pt idx="436">
                  <c:v>1402-10-26</c:v>
                </c:pt>
                <c:pt idx="437">
                  <c:v>1402-10-27</c:v>
                </c:pt>
                <c:pt idx="438">
                  <c:v>1402-10-30</c:v>
                </c:pt>
                <c:pt idx="439">
                  <c:v>1402-11-01</c:v>
                </c:pt>
                <c:pt idx="440">
                  <c:v>1402-11-02</c:v>
                </c:pt>
                <c:pt idx="441">
                  <c:v>1402-11-03</c:v>
                </c:pt>
                <c:pt idx="442">
                  <c:v>1402-11-04</c:v>
                </c:pt>
                <c:pt idx="443">
                  <c:v>1402-11-07</c:v>
                </c:pt>
                <c:pt idx="444">
                  <c:v>1402-11-08</c:v>
                </c:pt>
                <c:pt idx="445">
                  <c:v>1402-11-09</c:v>
                </c:pt>
                <c:pt idx="446">
                  <c:v>1402-11-10</c:v>
                </c:pt>
                <c:pt idx="447">
                  <c:v>1402-11-11</c:v>
                </c:pt>
                <c:pt idx="448">
                  <c:v>1402-11-14</c:v>
                </c:pt>
                <c:pt idx="449">
                  <c:v>1402-11-15</c:v>
                </c:pt>
                <c:pt idx="450">
                  <c:v>1402-11-16</c:v>
                </c:pt>
                <c:pt idx="451">
                  <c:v>1402-11-17</c:v>
                </c:pt>
                <c:pt idx="452">
                  <c:v>1402-11-18</c:v>
                </c:pt>
                <c:pt idx="453">
                  <c:v>1402-11-21</c:v>
                </c:pt>
                <c:pt idx="454">
                  <c:v>1402-11-23</c:v>
                </c:pt>
                <c:pt idx="455">
                  <c:v>1402-11-24</c:v>
                </c:pt>
                <c:pt idx="456">
                  <c:v>1402-11-25</c:v>
                </c:pt>
                <c:pt idx="457">
                  <c:v>1402-11-28</c:v>
                </c:pt>
                <c:pt idx="458">
                  <c:v>1402-11-29</c:v>
                </c:pt>
                <c:pt idx="459">
                  <c:v>1402-11-30</c:v>
                </c:pt>
                <c:pt idx="460">
                  <c:v>1402-12-01</c:v>
                </c:pt>
                <c:pt idx="461">
                  <c:v>1402-12-02</c:v>
                </c:pt>
                <c:pt idx="462">
                  <c:v>1402-12-05</c:v>
                </c:pt>
                <c:pt idx="463">
                  <c:v>1402-12-07</c:v>
                </c:pt>
                <c:pt idx="464">
                  <c:v>1402-12-08</c:v>
                </c:pt>
                <c:pt idx="465">
                  <c:v>1402-12-09</c:v>
                </c:pt>
                <c:pt idx="466">
                  <c:v>1402-12-12</c:v>
                </c:pt>
                <c:pt idx="467">
                  <c:v>1402-12-13</c:v>
                </c:pt>
                <c:pt idx="468">
                  <c:v>1402-12-14</c:v>
                </c:pt>
                <c:pt idx="469">
                  <c:v>1402-12-15</c:v>
                </c:pt>
                <c:pt idx="470">
                  <c:v>1402-12-16</c:v>
                </c:pt>
                <c:pt idx="471">
                  <c:v>1402-12-19</c:v>
                </c:pt>
                <c:pt idx="472">
                  <c:v>1402-12-20</c:v>
                </c:pt>
                <c:pt idx="473">
                  <c:v>1402-12-21</c:v>
                </c:pt>
                <c:pt idx="474">
                  <c:v>1402-12-22</c:v>
                </c:pt>
                <c:pt idx="475">
                  <c:v>1402-12-23</c:v>
                </c:pt>
                <c:pt idx="476">
                  <c:v>1402-12-26</c:v>
                </c:pt>
                <c:pt idx="477">
                  <c:v>1402-12-27</c:v>
                </c:pt>
                <c:pt idx="478">
                  <c:v>1402-12-28</c:v>
                </c:pt>
                <c:pt idx="479">
                  <c:v>1403-01-05</c:v>
                </c:pt>
                <c:pt idx="480">
                  <c:v>1403-01-06</c:v>
                </c:pt>
                <c:pt idx="481">
                  <c:v>1403-01-07</c:v>
                </c:pt>
                <c:pt idx="482">
                  <c:v>1403-01-08</c:v>
                </c:pt>
                <c:pt idx="483">
                  <c:v>1403-01-11</c:v>
                </c:pt>
                <c:pt idx="484">
                  <c:v>1403-01-14</c:v>
                </c:pt>
                <c:pt idx="485">
                  <c:v>1403-01-15</c:v>
                </c:pt>
                <c:pt idx="486">
                  <c:v>1403-01-18</c:v>
                </c:pt>
                <c:pt idx="487">
                  <c:v>1403-01-19</c:v>
                </c:pt>
                <c:pt idx="488">
                  <c:v>1403-01-20</c:v>
                </c:pt>
                <c:pt idx="489">
                  <c:v>1403-01-21</c:v>
                </c:pt>
                <c:pt idx="490">
                  <c:v>1403-01-25</c:v>
                </c:pt>
                <c:pt idx="491">
                  <c:v>1403-01-26</c:v>
                </c:pt>
                <c:pt idx="492">
                  <c:v>1403-01-27</c:v>
                </c:pt>
                <c:pt idx="493">
                  <c:v>1403-01-28</c:v>
                </c:pt>
                <c:pt idx="494">
                  <c:v>1403-01-29</c:v>
                </c:pt>
                <c:pt idx="495">
                  <c:v>1403-02-01</c:v>
                </c:pt>
                <c:pt idx="496">
                  <c:v>1403-02-02</c:v>
                </c:pt>
                <c:pt idx="497">
                  <c:v>1403-02-03</c:v>
                </c:pt>
                <c:pt idx="498">
                  <c:v>1403-02-04</c:v>
                </c:pt>
                <c:pt idx="499">
                  <c:v>1403-02-05</c:v>
                </c:pt>
                <c:pt idx="500">
                  <c:v>1403-02-08</c:v>
                </c:pt>
                <c:pt idx="501">
                  <c:v>1403-02-09</c:v>
                </c:pt>
                <c:pt idx="502">
                  <c:v>1403-02-10</c:v>
                </c:pt>
                <c:pt idx="503">
                  <c:v>1403-02-11</c:v>
                </c:pt>
                <c:pt idx="504">
                  <c:v>1403-02-12</c:v>
                </c:pt>
                <c:pt idx="505">
                  <c:v>1403-02-16</c:v>
                </c:pt>
                <c:pt idx="506">
                  <c:v>1403-02-17</c:v>
                </c:pt>
                <c:pt idx="507">
                  <c:v>1403-02-18</c:v>
                </c:pt>
                <c:pt idx="508">
                  <c:v>1403-02-19</c:v>
                </c:pt>
                <c:pt idx="509">
                  <c:v>1403-02-22</c:v>
                </c:pt>
                <c:pt idx="510">
                  <c:v>1403-02-23</c:v>
                </c:pt>
                <c:pt idx="511">
                  <c:v>1403-02-24</c:v>
                </c:pt>
                <c:pt idx="512">
                  <c:v>1403-02-25</c:v>
                </c:pt>
                <c:pt idx="513">
                  <c:v>1403-02-26</c:v>
                </c:pt>
                <c:pt idx="514">
                  <c:v>1403-02-29</c:v>
                </c:pt>
                <c:pt idx="515">
                  <c:v>1403-02-30</c:v>
                </c:pt>
                <c:pt idx="516">
                  <c:v>1403-03-01</c:v>
                </c:pt>
                <c:pt idx="517">
                  <c:v>1403-03-05</c:v>
                </c:pt>
                <c:pt idx="518">
                  <c:v>1403-03-06</c:v>
                </c:pt>
                <c:pt idx="519">
                  <c:v>1403-03-07</c:v>
                </c:pt>
                <c:pt idx="520">
                  <c:v>1403-03-08</c:v>
                </c:pt>
                <c:pt idx="521">
                  <c:v>1403-03-09</c:v>
                </c:pt>
                <c:pt idx="522">
                  <c:v>1403-03-12</c:v>
                </c:pt>
                <c:pt idx="523">
                  <c:v>1403-03-13</c:v>
                </c:pt>
                <c:pt idx="524">
                  <c:v>1403-03-16</c:v>
                </c:pt>
                <c:pt idx="525">
                  <c:v>1403-03-19</c:v>
                </c:pt>
                <c:pt idx="526">
                  <c:v>1403-03-20</c:v>
                </c:pt>
                <c:pt idx="527">
                  <c:v>1403-03-21</c:v>
                </c:pt>
                <c:pt idx="528">
                  <c:v>1403-03-22</c:v>
                </c:pt>
                <c:pt idx="529">
                  <c:v>1403-03-23</c:v>
                </c:pt>
                <c:pt idx="530">
                  <c:v>1403-03-26</c:v>
                </c:pt>
                <c:pt idx="531">
                  <c:v>1403-03-27</c:v>
                </c:pt>
                <c:pt idx="532">
                  <c:v>1403-03-29</c:v>
                </c:pt>
                <c:pt idx="533">
                  <c:v>1403-03-30</c:v>
                </c:pt>
                <c:pt idx="534">
                  <c:v>1403-04-02</c:v>
                </c:pt>
                <c:pt idx="535">
                  <c:v>1403-04-03</c:v>
                </c:pt>
                <c:pt idx="536">
                  <c:v>1403-04-04</c:v>
                </c:pt>
                <c:pt idx="537">
                  <c:v>1403-04-06</c:v>
                </c:pt>
                <c:pt idx="538">
                  <c:v>1403-04-09</c:v>
                </c:pt>
                <c:pt idx="539">
                  <c:v>1403-04-10</c:v>
                </c:pt>
                <c:pt idx="540">
                  <c:v>1403-04-11</c:v>
                </c:pt>
                <c:pt idx="541">
                  <c:v>1403-04-12</c:v>
                </c:pt>
                <c:pt idx="542">
                  <c:v>1403-04-13</c:v>
                </c:pt>
                <c:pt idx="543">
                  <c:v>1403-04-16</c:v>
                </c:pt>
                <c:pt idx="544">
                  <c:v>1403-04-17</c:v>
                </c:pt>
                <c:pt idx="545">
                  <c:v>1403-04-18</c:v>
                </c:pt>
                <c:pt idx="546">
                  <c:v>1403-04-19</c:v>
                </c:pt>
                <c:pt idx="547">
                  <c:v>1403-04-20</c:v>
                </c:pt>
                <c:pt idx="548">
                  <c:v>1403-04-23</c:v>
                </c:pt>
                <c:pt idx="549">
                  <c:v>1403-04-24</c:v>
                </c:pt>
                <c:pt idx="550">
                  <c:v>1403-04-27</c:v>
                </c:pt>
                <c:pt idx="551">
                  <c:v>1403-04-30</c:v>
                </c:pt>
                <c:pt idx="552">
                  <c:v>1403-04-31</c:v>
                </c:pt>
                <c:pt idx="553">
                  <c:v>1403-05-01</c:v>
                </c:pt>
                <c:pt idx="554">
                  <c:v>1403-05-02</c:v>
                </c:pt>
                <c:pt idx="555">
                  <c:v>1403-05-03</c:v>
                </c:pt>
                <c:pt idx="556">
                  <c:v>1403-05-06</c:v>
                </c:pt>
                <c:pt idx="557">
                  <c:v>1403-05-08</c:v>
                </c:pt>
                <c:pt idx="558">
                  <c:v>1403-05-09</c:v>
                </c:pt>
                <c:pt idx="559">
                  <c:v>1403-05-10</c:v>
                </c:pt>
                <c:pt idx="560">
                  <c:v>1403-05-13</c:v>
                </c:pt>
                <c:pt idx="561">
                  <c:v>1403-05-14</c:v>
                </c:pt>
                <c:pt idx="562">
                  <c:v>1403-05-15</c:v>
                </c:pt>
                <c:pt idx="563">
                  <c:v>1403-05-16</c:v>
                </c:pt>
                <c:pt idx="564">
                  <c:v>1403-05-20</c:v>
                </c:pt>
                <c:pt idx="565">
                  <c:v>1403-05-21</c:v>
                </c:pt>
                <c:pt idx="566">
                  <c:v>1403-05-22</c:v>
                </c:pt>
                <c:pt idx="567">
                  <c:v>1403-05-23</c:v>
                </c:pt>
                <c:pt idx="568">
                  <c:v>1403-05-24</c:v>
                </c:pt>
                <c:pt idx="569">
                  <c:v>1403-05-27</c:v>
                </c:pt>
                <c:pt idx="570">
                  <c:v>1403-05-28</c:v>
                </c:pt>
                <c:pt idx="571">
                  <c:v>1403-05-29</c:v>
                </c:pt>
                <c:pt idx="572">
                  <c:v>1403-05-30</c:v>
                </c:pt>
                <c:pt idx="573">
                  <c:v>1403-05-31</c:v>
                </c:pt>
                <c:pt idx="574">
                  <c:v> 1403-06-03 </c:v>
                </c:pt>
                <c:pt idx="575">
                  <c:v> 1403-06-05 </c:v>
                </c:pt>
                <c:pt idx="576">
                  <c:v> 1403-06-06 </c:v>
                </c:pt>
                <c:pt idx="577">
                  <c:v> 1403-06-07 </c:v>
                </c:pt>
                <c:pt idx="578">
                  <c:v> 1403-06-10 </c:v>
                </c:pt>
                <c:pt idx="579">
                  <c:v> 1403-06-11 </c:v>
                </c:pt>
                <c:pt idx="580">
                  <c:v> 1403-06-13 </c:v>
                </c:pt>
                <c:pt idx="581">
                  <c:v> 1403-06-17 </c:v>
                </c:pt>
                <c:pt idx="582">
                  <c:v> 1403-06-18 </c:v>
                </c:pt>
                <c:pt idx="583">
                  <c:v> 1403-06-19 </c:v>
                </c:pt>
                <c:pt idx="584">
                  <c:v> 1403-06-20 </c:v>
                </c:pt>
                <c:pt idx="585">
                  <c:v> 1403-06-21 </c:v>
                </c:pt>
                <c:pt idx="586">
                  <c:v> 1403-06-24 </c:v>
                </c:pt>
                <c:pt idx="587">
                  <c:v> 1403-06-25 </c:v>
                </c:pt>
                <c:pt idx="588">
                  <c:v> 1403-06-26 </c:v>
                </c:pt>
                <c:pt idx="589">
                  <c:v> 1403-06-27 </c:v>
                </c:pt>
                <c:pt idx="590">
                  <c:v> 1403-06-28 </c:v>
                </c:pt>
                <c:pt idx="591">
                  <c:v> 1403-07-01 </c:v>
                </c:pt>
                <c:pt idx="592">
                  <c:v> 1403-07-02 </c:v>
                </c:pt>
                <c:pt idx="593">
                  <c:v> 1403-07-03 </c:v>
                </c:pt>
                <c:pt idx="594">
                  <c:v> 1403-07-04 </c:v>
                </c:pt>
                <c:pt idx="595">
                  <c:v> 1403-07-07 </c:v>
                </c:pt>
                <c:pt idx="596">
                  <c:v> 1403-07-08 </c:v>
                </c:pt>
                <c:pt idx="597">
                  <c:v> 1403-07-09 </c:v>
                </c:pt>
                <c:pt idx="598">
                  <c:v> 1403-07-10 </c:v>
                </c:pt>
                <c:pt idx="599">
                  <c:v> 1403-07-11 </c:v>
                </c:pt>
                <c:pt idx="600">
                  <c:v> 1403-07-14 </c:v>
                </c:pt>
                <c:pt idx="601">
                  <c:v> 1403-07-15 </c:v>
                </c:pt>
                <c:pt idx="602">
                  <c:v> 1403-07-16 </c:v>
                </c:pt>
                <c:pt idx="603">
                  <c:v> 1403-07-17 </c:v>
                </c:pt>
                <c:pt idx="604">
                  <c:v> 1403-07-18 </c:v>
                </c:pt>
                <c:pt idx="605">
                  <c:v> 1403-07-21 </c:v>
                </c:pt>
                <c:pt idx="606">
                  <c:v> 1403-07-22 </c:v>
                </c:pt>
                <c:pt idx="607">
                  <c:v> 1403-07-23 </c:v>
                </c:pt>
                <c:pt idx="608">
                  <c:v> 1403-07-24 </c:v>
                </c:pt>
                <c:pt idx="609">
                  <c:v> 1403-07-25 </c:v>
                </c:pt>
                <c:pt idx="610">
                  <c:v> 1403-07-28 </c:v>
                </c:pt>
                <c:pt idx="611">
                  <c:v> 1403-07-29 </c:v>
                </c:pt>
                <c:pt idx="612">
                  <c:v> 1403-07-30 </c:v>
                </c:pt>
                <c:pt idx="613">
                  <c:v> 1403-08-01 </c:v>
                </c:pt>
                <c:pt idx="614">
                  <c:v> 1403-08-02 </c:v>
                </c:pt>
                <c:pt idx="615">
                  <c:v> 1403-08-05 </c:v>
                </c:pt>
                <c:pt idx="616">
                  <c:v> 1403-08-06 </c:v>
                </c:pt>
                <c:pt idx="617">
                  <c:v> 1403-08-07 </c:v>
                </c:pt>
                <c:pt idx="618">
                  <c:v> 1403-08-08 </c:v>
                </c:pt>
                <c:pt idx="619">
                  <c:v> 1403-08-09 </c:v>
                </c:pt>
                <c:pt idx="620">
                  <c:v> 1403-08-12 </c:v>
                </c:pt>
                <c:pt idx="621">
                  <c:v> 1403-08-13 </c:v>
                </c:pt>
                <c:pt idx="622">
                  <c:v> 1403-08-14 </c:v>
                </c:pt>
                <c:pt idx="623">
                  <c:v> 1403-08-15 </c:v>
                </c:pt>
                <c:pt idx="624">
                  <c:v> 1403-08-16 </c:v>
                </c:pt>
                <c:pt idx="625">
                  <c:v> 1403-08-19 </c:v>
                </c:pt>
                <c:pt idx="626">
                  <c:v> 1403-08-20 </c:v>
                </c:pt>
                <c:pt idx="627">
                  <c:v> 1403-08-21 </c:v>
                </c:pt>
                <c:pt idx="628">
                  <c:v> 1403-08-22 </c:v>
                </c:pt>
                <c:pt idx="629">
                  <c:v> 1403-08-23 </c:v>
                </c:pt>
                <c:pt idx="630">
                  <c:v> 1403-08-26 </c:v>
                </c:pt>
                <c:pt idx="631">
                  <c:v> 1403-08-27 </c:v>
                </c:pt>
                <c:pt idx="632">
                  <c:v> 1403-08-28 </c:v>
                </c:pt>
                <c:pt idx="633">
                  <c:v> 1403-08-29 </c:v>
                </c:pt>
                <c:pt idx="634">
                  <c:v> 1403-08-30 </c:v>
                </c:pt>
                <c:pt idx="635">
                  <c:v> 1403-09-03 </c:v>
                </c:pt>
                <c:pt idx="636">
                  <c:v> 1403-09-04 </c:v>
                </c:pt>
                <c:pt idx="637">
                  <c:v> 1403-09-05 </c:v>
                </c:pt>
                <c:pt idx="638">
                  <c:v> 1403-09-06 </c:v>
                </c:pt>
                <c:pt idx="639">
                  <c:v> 1403-09-07 </c:v>
                </c:pt>
                <c:pt idx="640">
                  <c:v> 1403-09-10 </c:v>
                </c:pt>
                <c:pt idx="641">
                  <c:v> 1403-09-11 </c:v>
                </c:pt>
                <c:pt idx="642">
                  <c:v> 1403-09-12 </c:v>
                </c:pt>
                <c:pt idx="643">
                  <c:v> 1403-09-13 </c:v>
                </c:pt>
                <c:pt idx="644">
                  <c:v> 1403-09-14 </c:v>
                </c:pt>
                <c:pt idx="645">
                  <c:v> 1403-09-17 </c:v>
                </c:pt>
                <c:pt idx="646">
                  <c:v> 1403-09-18 </c:v>
                </c:pt>
                <c:pt idx="647">
                  <c:v> 1403-09-19 </c:v>
                </c:pt>
                <c:pt idx="648">
                  <c:v> 1403-09-20 </c:v>
                </c:pt>
                <c:pt idx="649">
                  <c:v> 1403-09-21 </c:v>
                </c:pt>
                <c:pt idx="650">
                  <c:v> 1403-09-24 </c:v>
                </c:pt>
                <c:pt idx="651">
                  <c:v> 1403-09-25 </c:v>
                </c:pt>
                <c:pt idx="652">
                  <c:v> 1403-09-26 </c:v>
                </c:pt>
                <c:pt idx="653">
                  <c:v> 1403-09-27 </c:v>
                </c:pt>
                <c:pt idx="654">
                  <c:v> 1403-09-28 </c:v>
                </c:pt>
                <c:pt idx="655">
                  <c:v> 1403-10-01 </c:v>
                </c:pt>
                <c:pt idx="656">
                  <c:v> 1403-10-02 </c:v>
                </c:pt>
                <c:pt idx="657">
                  <c:v> 1403-10-03 </c:v>
                </c:pt>
                <c:pt idx="658">
                  <c:v> 1403-10-04 </c:v>
                </c:pt>
                <c:pt idx="659">
                  <c:v> 1403-10-05 </c:v>
                </c:pt>
                <c:pt idx="660">
                  <c:v> 1403-10-08 </c:v>
                </c:pt>
                <c:pt idx="661">
                  <c:v> 1403-10-09 </c:v>
                </c:pt>
                <c:pt idx="662">
                  <c:v> 1403-10-10 </c:v>
                </c:pt>
                <c:pt idx="663">
                  <c:v> 1403-10-11 </c:v>
                </c:pt>
                <c:pt idx="664">
                  <c:v> 1403-10-12 </c:v>
                </c:pt>
                <c:pt idx="665">
                  <c:v> 1403-10-15 </c:v>
                </c:pt>
                <c:pt idx="666">
                  <c:v> 1403-10-16 </c:v>
                </c:pt>
                <c:pt idx="667">
                  <c:v> 1403-10-17 </c:v>
                </c:pt>
                <c:pt idx="668">
                  <c:v> 1403-10-18 </c:v>
                </c:pt>
                <c:pt idx="669">
                  <c:v> 1403-10-19 </c:v>
                </c:pt>
                <c:pt idx="670">
                  <c:v> 1403-10-22 </c:v>
                </c:pt>
                <c:pt idx="671">
                  <c:v> 1403-10-23 </c:v>
                </c:pt>
                <c:pt idx="672">
                  <c:v> 1403-10-24 </c:v>
                </c:pt>
                <c:pt idx="673">
                  <c:v> 1403-10-26 </c:v>
                </c:pt>
                <c:pt idx="674">
                  <c:v> 1403-10-29 </c:v>
                </c:pt>
                <c:pt idx="675">
                  <c:v> 1403-10-30 </c:v>
                </c:pt>
                <c:pt idx="676">
                  <c:v> 1403-11-01 </c:v>
                </c:pt>
                <c:pt idx="677">
                  <c:v> 1403-11-02 </c:v>
                </c:pt>
                <c:pt idx="678">
                  <c:v> 1403-11-03 </c:v>
                </c:pt>
                <c:pt idx="679">
                  <c:v> 1403-11-06 </c:v>
                </c:pt>
                <c:pt idx="680">
                  <c:v> 1403-11-07 </c:v>
                </c:pt>
                <c:pt idx="681">
                  <c:v> 1403-11-08 </c:v>
                </c:pt>
                <c:pt idx="682">
                  <c:v> 1403-11-10 </c:v>
                </c:pt>
                <c:pt idx="683">
                  <c:v> 1403-11-13 </c:v>
                </c:pt>
                <c:pt idx="684">
                  <c:v> 1403-11-14 </c:v>
                </c:pt>
                <c:pt idx="685">
                  <c:v> 1403-11-15 </c:v>
                </c:pt>
                <c:pt idx="686">
                  <c:v> 1403-11-16 </c:v>
                </c:pt>
                <c:pt idx="687">
                  <c:v> 1403-11-17 </c:v>
                </c:pt>
                <c:pt idx="688">
                  <c:v> 1403-11-21 </c:v>
                </c:pt>
                <c:pt idx="689">
                  <c:v> 1403-11-23 </c:v>
                </c:pt>
                <c:pt idx="690">
                  <c:v> 1403-11-27 </c:v>
                </c:pt>
                <c:pt idx="691">
                  <c:v> 1403-11-28 </c:v>
                </c:pt>
                <c:pt idx="692">
                  <c:v> 1403-11-29 </c:v>
                </c:pt>
                <c:pt idx="693">
                  <c:v> 1403-11-30 </c:v>
                </c:pt>
                <c:pt idx="694">
                  <c:v> 1403-12-01 </c:v>
                </c:pt>
                <c:pt idx="695">
                  <c:v> 1403-12-04 </c:v>
                </c:pt>
                <c:pt idx="696">
                  <c:v> 1403-12-05 </c:v>
                </c:pt>
                <c:pt idx="697">
                  <c:v> 1403-12-06 </c:v>
                </c:pt>
                <c:pt idx="698">
                  <c:v> 1403-12-07 </c:v>
                </c:pt>
                <c:pt idx="699">
                  <c:v> 1403-12-08 </c:v>
                </c:pt>
                <c:pt idx="700">
                  <c:v> 1403-12-11 </c:v>
                </c:pt>
                <c:pt idx="701">
                  <c:v> 1403-12-12 </c:v>
                </c:pt>
                <c:pt idx="702">
                  <c:v> 1403-12-13 </c:v>
                </c:pt>
                <c:pt idx="703">
                  <c:v> 1403-12-14 </c:v>
                </c:pt>
                <c:pt idx="704">
                  <c:v> 1403-12-15 </c:v>
                </c:pt>
                <c:pt idx="705">
                  <c:v> 1403-12-18 </c:v>
                </c:pt>
                <c:pt idx="706">
                  <c:v> 1403-12-19 </c:v>
                </c:pt>
                <c:pt idx="707">
                  <c:v> 1403-12-20 </c:v>
                </c:pt>
                <c:pt idx="708">
                  <c:v> 1403-12-21 </c:v>
                </c:pt>
                <c:pt idx="709">
                  <c:v> 1403-12-22 </c:v>
                </c:pt>
              </c:strCache>
            </c:strRef>
          </c:cat>
          <c:val>
            <c:numRef>
              <c:f>'  بورس ایران-ارزش معاملات سهام '!$C$2:$C$711</c:f>
              <c:numCache>
                <c:formatCode>_(* #,##0_);_(* \(#,##0\);_(* "-"??_);_(@_)</c:formatCode>
                <c:ptCount val="710"/>
                <c:pt idx="0">
                  <c:v>60530869.172258981</c:v>
                </c:pt>
                <c:pt idx="1">
                  <c:v>60530869.172258981</c:v>
                </c:pt>
                <c:pt idx="2">
                  <c:v>60530869.172258981</c:v>
                </c:pt>
                <c:pt idx="3">
                  <c:v>60530869.172258981</c:v>
                </c:pt>
                <c:pt idx="4">
                  <c:v>60530869.172258981</c:v>
                </c:pt>
                <c:pt idx="5">
                  <c:v>60530869.172258981</c:v>
                </c:pt>
                <c:pt idx="6">
                  <c:v>60530869.172258981</c:v>
                </c:pt>
                <c:pt idx="7">
                  <c:v>60530869.172258981</c:v>
                </c:pt>
                <c:pt idx="8">
                  <c:v>60530869.172258981</c:v>
                </c:pt>
                <c:pt idx="9">
                  <c:v>60530869.172258981</c:v>
                </c:pt>
                <c:pt idx="10">
                  <c:v>60530869.172258981</c:v>
                </c:pt>
                <c:pt idx="11">
                  <c:v>60530869.172258981</c:v>
                </c:pt>
                <c:pt idx="12">
                  <c:v>60530869.172258981</c:v>
                </c:pt>
                <c:pt idx="13">
                  <c:v>60530869.172258981</c:v>
                </c:pt>
                <c:pt idx="14">
                  <c:v>60530869.172258981</c:v>
                </c:pt>
                <c:pt idx="15">
                  <c:v>60530869.172258981</c:v>
                </c:pt>
                <c:pt idx="16">
                  <c:v>60530869.172258981</c:v>
                </c:pt>
                <c:pt idx="17">
                  <c:v>60530869.172258981</c:v>
                </c:pt>
                <c:pt idx="18">
                  <c:v>60530869.172258981</c:v>
                </c:pt>
                <c:pt idx="19">
                  <c:v>60530869.172258981</c:v>
                </c:pt>
                <c:pt idx="20">
                  <c:v>60530869.172258981</c:v>
                </c:pt>
                <c:pt idx="21">
                  <c:v>60530869.172258981</c:v>
                </c:pt>
                <c:pt idx="22">
                  <c:v>60530869.172258981</c:v>
                </c:pt>
                <c:pt idx="23">
                  <c:v>60530869.172258981</c:v>
                </c:pt>
                <c:pt idx="24">
                  <c:v>60530869.172258981</c:v>
                </c:pt>
                <c:pt idx="25">
                  <c:v>60530869.172258981</c:v>
                </c:pt>
                <c:pt idx="26">
                  <c:v>60530869.172258981</c:v>
                </c:pt>
                <c:pt idx="27">
                  <c:v>60530869.172258981</c:v>
                </c:pt>
                <c:pt idx="28">
                  <c:v>60530869.172258981</c:v>
                </c:pt>
                <c:pt idx="29">
                  <c:v>60530869.172258981</c:v>
                </c:pt>
                <c:pt idx="30">
                  <c:v>60530869.172258981</c:v>
                </c:pt>
                <c:pt idx="31">
                  <c:v>60530869.172258981</c:v>
                </c:pt>
                <c:pt idx="32">
                  <c:v>60530869.172258981</c:v>
                </c:pt>
                <c:pt idx="33">
                  <c:v>60530869.172258981</c:v>
                </c:pt>
                <c:pt idx="34">
                  <c:v>60530869.172258981</c:v>
                </c:pt>
                <c:pt idx="35">
                  <c:v>60530869.172258981</c:v>
                </c:pt>
                <c:pt idx="36">
                  <c:v>60530869.172258981</c:v>
                </c:pt>
                <c:pt idx="37">
                  <c:v>60530869.172258981</c:v>
                </c:pt>
                <c:pt idx="38">
                  <c:v>60530869.172258981</c:v>
                </c:pt>
                <c:pt idx="39">
                  <c:v>60530869.172258981</c:v>
                </c:pt>
                <c:pt idx="40">
                  <c:v>60530869.172258981</c:v>
                </c:pt>
                <c:pt idx="41">
                  <c:v>60530869.172258981</c:v>
                </c:pt>
                <c:pt idx="42">
                  <c:v>60530869.172258981</c:v>
                </c:pt>
                <c:pt idx="43">
                  <c:v>60530869.172258981</c:v>
                </c:pt>
                <c:pt idx="44">
                  <c:v>60530869.172258981</c:v>
                </c:pt>
                <c:pt idx="45">
                  <c:v>60530869.172258981</c:v>
                </c:pt>
                <c:pt idx="46">
                  <c:v>60530869.172258981</c:v>
                </c:pt>
                <c:pt idx="47">
                  <c:v>60530869.172258981</c:v>
                </c:pt>
                <c:pt idx="48">
                  <c:v>60530869.172258981</c:v>
                </c:pt>
                <c:pt idx="49">
                  <c:v>60530869.172258981</c:v>
                </c:pt>
                <c:pt idx="50">
                  <c:v>60530869.172258981</c:v>
                </c:pt>
                <c:pt idx="51">
                  <c:v>60530869.172258981</c:v>
                </c:pt>
                <c:pt idx="52">
                  <c:v>60530869.172258981</c:v>
                </c:pt>
                <c:pt idx="53">
                  <c:v>60530869.172258981</c:v>
                </c:pt>
                <c:pt idx="54">
                  <c:v>60530869.172258981</c:v>
                </c:pt>
                <c:pt idx="55">
                  <c:v>60530869.172258981</c:v>
                </c:pt>
                <c:pt idx="56">
                  <c:v>60530869.172258981</c:v>
                </c:pt>
                <c:pt idx="57">
                  <c:v>60530869.172258981</c:v>
                </c:pt>
                <c:pt idx="58">
                  <c:v>60530869.172258981</c:v>
                </c:pt>
                <c:pt idx="59">
                  <c:v>60530869.172258981</c:v>
                </c:pt>
                <c:pt idx="60">
                  <c:v>60530869.172258981</c:v>
                </c:pt>
                <c:pt idx="61">
                  <c:v>60530869.172258981</c:v>
                </c:pt>
                <c:pt idx="62">
                  <c:v>60530869.172258981</c:v>
                </c:pt>
                <c:pt idx="63">
                  <c:v>60530869.172258981</c:v>
                </c:pt>
                <c:pt idx="64">
                  <c:v>60530869.172258981</c:v>
                </c:pt>
                <c:pt idx="65">
                  <c:v>60530869.172258981</c:v>
                </c:pt>
                <c:pt idx="66">
                  <c:v>60530869.172258981</c:v>
                </c:pt>
                <c:pt idx="67">
                  <c:v>60530869.172258981</c:v>
                </c:pt>
                <c:pt idx="68">
                  <c:v>60530869.172258981</c:v>
                </c:pt>
                <c:pt idx="69">
                  <c:v>60530869.172258981</c:v>
                </c:pt>
                <c:pt idx="70">
                  <c:v>60530869.172258981</c:v>
                </c:pt>
                <c:pt idx="71">
                  <c:v>60530869.172258981</c:v>
                </c:pt>
                <c:pt idx="72">
                  <c:v>60530869.172258981</c:v>
                </c:pt>
                <c:pt idx="73">
                  <c:v>60530869.172258981</c:v>
                </c:pt>
                <c:pt idx="74">
                  <c:v>60530869.172258981</c:v>
                </c:pt>
                <c:pt idx="75">
                  <c:v>60530869.172258981</c:v>
                </c:pt>
                <c:pt idx="76">
                  <c:v>60530869.172258981</c:v>
                </c:pt>
                <c:pt idx="77">
                  <c:v>60530869.172258981</c:v>
                </c:pt>
                <c:pt idx="78">
                  <c:v>60530869.172258981</c:v>
                </c:pt>
                <c:pt idx="79">
                  <c:v>60530869.172258981</c:v>
                </c:pt>
                <c:pt idx="80">
                  <c:v>60530869.172258981</c:v>
                </c:pt>
                <c:pt idx="81">
                  <c:v>60530869.172258981</c:v>
                </c:pt>
                <c:pt idx="82">
                  <c:v>60530869.172258981</c:v>
                </c:pt>
                <c:pt idx="83">
                  <c:v>60530869.172258981</c:v>
                </c:pt>
                <c:pt idx="84">
                  <c:v>60530869.172258981</c:v>
                </c:pt>
                <c:pt idx="85">
                  <c:v>60530869.172258981</c:v>
                </c:pt>
                <c:pt idx="86">
                  <c:v>60530869.172258981</c:v>
                </c:pt>
                <c:pt idx="87">
                  <c:v>60530869.172258981</c:v>
                </c:pt>
                <c:pt idx="88">
                  <c:v>60530869.172258981</c:v>
                </c:pt>
                <c:pt idx="89">
                  <c:v>60530869.172258981</c:v>
                </c:pt>
                <c:pt idx="90">
                  <c:v>60530869.172258981</c:v>
                </c:pt>
                <c:pt idx="91">
                  <c:v>60530869.172258981</c:v>
                </c:pt>
                <c:pt idx="92">
                  <c:v>60530869.172258981</c:v>
                </c:pt>
                <c:pt idx="93">
                  <c:v>60530869.172258981</c:v>
                </c:pt>
                <c:pt idx="94">
                  <c:v>60530869.172258981</c:v>
                </c:pt>
                <c:pt idx="95">
                  <c:v>60530869.172258981</c:v>
                </c:pt>
                <c:pt idx="96">
                  <c:v>60530869.172258981</c:v>
                </c:pt>
                <c:pt idx="97">
                  <c:v>60530869.172258981</c:v>
                </c:pt>
                <c:pt idx="98">
                  <c:v>60530869.172258981</c:v>
                </c:pt>
                <c:pt idx="99">
                  <c:v>60530869.172258981</c:v>
                </c:pt>
                <c:pt idx="100">
                  <c:v>60530869.172258981</c:v>
                </c:pt>
                <c:pt idx="101">
                  <c:v>60530869.172258981</c:v>
                </c:pt>
                <c:pt idx="102">
                  <c:v>60530869.172258981</c:v>
                </c:pt>
                <c:pt idx="103">
                  <c:v>60530869.172258981</c:v>
                </c:pt>
                <c:pt idx="104">
                  <c:v>60530869.172258981</c:v>
                </c:pt>
                <c:pt idx="105">
                  <c:v>60530869.172258981</c:v>
                </c:pt>
                <c:pt idx="106">
                  <c:v>60530869.172258981</c:v>
                </c:pt>
                <c:pt idx="107">
                  <c:v>60530869.172258981</c:v>
                </c:pt>
                <c:pt idx="108">
                  <c:v>60530869.172258981</c:v>
                </c:pt>
                <c:pt idx="109">
                  <c:v>60530869.172258981</c:v>
                </c:pt>
                <c:pt idx="110">
                  <c:v>60530869.172258981</c:v>
                </c:pt>
                <c:pt idx="111">
                  <c:v>60530869.172258981</c:v>
                </c:pt>
                <c:pt idx="112">
                  <c:v>60530869.172258981</c:v>
                </c:pt>
                <c:pt idx="113">
                  <c:v>60530869.172258981</c:v>
                </c:pt>
                <c:pt idx="114">
                  <c:v>60530869.172258981</c:v>
                </c:pt>
                <c:pt idx="115">
                  <c:v>60530869.172258981</c:v>
                </c:pt>
                <c:pt idx="116">
                  <c:v>60530869.172258981</c:v>
                </c:pt>
                <c:pt idx="117">
                  <c:v>60530869.172258981</c:v>
                </c:pt>
                <c:pt idx="118">
                  <c:v>60530869.172258981</c:v>
                </c:pt>
                <c:pt idx="119">
                  <c:v>60530869.172258981</c:v>
                </c:pt>
                <c:pt idx="120">
                  <c:v>60530869.172258981</c:v>
                </c:pt>
                <c:pt idx="121">
                  <c:v>60530869.172258981</c:v>
                </c:pt>
                <c:pt idx="122">
                  <c:v>60530869.172258981</c:v>
                </c:pt>
                <c:pt idx="123">
                  <c:v>60530869.172258981</c:v>
                </c:pt>
                <c:pt idx="124">
                  <c:v>60530869.172258981</c:v>
                </c:pt>
                <c:pt idx="125">
                  <c:v>60530869.172258981</c:v>
                </c:pt>
                <c:pt idx="126">
                  <c:v>60530869.172258981</c:v>
                </c:pt>
                <c:pt idx="127">
                  <c:v>60530869.172258981</c:v>
                </c:pt>
                <c:pt idx="128">
                  <c:v>60530869.172258981</c:v>
                </c:pt>
                <c:pt idx="129">
                  <c:v>60530869.172258981</c:v>
                </c:pt>
                <c:pt idx="130">
                  <c:v>60530869.172258981</c:v>
                </c:pt>
                <c:pt idx="131">
                  <c:v>60530869.172258981</c:v>
                </c:pt>
                <c:pt idx="132">
                  <c:v>60530869.172258981</c:v>
                </c:pt>
                <c:pt idx="133">
                  <c:v>60530869.172258981</c:v>
                </c:pt>
                <c:pt idx="134">
                  <c:v>60530869.172258981</c:v>
                </c:pt>
                <c:pt idx="135">
                  <c:v>60530869.172258981</c:v>
                </c:pt>
                <c:pt idx="136">
                  <c:v>60530869.172258981</c:v>
                </c:pt>
                <c:pt idx="137">
                  <c:v>60530869.172258981</c:v>
                </c:pt>
                <c:pt idx="138">
                  <c:v>60530869.172258981</c:v>
                </c:pt>
                <c:pt idx="139">
                  <c:v>60530869.172258981</c:v>
                </c:pt>
                <c:pt idx="140">
                  <c:v>60530869.172258981</c:v>
                </c:pt>
                <c:pt idx="141">
                  <c:v>60530869.172258981</c:v>
                </c:pt>
                <c:pt idx="142">
                  <c:v>60530869.172258981</c:v>
                </c:pt>
                <c:pt idx="143">
                  <c:v>60530869.172258981</c:v>
                </c:pt>
                <c:pt idx="144">
                  <c:v>60530869.172258981</c:v>
                </c:pt>
                <c:pt idx="145">
                  <c:v>60530869.172258981</c:v>
                </c:pt>
                <c:pt idx="146">
                  <c:v>60530869.172258981</c:v>
                </c:pt>
                <c:pt idx="147">
                  <c:v>60530869.172258981</c:v>
                </c:pt>
                <c:pt idx="148">
                  <c:v>60530869.172258981</c:v>
                </c:pt>
                <c:pt idx="149">
                  <c:v>60530869.172258981</c:v>
                </c:pt>
                <c:pt idx="150">
                  <c:v>60530869.172258981</c:v>
                </c:pt>
                <c:pt idx="151">
                  <c:v>60530869.172258981</c:v>
                </c:pt>
                <c:pt idx="152">
                  <c:v>60530869.172258981</c:v>
                </c:pt>
                <c:pt idx="153">
                  <c:v>60530869.172258981</c:v>
                </c:pt>
                <c:pt idx="154">
                  <c:v>60530869.172258981</c:v>
                </c:pt>
                <c:pt idx="155">
                  <c:v>60530869.172258981</c:v>
                </c:pt>
                <c:pt idx="156">
                  <c:v>60530869.172258981</c:v>
                </c:pt>
                <c:pt idx="157">
                  <c:v>60530869.172258981</c:v>
                </c:pt>
                <c:pt idx="158">
                  <c:v>60530869.172258981</c:v>
                </c:pt>
                <c:pt idx="159">
                  <c:v>60530869.172258981</c:v>
                </c:pt>
                <c:pt idx="160">
                  <c:v>60530869.172258981</c:v>
                </c:pt>
                <c:pt idx="161">
                  <c:v>60530869.172258981</c:v>
                </c:pt>
                <c:pt idx="162">
                  <c:v>60530869.172258981</c:v>
                </c:pt>
                <c:pt idx="163">
                  <c:v>60530869.172258981</c:v>
                </c:pt>
                <c:pt idx="164">
                  <c:v>60530869.172258981</c:v>
                </c:pt>
                <c:pt idx="165">
                  <c:v>60530869.172258981</c:v>
                </c:pt>
                <c:pt idx="166">
                  <c:v>60530869.172258981</c:v>
                </c:pt>
                <c:pt idx="167">
                  <c:v>60530869.172258981</c:v>
                </c:pt>
                <c:pt idx="168">
                  <c:v>60530869.172258981</c:v>
                </c:pt>
                <c:pt idx="169">
                  <c:v>60530869.172258981</c:v>
                </c:pt>
                <c:pt idx="170">
                  <c:v>60530869.172258981</c:v>
                </c:pt>
                <c:pt idx="171">
                  <c:v>60530869.172258981</c:v>
                </c:pt>
                <c:pt idx="172">
                  <c:v>60530869.172258981</c:v>
                </c:pt>
                <c:pt idx="173">
                  <c:v>60530869.172258981</c:v>
                </c:pt>
                <c:pt idx="174">
                  <c:v>60530869.172258981</c:v>
                </c:pt>
                <c:pt idx="175">
                  <c:v>60530869.172258981</c:v>
                </c:pt>
                <c:pt idx="176">
                  <c:v>60530869.172258981</c:v>
                </c:pt>
                <c:pt idx="177">
                  <c:v>60530869.172258981</c:v>
                </c:pt>
                <c:pt idx="178">
                  <c:v>60530869.172258981</c:v>
                </c:pt>
                <c:pt idx="179">
                  <c:v>60530869.172258981</c:v>
                </c:pt>
                <c:pt idx="180">
                  <c:v>60530869.172258981</c:v>
                </c:pt>
                <c:pt idx="181">
                  <c:v>60530869.172258981</c:v>
                </c:pt>
                <c:pt idx="182">
                  <c:v>60530869.172258981</c:v>
                </c:pt>
                <c:pt idx="183">
                  <c:v>60530869.172258981</c:v>
                </c:pt>
                <c:pt idx="184">
                  <c:v>60530869.172258981</c:v>
                </c:pt>
                <c:pt idx="185">
                  <c:v>60530869.172258981</c:v>
                </c:pt>
                <c:pt idx="186">
                  <c:v>60530869.172258981</c:v>
                </c:pt>
                <c:pt idx="187">
                  <c:v>60530869.172258981</c:v>
                </c:pt>
                <c:pt idx="188">
                  <c:v>60530869.172258981</c:v>
                </c:pt>
                <c:pt idx="189">
                  <c:v>60530869.172258981</c:v>
                </c:pt>
                <c:pt idx="190">
                  <c:v>60530869.172258981</c:v>
                </c:pt>
                <c:pt idx="191">
                  <c:v>60530869.172258981</c:v>
                </c:pt>
                <c:pt idx="192">
                  <c:v>60530869.172258981</c:v>
                </c:pt>
                <c:pt idx="193">
                  <c:v>60530869.172258981</c:v>
                </c:pt>
                <c:pt idx="194">
                  <c:v>60530869.172258981</c:v>
                </c:pt>
                <c:pt idx="195">
                  <c:v>60530869.172258981</c:v>
                </c:pt>
                <c:pt idx="196">
                  <c:v>60530869.172258981</c:v>
                </c:pt>
                <c:pt idx="197">
                  <c:v>60530869.172258981</c:v>
                </c:pt>
                <c:pt idx="198">
                  <c:v>60530869.172258981</c:v>
                </c:pt>
                <c:pt idx="199">
                  <c:v>60530869.172258981</c:v>
                </c:pt>
                <c:pt idx="200">
                  <c:v>60530869.172258981</c:v>
                </c:pt>
                <c:pt idx="201">
                  <c:v>60530869.172258981</c:v>
                </c:pt>
                <c:pt idx="202">
                  <c:v>60530869.172258981</c:v>
                </c:pt>
                <c:pt idx="203">
                  <c:v>60530869.172258981</c:v>
                </c:pt>
                <c:pt idx="204">
                  <c:v>60530869.172258981</c:v>
                </c:pt>
                <c:pt idx="205">
                  <c:v>60530869.172258981</c:v>
                </c:pt>
                <c:pt idx="206">
                  <c:v>60530869.172258981</c:v>
                </c:pt>
                <c:pt idx="207">
                  <c:v>60530869.172258981</c:v>
                </c:pt>
                <c:pt idx="208">
                  <c:v>60530869.172258981</c:v>
                </c:pt>
                <c:pt idx="209">
                  <c:v>60530869.172258981</c:v>
                </c:pt>
                <c:pt idx="210">
                  <c:v>60530869.172258981</c:v>
                </c:pt>
                <c:pt idx="211">
                  <c:v>60530869.172258981</c:v>
                </c:pt>
                <c:pt idx="212">
                  <c:v>60530869.172258981</c:v>
                </c:pt>
                <c:pt idx="213">
                  <c:v>60530869.172258981</c:v>
                </c:pt>
                <c:pt idx="214">
                  <c:v>60530869.172258981</c:v>
                </c:pt>
                <c:pt idx="215">
                  <c:v>60530869.172258981</c:v>
                </c:pt>
                <c:pt idx="216">
                  <c:v>60530869.172258981</c:v>
                </c:pt>
                <c:pt idx="217">
                  <c:v>60530869.172258981</c:v>
                </c:pt>
                <c:pt idx="218">
                  <c:v>60530869.172258981</c:v>
                </c:pt>
                <c:pt idx="219">
                  <c:v>60530869.172258981</c:v>
                </c:pt>
                <c:pt idx="220">
                  <c:v>60530869.172258981</c:v>
                </c:pt>
                <c:pt idx="221">
                  <c:v>60530869.172258981</c:v>
                </c:pt>
                <c:pt idx="222">
                  <c:v>60530869.172258981</c:v>
                </c:pt>
                <c:pt idx="223">
                  <c:v>60530869.172258981</c:v>
                </c:pt>
                <c:pt idx="224">
                  <c:v>60530869.172258981</c:v>
                </c:pt>
                <c:pt idx="225">
                  <c:v>60530869.172258981</c:v>
                </c:pt>
                <c:pt idx="226">
                  <c:v>60530869.172258981</c:v>
                </c:pt>
                <c:pt idx="227">
                  <c:v>60530869.172258981</c:v>
                </c:pt>
                <c:pt idx="228">
                  <c:v>60530869.172258981</c:v>
                </c:pt>
                <c:pt idx="229">
                  <c:v>60530869.172258981</c:v>
                </c:pt>
                <c:pt idx="230">
                  <c:v>60530869.172258981</c:v>
                </c:pt>
                <c:pt idx="231">
                  <c:v>60530869.172258981</c:v>
                </c:pt>
                <c:pt idx="232">
                  <c:v>60530869.172258981</c:v>
                </c:pt>
                <c:pt idx="233">
                  <c:v>60530869.172258981</c:v>
                </c:pt>
                <c:pt idx="234">
                  <c:v>60530869.172258981</c:v>
                </c:pt>
                <c:pt idx="235">
                  <c:v>60530869.172258981</c:v>
                </c:pt>
                <c:pt idx="236">
                  <c:v>60530869.172258981</c:v>
                </c:pt>
                <c:pt idx="237">
                  <c:v>60530869.172258981</c:v>
                </c:pt>
                <c:pt idx="238">
                  <c:v>60530869.172258981</c:v>
                </c:pt>
                <c:pt idx="239">
                  <c:v>60530869.172258981</c:v>
                </c:pt>
                <c:pt idx="240">
                  <c:v>60530869.172258981</c:v>
                </c:pt>
                <c:pt idx="241">
                  <c:v>60530869.172258981</c:v>
                </c:pt>
                <c:pt idx="242">
                  <c:v>60530869.172258981</c:v>
                </c:pt>
                <c:pt idx="243">
                  <c:v>60530869.172258981</c:v>
                </c:pt>
                <c:pt idx="244">
                  <c:v>60530869.172258981</c:v>
                </c:pt>
                <c:pt idx="245">
                  <c:v>60530869.172258981</c:v>
                </c:pt>
                <c:pt idx="246">
                  <c:v>60530869.172258981</c:v>
                </c:pt>
                <c:pt idx="247">
                  <c:v>60530869.172258981</c:v>
                </c:pt>
                <c:pt idx="248">
                  <c:v>60530869.172258981</c:v>
                </c:pt>
                <c:pt idx="249">
                  <c:v>60530869.172258981</c:v>
                </c:pt>
                <c:pt idx="250">
                  <c:v>60530869.172258981</c:v>
                </c:pt>
                <c:pt idx="251">
                  <c:v>60530869.172258981</c:v>
                </c:pt>
                <c:pt idx="252">
                  <c:v>60530869.172258981</c:v>
                </c:pt>
                <c:pt idx="253">
                  <c:v>60530869.172258981</c:v>
                </c:pt>
                <c:pt idx="254">
                  <c:v>60530869.172258981</c:v>
                </c:pt>
                <c:pt idx="255">
                  <c:v>60530869.172258981</c:v>
                </c:pt>
                <c:pt idx="256">
                  <c:v>60530869.172258981</c:v>
                </c:pt>
                <c:pt idx="257">
                  <c:v>60530869.172258981</c:v>
                </c:pt>
                <c:pt idx="258">
                  <c:v>60530869.172258981</c:v>
                </c:pt>
                <c:pt idx="259">
                  <c:v>60530869.172258981</c:v>
                </c:pt>
                <c:pt idx="260">
                  <c:v>60530869.172258981</c:v>
                </c:pt>
                <c:pt idx="261">
                  <c:v>60530869.172258981</c:v>
                </c:pt>
                <c:pt idx="262">
                  <c:v>60530869.172258981</c:v>
                </c:pt>
                <c:pt idx="263">
                  <c:v>60530869.172258981</c:v>
                </c:pt>
                <c:pt idx="264">
                  <c:v>60530869.172258981</c:v>
                </c:pt>
                <c:pt idx="265">
                  <c:v>60530869.172258981</c:v>
                </c:pt>
                <c:pt idx="266">
                  <c:v>60530869.172258981</c:v>
                </c:pt>
                <c:pt idx="267">
                  <c:v>60530869.172258981</c:v>
                </c:pt>
                <c:pt idx="268">
                  <c:v>60530869.172258981</c:v>
                </c:pt>
                <c:pt idx="269">
                  <c:v>60530869.172258981</c:v>
                </c:pt>
                <c:pt idx="270">
                  <c:v>60530869.172258981</c:v>
                </c:pt>
                <c:pt idx="271">
                  <c:v>60530869.172258981</c:v>
                </c:pt>
                <c:pt idx="272">
                  <c:v>60530869.172258981</c:v>
                </c:pt>
                <c:pt idx="273">
                  <c:v>60530869.172258981</c:v>
                </c:pt>
                <c:pt idx="274">
                  <c:v>60530869.172258981</c:v>
                </c:pt>
                <c:pt idx="275">
                  <c:v>60530869.172258981</c:v>
                </c:pt>
                <c:pt idx="276">
                  <c:v>60530869.172258981</c:v>
                </c:pt>
                <c:pt idx="277">
                  <c:v>60530869.172258981</c:v>
                </c:pt>
                <c:pt idx="278">
                  <c:v>60530869.172258981</c:v>
                </c:pt>
                <c:pt idx="279">
                  <c:v>60530869.172258981</c:v>
                </c:pt>
                <c:pt idx="280">
                  <c:v>60530869.172258981</c:v>
                </c:pt>
                <c:pt idx="281">
                  <c:v>60530869.172258981</c:v>
                </c:pt>
                <c:pt idx="282">
                  <c:v>60530869.172258981</c:v>
                </c:pt>
                <c:pt idx="283">
                  <c:v>60530869.172258981</c:v>
                </c:pt>
                <c:pt idx="284">
                  <c:v>60530869.172258981</c:v>
                </c:pt>
                <c:pt idx="285">
                  <c:v>60530869.172258981</c:v>
                </c:pt>
                <c:pt idx="286">
                  <c:v>60530869.172258981</c:v>
                </c:pt>
                <c:pt idx="287">
                  <c:v>60530869.172258981</c:v>
                </c:pt>
                <c:pt idx="288">
                  <c:v>60530869.172258981</c:v>
                </c:pt>
                <c:pt idx="289">
                  <c:v>60530869.172258981</c:v>
                </c:pt>
                <c:pt idx="290">
                  <c:v>60530869.172258981</c:v>
                </c:pt>
                <c:pt idx="291">
                  <c:v>60530869.172258981</c:v>
                </c:pt>
                <c:pt idx="292">
                  <c:v>60530869.172258981</c:v>
                </c:pt>
                <c:pt idx="293">
                  <c:v>60530869.172258981</c:v>
                </c:pt>
                <c:pt idx="294">
                  <c:v>60530869.172258981</c:v>
                </c:pt>
                <c:pt idx="295">
                  <c:v>60530869.172258981</c:v>
                </c:pt>
                <c:pt idx="296">
                  <c:v>60530869.172258981</c:v>
                </c:pt>
                <c:pt idx="297">
                  <c:v>60530869.172258981</c:v>
                </c:pt>
                <c:pt idx="298">
                  <c:v>60530869.172258981</c:v>
                </c:pt>
                <c:pt idx="299">
                  <c:v>60530869.172258981</c:v>
                </c:pt>
                <c:pt idx="300">
                  <c:v>60530869.172258981</c:v>
                </c:pt>
                <c:pt idx="301">
                  <c:v>60530869.172258981</c:v>
                </c:pt>
                <c:pt idx="302">
                  <c:v>60530869.172258981</c:v>
                </c:pt>
                <c:pt idx="303">
                  <c:v>60530869.172258981</c:v>
                </c:pt>
                <c:pt idx="304">
                  <c:v>60530869.172258981</c:v>
                </c:pt>
                <c:pt idx="305">
                  <c:v>60530869.172258981</c:v>
                </c:pt>
                <c:pt idx="306">
                  <c:v>60530869.172258981</c:v>
                </c:pt>
                <c:pt idx="307">
                  <c:v>60530869.172258981</c:v>
                </c:pt>
                <c:pt idx="308">
                  <c:v>60530869.172258981</c:v>
                </c:pt>
                <c:pt idx="309">
                  <c:v>60530869.172258981</c:v>
                </c:pt>
                <c:pt idx="310">
                  <c:v>60530869.172258981</c:v>
                </c:pt>
                <c:pt idx="311">
                  <c:v>60530869.172258981</c:v>
                </c:pt>
                <c:pt idx="312">
                  <c:v>60530869.172258981</c:v>
                </c:pt>
                <c:pt idx="313">
                  <c:v>60530869.172258981</c:v>
                </c:pt>
                <c:pt idx="314">
                  <c:v>60530869.172258981</c:v>
                </c:pt>
                <c:pt idx="315">
                  <c:v>60530869.172258981</c:v>
                </c:pt>
                <c:pt idx="316">
                  <c:v>60530869.172258981</c:v>
                </c:pt>
                <c:pt idx="317">
                  <c:v>60530869.172258981</c:v>
                </c:pt>
                <c:pt idx="318">
                  <c:v>60530869.172258981</c:v>
                </c:pt>
                <c:pt idx="319">
                  <c:v>60530869.172258981</c:v>
                </c:pt>
                <c:pt idx="320">
                  <c:v>60530869.172258981</c:v>
                </c:pt>
                <c:pt idx="321">
                  <c:v>60530869.172258981</c:v>
                </c:pt>
                <c:pt idx="322">
                  <c:v>60530869.172258981</c:v>
                </c:pt>
                <c:pt idx="323">
                  <c:v>60530869.172258981</c:v>
                </c:pt>
                <c:pt idx="324">
                  <c:v>60530869.172258981</c:v>
                </c:pt>
                <c:pt idx="325">
                  <c:v>60530869.172258981</c:v>
                </c:pt>
                <c:pt idx="326">
                  <c:v>60530869.172258981</c:v>
                </c:pt>
                <c:pt idx="327">
                  <c:v>60530869.172258981</c:v>
                </c:pt>
                <c:pt idx="328">
                  <c:v>60530869.172258981</c:v>
                </c:pt>
                <c:pt idx="329">
                  <c:v>60530869.172258981</c:v>
                </c:pt>
                <c:pt idx="330">
                  <c:v>60530869.172258981</c:v>
                </c:pt>
                <c:pt idx="331">
                  <c:v>60530869.172258981</c:v>
                </c:pt>
                <c:pt idx="332">
                  <c:v>60530869.172258981</c:v>
                </c:pt>
                <c:pt idx="333">
                  <c:v>60530869.172258981</c:v>
                </c:pt>
                <c:pt idx="334">
                  <c:v>60530869.172258981</c:v>
                </c:pt>
                <c:pt idx="335">
                  <c:v>60530869.172258981</c:v>
                </c:pt>
                <c:pt idx="336">
                  <c:v>60530869.172258981</c:v>
                </c:pt>
                <c:pt idx="337">
                  <c:v>60530869.172258981</c:v>
                </c:pt>
                <c:pt idx="338">
                  <c:v>60530869.172258981</c:v>
                </c:pt>
                <c:pt idx="339">
                  <c:v>60530869.172258981</c:v>
                </c:pt>
                <c:pt idx="340">
                  <c:v>60530869.172258981</c:v>
                </c:pt>
                <c:pt idx="341">
                  <c:v>60530869.172258981</c:v>
                </c:pt>
                <c:pt idx="342">
                  <c:v>60530869.172258981</c:v>
                </c:pt>
                <c:pt idx="343">
                  <c:v>60530869.172258981</c:v>
                </c:pt>
                <c:pt idx="344">
                  <c:v>60530869.172258981</c:v>
                </c:pt>
                <c:pt idx="345">
                  <c:v>60530869.172258981</c:v>
                </c:pt>
                <c:pt idx="346">
                  <c:v>60530869.172258981</c:v>
                </c:pt>
                <c:pt idx="347">
                  <c:v>60530869.172258981</c:v>
                </c:pt>
                <c:pt idx="348">
                  <c:v>60530869.172258981</c:v>
                </c:pt>
                <c:pt idx="349">
                  <c:v>60530869.172258981</c:v>
                </c:pt>
                <c:pt idx="350">
                  <c:v>60530869.172258981</c:v>
                </c:pt>
                <c:pt idx="351">
                  <c:v>60530869.172258981</c:v>
                </c:pt>
                <c:pt idx="352">
                  <c:v>60530869.172258981</c:v>
                </c:pt>
                <c:pt idx="353">
                  <c:v>60530869.172258981</c:v>
                </c:pt>
                <c:pt idx="354">
                  <c:v>60530869.172258981</c:v>
                </c:pt>
                <c:pt idx="355">
                  <c:v>60530869.172258981</c:v>
                </c:pt>
                <c:pt idx="356">
                  <c:v>60530869.172258981</c:v>
                </c:pt>
                <c:pt idx="357">
                  <c:v>60530869.172258981</c:v>
                </c:pt>
                <c:pt idx="358">
                  <c:v>60530869.172258981</c:v>
                </c:pt>
                <c:pt idx="359">
                  <c:v>60530869.172258981</c:v>
                </c:pt>
                <c:pt idx="360">
                  <c:v>60530869.172258981</c:v>
                </c:pt>
                <c:pt idx="361">
                  <c:v>60530869.172258981</c:v>
                </c:pt>
                <c:pt idx="362">
                  <c:v>60530869.172258981</c:v>
                </c:pt>
                <c:pt idx="363">
                  <c:v>60530869.172258981</c:v>
                </c:pt>
                <c:pt idx="364">
                  <c:v>60530869.172258981</c:v>
                </c:pt>
                <c:pt idx="365">
                  <c:v>60530869.172258981</c:v>
                </c:pt>
                <c:pt idx="366">
                  <c:v>60530869.172258981</c:v>
                </c:pt>
                <c:pt idx="367">
                  <c:v>60530869.172258981</c:v>
                </c:pt>
                <c:pt idx="368">
                  <c:v>60530869.172258981</c:v>
                </c:pt>
                <c:pt idx="369">
                  <c:v>60530869.172258981</c:v>
                </c:pt>
                <c:pt idx="370">
                  <c:v>60530869.172258981</c:v>
                </c:pt>
                <c:pt idx="371">
                  <c:v>60530869.172258981</c:v>
                </c:pt>
                <c:pt idx="372">
                  <c:v>60530869.172258981</c:v>
                </c:pt>
                <c:pt idx="373">
                  <c:v>60530869.172258981</c:v>
                </c:pt>
                <c:pt idx="374">
                  <c:v>60530869.172258981</c:v>
                </c:pt>
                <c:pt idx="375">
                  <c:v>60530869.172258981</c:v>
                </c:pt>
                <c:pt idx="376">
                  <c:v>60530869.172258981</c:v>
                </c:pt>
                <c:pt idx="377">
                  <c:v>60530869.172258981</c:v>
                </c:pt>
                <c:pt idx="378">
                  <c:v>60530869.172258981</c:v>
                </c:pt>
                <c:pt idx="379">
                  <c:v>60530869.172258981</c:v>
                </c:pt>
                <c:pt idx="380">
                  <c:v>60530869.172258981</c:v>
                </c:pt>
                <c:pt idx="381">
                  <c:v>60530869.172258981</c:v>
                </c:pt>
                <c:pt idx="382">
                  <c:v>60530869.172258981</c:v>
                </c:pt>
                <c:pt idx="383">
                  <c:v>60530869.172258981</c:v>
                </c:pt>
                <c:pt idx="384">
                  <c:v>60530869.172258981</c:v>
                </c:pt>
                <c:pt idx="385">
                  <c:v>60530869.172258981</c:v>
                </c:pt>
                <c:pt idx="386">
                  <c:v>60530869.172258981</c:v>
                </c:pt>
                <c:pt idx="387">
                  <c:v>60530869.172258981</c:v>
                </c:pt>
                <c:pt idx="388">
                  <c:v>60530869.172258981</c:v>
                </c:pt>
                <c:pt idx="389">
                  <c:v>60530869.172258981</c:v>
                </c:pt>
                <c:pt idx="390">
                  <c:v>60530869.172258981</c:v>
                </c:pt>
                <c:pt idx="391">
                  <c:v>60530869.172258981</c:v>
                </c:pt>
                <c:pt idx="392">
                  <c:v>60530869.172258981</c:v>
                </c:pt>
                <c:pt idx="393">
                  <c:v>60530869.172258981</c:v>
                </c:pt>
                <c:pt idx="394">
                  <c:v>60530869.172258981</c:v>
                </c:pt>
                <c:pt idx="395">
                  <c:v>60530869.172258981</c:v>
                </c:pt>
                <c:pt idx="396">
                  <c:v>60530869.172258981</c:v>
                </c:pt>
                <c:pt idx="397">
                  <c:v>60530869.172258981</c:v>
                </c:pt>
                <c:pt idx="398">
                  <c:v>60530869.172258981</c:v>
                </c:pt>
                <c:pt idx="399">
                  <c:v>60530869.172258981</c:v>
                </c:pt>
                <c:pt idx="400">
                  <c:v>60530869.172258981</c:v>
                </c:pt>
                <c:pt idx="401">
                  <c:v>60530869.172258981</c:v>
                </c:pt>
                <c:pt idx="402">
                  <c:v>60530869.172258981</c:v>
                </c:pt>
                <c:pt idx="403">
                  <c:v>60530869.172258981</c:v>
                </c:pt>
                <c:pt idx="404">
                  <c:v>60530869.172258981</c:v>
                </c:pt>
                <c:pt idx="405">
                  <c:v>60530869.172258981</c:v>
                </c:pt>
                <c:pt idx="406">
                  <c:v>60530869.172258981</c:v>
                </c:pt>
                <c:pt idx="407">
                  <c:v>60530869.172258981</c:v>
                </c:pt>
                <c:pt idx="408">
                  <c:v>60530869.172258981</c:v>
                </c:pt>
                <c:pt idx="409">
                  <c:v>60530869.172258981</c:v>
                </c:pt>
                <c:pt idx="410">
                  <c:v>60530869.172258981</c:v>
                </c:pt>
                <c:pt idx="411">
                  <c:v>60530869.172258981</c:v>
                </c:pt>
                <c:pt idx="412">
                  <c:v>60530869.172258981</c:v>
                </c:pt>
                <c:pt idx="413">
                  <c:v>60530869.172258981</c:v>
                </c:pt>
                <c:pt idx="414">
                  <c:v>60530869.172258981</c:v>
                </c:pt>
                <c:pt idx="415">
                  <c:v>60530869.172258981</c:v>
                </c:pt>
                <c:pt idx="416">
                  <c:v>60530869.172258981</c:v>
                </c:pt>
                <c:pt idx="417">
                  <c:v>60530869.172258981</c:v>
                </c:pt>
                <c:pt idx="418">
                  <c:v>60530869.172258981</c:v>
                </c:pt>
                <c:pt idx="419">
                  <c:v>60530869.172258981</c:v>
                </c:pt>
                <c:pt idx="420">
                  <c:v>60530869.172258981</c:v>
                </c:pt>
                <c:pt idx="421">
                  <c:v>60530869.172258981</c:v>
                </c:pt>
                <c:pt idx="422">
                  <c:v>60530869.172258981</c:v>
                </c:pt>
                <c:pt idx="423">
                  <c:v>60530869.172258981</c:v>
                </c:pt>
                <c:pt idx="424">
                  <c:v>60530869.172258981</c:v>
                </c:pt>
                <c:pt idx="425">
                  <c:v>60530869.172258981</c:v>
                </c:pt>
                <c:pt idx="426">
                  <c:v>60530869.172258981</c:v>
                </c:pt>
                <c:pt idx="427">
                  <c:v>60530869.172258981</c:v>
                </c:pt>
                <c:pt idx="428">
                  <c:v>60530869.172258981</c:v>
                </c:pt>
                <c:pt idx="429">
                  <c:v>60530869.172258981</c:v>
                </c:pt>
                <c:pt idx="430">
                  <c:v>60530869.172258981</c:v>
                </c:pt>
                <c:pt idx="431">
                  <c:v>60530869.172258981</c:v>
                </c:pt>
                <c:pt idx="432">
                  <c:v>60530869.172258981</c:v>
                </c:pt>
                <c:pt idx="433">
                  <c:v>60530869.172258981</c:v>
                </c:pt>
                <c:pt idx="434">
                  <c:v>60530869.172258981</c:v>
                </c:pt>
                <c:pt idx="435">
                  <c:v>60530869.172258981</c:v>
                </c:pt>
                <c:pt idx="436">
                  <c:v>60530869.172258981</c:v>
                </c:pt>
                <c:pt idx="437">
                  <c:v>60530869.172258981</c:v>
                </c:pt>
                <c:pt idx="438">
                  <c:v>60530869.172258981</c:v>
                </c:pt>
                <c:pt idx="439">
                  <c:v>60530869.172258981</c:v>
                </c:pt>
                <c:pt idx="440">
                  <c:v>60530869.172258981</c:v>
                </c:pt>
                <c:pt idx="441">
                  <c:v>60530869.172258981</c:v>
                </c:pt>
                <c:pt idx="442">
                  <c:v>60530869.172258981</c:v>
                </c:pt>
                <c:pt idx="443">
                  <c:v>60530869.172258981</c:v>
                </c:pt>
                <c:pt idx="444">
                  <c:v>60530869.172258981</c:v>
                </c:pt>
                <c:pt idx="445">
                  <c:v>60530869.172258981</c:v>
                </c:pt>
                <c:pt idx="446">
                  <c:v>60530869.172258981</c:v>
                </c:pt>
                <c:pt idx="447">
                  <c:v>60530869.172258981</c:v>
                </c:pt>
                <c:pt idx="448">
                  <c:v>60530869.172258981</c:v>
                </c:pt>
                <c:pt idx="449">
                  <c:v>60530869.172258981</c:v>
                </c:pt>
                <c:pt idx="450">
                  <c:v>60530869.172258981</c:v>
                </c:pt>
                <c:pt idx="451">
                  <c:v>60530869.172258981</c:v>
                </c:pt>
                <c:pt idx="452">
                  <c:v>60530869.172258981</c:v>
                </c:pt>
                <c:pt idx="453">
                  <c:v>60530869.172258981</c:v>
                </c:pt>
                <c:pt idx="454">
                  <c:v>60530869.172258981</c:v>
                </c:pt>
                <c:pt idx="455">
                  <c:v>60530869.172258981</c:v>
                </c:pt>
                <c:pt idx="456">
                  <c:v>60530869.172258981</c:v>
                </c:pt>
                <c:pt idx="457">
                  <c:v>60530869.172258981</c:v>
                </c:pt>
                <c:pt idx="458">
                  <c:v>60530869.172258981</c:v>
                </c:pt>
                <c:pt idx="459">
                  <c:v>60530869.172258981</c:v>
                </c:pt>
                <c:pt idx="460">
                  <c:v>60530869.172258981</c:v>
                </c:pt>
                <c:pt idx="461">
                  <c:v>60530869.172258981</c:v>
                </c:pt>
                <c:pt idx="462">
                  <c:v>60530869.172258981</c:v>
                </c:pt>
                <c:pt idx="463">
                  <c:v>60530869.172258981</c:v>
                </c:pt>
                <c:pt idx="464">
                  <c:v>60530869.172258981</c:v>
                </c:pt>
                <c:pt idx="465">
                  <c:v>60530869.172258981</c:v>
                </c:pt>
                <c:pt idx="466">
                  <c:v>60530869.172258981</c:v>
                </c:pt>
                <c:pt idx="467">
                  <c:v>60530869.172258981</c:v>
                </c:pt>
                <c:pt idx="468">
                  <c:v>60530869.172258981</c:v>
                </c:pt>
                <c:pt idx="469">
                  <c:v>60530869.172258981</c:v>
                </c:pt>
                <c:pt idx="470">
                  <c:v>60530869.172258981</c:v>
                </c:pt>
                <c:pt idx="471">
                  <c:v>60530869.172258981</c:v>
                </c:pt>
                <c:pt idx="472">
                  <c:v>60530869.172258981</c:v>
                </c:pt>
                <c:pt idx="473">
                  <c:v>60530869.172258981</c:v>
                </c:pt>
                <c:pt idx="474">
                  <c:v>60530869.172258981</c:v>
                </c:pt>
                <c:pt idx="475">
                  <c:v>60530869.172258981</c:v>
                </c:pt>
                <c:pt idx="476">
                  <c:v>60530869.172258981</c:v>
                </c:pt>
                <c:pt idx="477">
                  <c:v>60530869.172258981</c:v>
                </c:pt>
                <c:pt idx="478">
                  <c:v>60530869.172258981</c:v>
                </c:pt>
                <c:pt idx="479">
                  <c:v>60530869.172258981</c:v>
                </c:pt>
                <c:pt idx="480">
                  <c:v>60530869.172258981</c:v>
                </c:pt>
                <c:pt idx="481">
                  <c:v>60530869.172258981</c:v>
                </c:pt>
                <c:pt idx="482">
                  <c:v>60530869.172258981</c:v>
                </c:pt>
                <c:pt idx="483">
                  <c:v>60530869.172258981</c:v>
                </c:pt>
                <c:pt idx="484">
                  <c:v>60530869.172258981</c:v>
                </c:pt>
                <c:pt idx="485">
                  <c:v>60530869.172258981</c:v>
                </c:pt>
                <c:pt idx="486">
                  <c:v>60530869.172258981</c:v>
                </c:pt>
                <c:pt idx="487">
                  <c:v>60530869.172258981</c:v>
                </c:pt>
                <c:pt idx="488">
                  <c:v>60530869.172258981</c:v>
                </c:pt>
                <c:pt idx="489">
                  <c:v>60530869.172258981</c:v>
                </c:pt>
                <c:pt idx="490">
                  <c:v>60530869.172258981</c:v>
                </c:pt>
                <c:pt idx="491">
                  <c:v>60530869.172258981</c:v>
                </c:pt>
                <c:pt idx="492">
                  <c:v>60530869.172258981</c:v>
                </c:pt>
                <c:pt idx="493">
                  <c:v>60530869.172258981</c:v>
                </c:pt>
                <c:pt idx="494">
                  <c:v>60530869.172258981</c:v>
                </c:pt>
                <c:pt idx="495">
                  <c:v>60530869.172258981</c:v>
                </c:pt>
                <c:pt idx="496">
                  <c:v>60530869.172258981</c:v>
                </c:pt>
                <c:pt idx="497">
                  <c:v>60530869.172258981</c:v>
                </c:pt>
                <c:pt idx="498">
                  <c:v>60530869.172258981</c:v>
                </c:pt>
                <c:pt idx="499">
                  <c:v>60530869.172258981</c:v>
                </c:pt>
                <c:pt idx="500">
                  <c:v>60530869.172258981</c:v>
                </c:pt>
                <c:pt idx="501">
                  <c:v>60530869.172258981</c:v>
                </c:pt>
                <c:pt idx="502">
                  <c:v>60530869.172258981</c:v>
                </c:pt>
                <c:pt idx="503">
                  <c:v>60530869.172258981</c:v>
                </c:pt>
                <c:pt idx="504">
                  <c:v>60530869.172258981</c:v>
                </c:pt>
                <c:pt idx="505">
                  <c:v>60530869.172258981</c:v>
                </c:pt>
                <c:pt idx="506">
                  <c:v>60530869.172258981</c:v>
                </c:pt>
                <c:pt idx="507">
                  <c:v>60530869.172258981</c:v>
                </c:pt>
                <c:pt idx="508">
                  <c:v>60530869.172258981</c:v>
                </c:pt>
                <c:pt idx="509">
                  <c:v>60530869.172258981</c:v>
                </c:pt>
                <c:pt idx="510">
                  <c:v>60530869.172258981</c:v>
                </c:pt>
                <c:pt idx="511">
                  <c:v>60530869.172258981</c:v>
                </c:pt>
                <c:pt idx="512">
                  <c:v>60530869.172258981</c:v>
                </c:pt>
                <c:pt idx="513">
                  <c:v>60530869.172258981</c:v>
                </c:pt>
                <c:pt idx="514">
                  <c:v>60530869.172258981</c:v>
                </c:pt>
                <c:pt idx="515">
                  <c:v>60530869.172258981</c:v>
                </c:pt>
                <c:pt idx="516">
                  <c:v>60530869.172258981</c:v>
                </c:pt>
                <c:pt idx="517">
                  <c:v>60530869.172258981</c:v>
                </c:pt>
                <c:pt idx="518">
                  <c:v>60530869.172258981</c:v>
                </c:pt>
                <c:pt idx="519">
                  <c:v>60530869.172258981</c:v>
                </c:pt>
                <c:pt idx="520">
                  <c:v>60530869.172258981</c:v>
                </c:pt>
                <c:pt idx="521">
                  <c:v>60530869.172258981</c:v>
                </c:pt>
                <c:pt idx="522">
                  <c:v>60530869.172258981</c:v>
                </c:pt>
                <c:pt idx="523">
                  <c:v>60530869.172258981</c:v>
                </c:pt>
                <c:pt idx="524">
                  <c:v>60530869.172258981</c:v>
                </c:pt>
                <c:pt idx="525">
                  <c:v>60530869.172258981</c:v>
                </c:pt>
                <c:pt idx="526">
                  <c:v>60530869.172258981</c:v>
                </c:pt>
                <c:pt idx="527">
                  <c:v>60530869.172258981</c:v>
                </c:pt>
                <c:pt idx="528">
                  <c:v>60530869.172258981</c:v>
                </c:pt>
                <c:pt idx="529">
                  <c:v>60530869.172258981</c:v>
                </c:pt>
                <c:pt idx="530">
                  <c:v>60530869.172258981</c:v>
                </c:pt>
                <c:pt idx="531">
                  <c:v>60530869.172258981</c:v>
                </c:pt>
                <c:pt idx="532">
                  <c:v>60530869.172258981</c:v>
                </c:pt>
                <c:pt idx="533">
                  <c:v>60530869.172258981</c:v>
                </c:pt>
                <c:pt idx="534">
                  <c:v>60530869.172258981</c:v>
                </c:pt>
                <c:pt idx="535">
                  <c:v>60530869.172258981</c:v>
                </c:pt>
                <c:pt idx="536">
                  <c:v>60530869.172258981</c:v>
                </c:pt>
                <c:pt idx="537">
                  <c:v>60530869.172258981</c:v>
                </c:pt>
                <c:pt idx="538">
                  <c:v>60530869.172258981</c:v>
                </c:pt>
                <c:pt idx="539">
                  <c:v>60530869.172258981</c:v>
                </c:pt>
                <c:pt idx="540">
                  <c:v>60530869.172258981</c:v>
                </c:pt>
                <c:pt idx="541">
                  <c:v>60530869.172258981</c:v>
                </c:pt>
                <c:pt idx="542">
                  <c:v>60530869.172258981</c:v>
                </c:pt>
                <c:pt idx="543">
                  <c:v>60530869.172258981</c:v>
                </c:pt>
                <c:pt idx="544">
                  <c:v>60530869.172258981</c:v>
                </c:pt>
                <c:pt idx="545">
                  <c:v>60530869.172258981</c:v>
                </c:pt>
                <c:pt idx="546">
                  <c:v>60530869.172258981</c:v>
                </c:pt>
                <c:pt idx="547">
                  <c:v>60530869.172258981</c:v>
                </c:pt>
                <c:pt idx="548">
                  <c:v>60530869.172258981</c:v>
                </c:pt>
                <c:pt idx="549">
                  <c:v>60530869.172258981</c:v>
                </c:pt>
                <c:pt idx="550">
                  <c:v>60530869.172258981</c:v>
                </c:pt>
                <c:pt idx="551">
                  <c:v>60530869.172258981</c:v>
                </c:pt>
                <c:pt idx="552">
                  <c:v>60530869.172258981</c:v>
                </c:pt>
                <c:pt idx="553">
                  <c:v>60530869.172258981</c:v>
                </c:pt>
                <c:pt idx="554">
                  <c:v>60530869.172258981</c:v>
                </c:pt>
                <c:pt idx="555">
                  <c:v>60530869.172258981</c:v>
                </c:pt>
                <c:pt idx="556">
                  <c:v>60530869.172258981</c:v>
                </c:pt>
                <c:pt idx="557">
                  <c:v>60530869.172258981</c:v>
                </c:pt>
                <c:pt idx="558">
                  <c:v>60530869.172258981</c:v>
                </c:pt>
                <c:pt idx="559">
                  <c:v>60530869.172258981</c:v>
                </c:pt>
                <c:pt idx="560">
                  <c:v>60530869.172258981</c:v>
                </c:pt>
                <c:pt idx="561">
                  <c:v>60530869.172258981</c:v>
                </c:pt>
                <c:pt idx="562">
                  <c:v>60530869.172258981</c:v>
                </c:pt>
                <c:pt idx="563">
                  <c:v>60530869.172258981</c:v>
                </c:pt>
                <c:pt idx="564">
                  <c:v>60530869.172258981</c:v>
                </c:pt>
                <c:pt idx="565">
                  <c:v>60530869.172258981</c:v>
                </c:pt>
                <c:pt idx="566">
                  <c:v>60530869.172258981</c:v>
                </c:pt>
                <c:pt idx="567">
                  <c:v>60530869.172258981</c:v>
                </c:pt>
                <c:pt idx="568">
                  <c:v>60530869.172258981</c:v>
                </c:pt>
                <c:pt idx="569">
                  <c:v>60530869.172258981</c:v>
                </c:pt>
                <c:pt idx="570">
                  <c:v>60530869.172258981</c:v>
                </c:pt>
                <c:pt idx="571">
                  <c:v>60530869.172258981</c:v>
                </c:pt>
                <c:pt idx="572">
                  <c:v>60530869.172258981</c:v>
                </c:pt>
                <c:pt idx="573">
                  <c:v>60530869.172258981</c:v>
                </c:pt>
                <c:pt idx="574">
                  <c:v>60530869.172258981</c:v>
                </c:pt>
                <c:pt idx="575">
                  <c:v>60530869.172258981</c:v>
                </c:pt>
                <c:pt idx="576">
                  <c:v>60530869.172258981</c:v>
                </c:pt>
                <c:pt idx="577">
                  <c:v>60530869.172258981</c:v>
                </c:pt>
                <c:pt idx="578">
                  <c:v>60530869.172258981</c:v>
                </c:pt>
                <c:pt idx="579">
                  <c:v>60530869.172258981</c:v>
                </c:pt>
                <c:pt idx="580">
                  <c:v>60530869.172258981</c:v>
                </c:pt>
                <c:pt idx="581">
                  <c:v>60530869.172258981</c:v>
                </c:pt>
                <c:pt idx="582">
                  <c:v>60530869.172258981</c:v>
                </c:pt>
                <c:pt idx="583">
                  <c:v>60530869.172258981</c:v>
                </c:pt>
                <c:pt idx="584">
                  <c:v>60530869.172258981</c:v>
                </c:pt>
                <c:pt idx="585">
                  <c:v>60530869.172258981</c:v>
                </c:pt>
                <c:pt idx="586">
                  <c:v>60530869.172258981</c:v>
                </c:pt>
                <c:pt idx="587">
                  <c:v>60530869.172258981</c:v>
                </c:pt>
                <c:pt idx="588">
                  <c:v>60530869.172258981</c:v>
                </c:pt>
                <c:pt idx="589">
                  <c:v>60530869.172258981</c:v>
                </c:pt>
                <c:pt idx="590">
                  <c:v>60530869.172258981</c:v>
                </c:pt>
                <c:pt idx="591">
                  <c:v>60530869.172258981</c:v>
                </c:pt>
                <c:pt idx="592">
                  <c:v>60530869.172258981</c:v>
                </c:pt>
                <c:pt idx="593">
                  <c:v>60530869.172258981</c:v>
                </c:pt>
                <c:pt idx="594">
                  <c:v>60530869.172258981</c:v>
                </c:pt>
                <c:pt idx="595">
                  <c:v>60530869.172258981</c:v>
                </c:pt>
                <c:pt idx="596">
                  <c:v>60530869.172258981</c:v>
                </c:pt>
                <c:pt idx="597">
                  <c:v>60530869.172258981</c:v>
                </c:pt>
                <c:pt idx="598">
                  <c:v>60530869.172258981</c:v>
                </c:pt>
                <c:pt idx="599">
                  <c:v>60530869.172258981</c:v>
                </c:pt>
                <c:pt idx="600">
                  <c:v>60530869.172258981</c:v>
                </c:pt>
                <c:pt idx="601">
                  <c:v>60530869.172258981</c:v>
                </c:pt>
                <c:pt idx="602">
                  <c:v>60530869.172258981</c:v>
                </c:pt>
                <c:pt idx="603">
                  <c:v>60530869.172258981</c:v>
                </c:pt>
                <c:pt idx="604">
                  <c:v>60530869.172258981</c:v>
                </c:pt>
                <c:pt idx="605">
                  <c:v>60530869.172258981</c:v>
                </c:pt>
                <c:pt idx="606">
                  <c:v>60530869.172258981</c:v>
                </c:pt>
                <c:pt idx="607">
                  <c:v>60530869.172258981</c:v>
                </c:pt>
                <c:pt idx="608">
                  <c:v>60530869.172258981</c:v>
                </c:pt>
                <c:pt idx="609">
                  <c:v>60530869.172258981</c:v>
                </c:pt>
                <c:pt idx="610">
                  <c:v>60530869.172258981</c:v>
                </c:pt>
                <c:pt idx="611">
                  <c:v>60530869.172258981</c:v>
                </c:pt>
                <c:pt idx="612">
                  <c:v>60530869.172258981</c:v>
                </c:pt>
                <c:pt idx="613">
                  <c:v>60530869.172258981</c:v>
                </c:pt>
                <c:pt idx="614">
                  <c:v>60530869.172258981</c:v>
                </c:pt>
                <c:pt idx="615">
                  <c:v>60530869.172258981</c:v>
                </c:pt>
                <c:pt idx="616">
                  <c:v>60530869.172258981</c:v>
                </c:pt>
                <c:pt idx="617">
                  <c:v>60530869.172258981</c:v>
                </c:pt>
                <c:pt idx="618">
                  <c:v>60530869.172258981</c:v>
                </c:pt>
                <c:pt idx="619">
                  <c:v>60530869.172258981</c:v>
                </c:pt>
                <c:pt idx="620">
                  <c:v>60530869.172258981</c:v>
                </c:pt>
                <c:pt idx="621">
                  <c:v>60530869.172258981</c:v>
                </c:pt>
                <c:pt idx="622">
                  <c:v>60530869.172258981</c:v>
                </c:pt>
                <c:pt idx="623">
                  <c:v>60530869.172258981</c:v>
                </c:pt>
                <c:pt idx="624">
                  <c:v>60530869.172258981</c:v>
                </c:pt>
                <c:pt idx="625">
                  <c:v>60530869.172258981</c:v>
                </c:pt>
                <c:pt idx="626">
                  <c:v>60530869.172258981</c:v>
                </c:pt>
                <c:pt idx="627">
                  <c:v>60530869.172258981</c:v>
                </c:pt>
                <c:pt idx="628">
                  <c:v>60530869.172258981</c:v>
                </c:pt>
                <c:pt idx="629">
                  <c:v>60530869.172258981</c:v>
                </c:pt>
                <c:pt idx="630">
                  <c:v>60530869.172258981</c:v>
                </c:pt>
                <c:pt idx="631">
                  <c:v>60530869.172258981</c:v>
                </c:pt>
                <c:pt idx="632">
                  <c:v>60530869.172258981</c:v>
                </c:pt>
                <c:pt idx="633">
                  <c:v>60530869.172258981</c:v>
                </c:pt>
                <c:pt idx="634">
                  <c:v>60530869.172258981</c:v>
                </c:pt>
                <c:pt idx="635">
                  <c:v>60530869.172258981</c:v>
                </c:pt>
                <c:pt idx="636">
                  <c:v>60530869.172258981</c:v>
                </c:pt>
                <c:pt idx="637">
                  <c:v>60530869.172258981</c:v>
                </c:pt>
                <c:pt idx="638">
                  <c:v>60530869.172258981</c:v>
                </c:pt>
                <c:pt idx="639">
                  <c:v>60530869.172258981</c:v>
                </c:pt>
                <c:pt idx="640">
                  <c:v>60530869.172258981</c:v>
                </c:pt>
                <c:pt idx="641">
                  <c:v>60530869.172258981</c:v>
                </c:pt>
                <c:pt idx="642">
                  <c:v>60530869.172258981</c:v>
                </c:pt>
                <c:pt idx="643">
                  <c:v>60530869.172258981</c:v>
                </c:pt>
                <c:pt idx="644">
                  <c:v>60530869.172258981</c:v>
                </c:pt>
                <c:pt idx="645">
                  <c:v>60530869.172258981</c:v>
                </c:pt>
                <c:pt idx="646">
                  <c:v>60530869.172258981</c:v>
                </c:pt>
                <c:pt idx="647">
                  <c:v>60530869.172258981</c:v>
                </c:pt>
                <c:pt idx="648">
                  <c:v>60530869.172258981</c:v>
                </c:pt>
                <c:pt idx="649">
                  <c:v>60530869.172258981</c:v>
                </c:pt>
                <c:pt idx="650">
                  <c:v>60530869.172258981</c:v>
                </c:pt>
                <c:pt idx="651">
                  <c:v>60530869.172258981</c:v>
                </c:pt>
                <c:pt idx="652">
                  <c:v>60530869.172258981</c:v>
                </c:pt>
                <c:pt idx="653">
                  <c:v>60530869.172258981</c:v>
                </c:pt>
                <c:pt idx="654">
                  <c:v>60530869.172258981</c:v>
                </c:pt>
                <c:pt idx="655">
                  <c:v>60530869.172258981</c:v>
                </c:pt>
                <c:pt idx="656">
                  <c:v>60530869.172258981</c:v>
                </c:pt>
                <c:pt idx="657">
                  <c:v>60530869.172258981</c:v>
                </c:pt>
                <c:pt idx="658">
                  <c:v>60530869.172258981</c:v>
                </c:pt>
                <c:pt idx="659">
                  <c:v>60530869.172258981</c:v>
                </c:pt>
                <c:pt idx="660">
                  <c:v>60530869.172258981</c:v>
                </c:pt>
                <c:pt idx="661">
                  <c:v>60530869.172258981</c:v>
                </c:pt>
                <c:pt idx="662">
                  <c:v>60530869.172258981</c:v>
                </c:pt>
                <c:pt idx="663">
                  <c:v>60530869.172258981</c:v>
                </c:pt>
                <c:pt idx="664">
                  <c:v>60530869.172258981</c:v>
                </c:pt>
                <c:pt idx="665">
                  <c:v>60530869.172258981</c:v>
                </c:pt>
                <c:pt idx="666">
                  <c:v>60530869.172258981</c:v>
                </c:pt>
                <c:pt idx="667">
                  <c:v>60530869.172258981</c:v>
                </c:pt>
                <c:pt idx="668">
                  <c:v>60530869.172258981</c:v>
                </c:pt>
                <c:pt idx="669">
                  <c:v>60530869.172258981</c:v>
                </c:pt>
                <c:pt idx="670">
                  <c:v>60530869.172258981</c:v>
                </c:pt>
                <c:pt idx="671">
                  <c:v>60530869.172258981</c:v>
                </c:pt>
                <c:pt idx="672">
                  <c:v>60530869.172258981</c:v>
                </c:pt>
                <c:pt idx="673">
                  <c:v>60530869.172258981</c:v>
                </c:pt>
                <c:pt idx="674">
                  <c:v>60530869.172258981</c:v>
                </c:pt>
                <c:pt idx="675">
                  <c:v>60530869.172258981</c:v>
                </c:pt>
                <c:pt idx="676">
                  <c:v>60530869.172258981</c:v>
                </c:pt>
                <c:pt idx="677">
                  <c:v>60530869.172258981</c:v>
                </c:pt>
                <c:pt idx="678">
                  <c:v>60530869.172258981</c:v>
                </c:pt>
                <c:pt idx="679">
                  <c:v>60530869.172258981</c:v>
                </c:pt>
                <c:pt idx="680">
                  <c:v>60530869.172258981</c:v>
                </c:pt>
                <c:pt idx="681">
                  <c:v>60530869.172258981</c:v>
                </c:pt>
                <c:pt idx="682">
                  <c:v>60530869.172258981</c:v>
                </c:pt>
                <c:pt idx="683">
                  <c:v>60530869.172258981</c:v>
                </c:pt>
                <c:pt idx="684">
                  <c:v>60530869.172258981</c:v>
                </c:pt>
                <c:pt idx="685">
                  <c:v>60530869.172258981</c:v>
                </c:pt>
                <c:pt idx="686">
                  <c:v>60530869.172258981</c:v>
                </c:pt>
                <c:pt idx="687">
                  <c:v>60530869.172258981</c:v>
                </c:pt>
                <c:pt idx="688">
                  <c:v>60530869.172258981</c:v>
                </c:pt>
                <c:pt idx="689">
                  <c:v>60530869.172258981</c:v>
                </c:pt>
                <c:pt idx="690">
                  <c:v>60530869.172258981</c:v>
                </c:pt>
                <c:pt idx="691">
                  <c:v>60530869.172258981</c:v>
                </c:pt>
                <c:pt idx="692">
                  <c:v>60530869.172258981</c:v>
                </c:pt>
                <c:pt idx="693">
                  <c:v>60530869.172258981</c:v>
                </c:pt>
                <c:pt idx="694">
                  <c:v>60530869.172258981</c:v>
                </c:pt>
                <c:pt idx="695">
                  <c:v>60530869.172258981</c:v>
                </c:pt>
                <c:pt idx="696">
                  <c:v>60530869.172258981</c:v>
                </c:pt>
                <c:pt idx="697">
                  <c:v>60530869.172258981</c:v>
                </c:pt>
                <c:pt idx="698">
                  <c:v>60530869.172258981</c:v>
                </c:pt>
                <c:pt idx="699">
                  <c:v>60530869.172258981</c:v>
                </c:pt>
                <c:pt idx="700">
                  <c:v>60530869.172258981</c:v>
                </c:pt>
                <c:pt idx="701">
                  <c:v>60530869.172258981</c:v>
                </c:pt>
                <c:pt idx="702">
                  <c:v>60530869.172258981</c:v>
                </c:pt>
                <c:pt idx="703">
                  <c:v>60530869.172258981</c:v>
                </c:pt>
                <c:pt idx="704">
                  <c:v>60530869.172258981</c:v>
                </c:pt>
                <c:pt idx="705">
                  <c:v>60530869.172258981</c:v>
                </c:pt>
                <c:pt idx="706">
                  <c:v>60530869.172258981</c:v>
                </c:pt>
                <c:pt idx="707">
                  <c:v>60530869.172258981</c:v>
                </c:pt>
                <c:pt idx="708">
                  <c:v>60530869.172258981</c:v>
                </c:pt>
                <c:pt idx="709">
                  <c:v>60530869.172258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00F-4AF7-A095-D4468AEA41F4}"/>
            </c:ext>
          </c:extLst>
        </c:ser>
        <c:ser>
          <c:idx val="2"/>
          <c:order val="2"/>
          <c:spPr>
            <a:ln w="28575" cap="rnd">
              <a:solidFill>
                <a:schemeClr val="accent1">
                  <a:tint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  بورس ایران-ارزش معاملات سهام '!$A$2:$A$711</c:f>
              <c:strCache>
                <c:ptCount val="710"/>
                <c:pt idx="0">
                  <c:v>1401-01-06</c:v>
                </c:pt>
                <c:pt idx="1">
                  <c:v>1401-01-07</c:v>
                </c:pt>
                <c:pt idx="2">
                  <c:v>1401-01-08</c:v>
                </c:pt>
                <c:pt idx="3">
                  <c:v>1401-01-09</c:v>
                </c:pt>
                <c:pt idx="4">
                  <c:v>1401-01-10</c:v>
                </c:pt>
                <c:pt idx="5">
                  <c:v>1401-01-14</c:v>
                </c:pt>
                <c:pt idx="6">
                  <c:v>1401-01-15</c:v>
                </c:pt>
                <c:pt idx="7">
                  <c:v>1401-01-16</c:v>
                </c:pt>
                <c:pt idx="8">
                  <c:v>1401-01-17</c:v>
                </c:pt>
                <c:pt idx="9">
                  <c:v>1401-01-20</c:v>
                </c:pt>
                <c:pt idx="10">
                  <c:v>1401-01-21</c:v>
                </c:pt>
                <c:pt idx="11">
                  <c:v>1401-01-22</c:v>
                </c:pt>
                <c:pt idx="12">
                  <c:v>1401-01-23</c:v>
                </c:pt>
                <c:pt idx="13">
                  <c:v>1401-01-24</c:v>
                </c:pt>
                <c:pt idx="14">
                  <c:v>1401-01-27</c:v>
                </c:pt>
                <c:pt idx="15">
                  <c:v>1401-01-28</c:v>
                </c:pt>
                <c:pt idx="16">
                  <c:v>1401-01-29</c:v>
                </c:pt>
                <c:pt idx="17">
                  <c:v>1401-01-30</c:v>
                </c:pt>
                <c:pt idx="18">
                  <c:v>1401-01-31</c:v>
                </c:pt>
                <c:pt idx="19">
                  <c:v>1401-02-04</c:v>
                </c:pt>
                <c:pt idx="20">
                  <c:v>1401-02-05</c:v>
                </c:pt>
                <c:pt idx="21">
                  <c:v>1401-02-06</c:v>
                </c:pt>
                <c:pt idx="22">
                  <c:v>1401-02-07</c:v>
                </c:pt>
                <c:pt idx="23">
                  <c:v>1401-02-10</c:v>
                </c:pt>
                <c:pt idx="24">
                  <c:v>1401-02-11</c:v>
                </c:pt>
                <c:pt idx="25">
                  <c:v>1401-02-12</c:v>
                </c:pt>
                <c:pt idx="26">
                  <c:v>1401-02-17</c:v>
                </c:pt>
                <c:pt idx="27">
                  <c:v>1401-02-18</c:v>
                </c:pt>
                <c:pt idx="28">
                  <c:v>1401-02-19</c:v>
                </c:pt>
                <c:pt idx="29">
                  <c:v>1401-02-20</c:v>
                </c:pt>
                <c:pt idx="30">
                  <c:v>1401-02-21</c:v>
                </c:pt>
                <c:pt idx="31">
                  <c:v>1401-02-24</c:v>
                </c:pt>
                <c:pt idx="32">
                  <c:v>1401-02-25</c:v>
                </c:pt>
                <c:pt idx="33">
                  <c:v>1401-02-26</c:v>
                </c:pt>
                <c:pt idx="34">
                  <c:v>1401-02-27</c:v>
                </c:pt>
                <c:pt idx="35">
                  <c:v>1401-02-28</c:v>
                </c:pt>
                <c:pt idx="36">
                  <c:v>1401-02-31</c:v>
                </c:pt>
                <c:pt idx="37">
                  <c:v>1401-03-01</c:v>
                </c:pt>
                <c:pt idx="38">
                  <c:v>1401-03-02</c:v>
                </c:pt>
                <c:pt idx="39">
                  <c:v>1401-03-03</c:v>
                </c:pt>
                <c:pt idx="40">
                  <c:v>1401-03-04</c:v>
                </c:pt>
                <c:pt idx="41">
                  <c:v>1401-03-07</c:v>
                </c:pt>
                <c:pt idx="42">
                  <c:v>1401-03-08</c:v>
                </c:pt>
                <c:pt idx="43">
                  <c:v>1401-03-09</c:v>
                </c:pt>
                <c:pt idx="44">
                  <c:v>1401-03-10</c:v>
                </c:pt>
                <c:pt idx="45">
                  <c:v>1401-03-11</c:v>
                </c:pt>
                <c:pt idx="46">
                  <c:v>1401-03-16</c:v>
                </c:pt>
                <c:pt idx="47">
                  <c:v>1401-03-17</c:v>
                </c:pt>
                <c:pt idx="48">
                  <c:v>1401-03-18</c:v>
                </c:pt>
                <c:pt idx="49">
                  <c:v>1401-03-21</c:v>
                </c:pt>
                <c:pt idx="50">
                  <c:v>1401-03-22</c:v>
                </c:pt>
                <c:pt idx="51">
                  <c:v>1401-03-23</c:v>
                </c:pt>
                <c:pt idx="52">
                  <c:v>1401-03-24</c:v>
                </c:pt>
                <c:pt idx="53">
                  <c:v>1401-03-25</c:v>
                </c:pt>
                <c:pt idx="54">
                  <c:v>1401-03-28</c:v>
                </c:pt>
                <c:pt idx="55">
                  <c:v>1401-03-29</c:v>
                </c:pt>
                <c:pt idx="56">
                  <c:v>1401-03-30</c:v>
                </c:pt>
                <c:pt idx="57">
                  <c:v>1401-03-31</c:v>
                </c:pt>
                <c:pt idx="58">
                  <c:v>1401-04-01</c:v>
                </c:pt>
                <c:pt idx="59">
                  <c:v>1401-04-04</c:v>
                </c:pt>
                <c:pt idx="60">
                  <c:v>1401-04-05</c:v>
                </c:pt>
                <c:pt idx="61">
                  <c:v>1401-04-06</c:v>
                </c:pt>
                <c:pt idx="62">
                  <c:v>1401-04-07</c:v>
                </c:pt>
                <c:pt idx="63">
                  <c:v>1401-04-08</c:v>
                </c:pt>
                <c:pt idx="64">
                  <c:v>1401-04-11</c:v>
                </c:pt>
                <c:pt idx="65">
                  <c:v>1401-04-12</c:v>
                </c:pt>
                <c:pt idx="66">
                  <c:v>1401-04-13</c:v>
                </c:pt>
                <c:pt idx="67">
                  <c:v>1401-04-14</c:v>
                </c:pt>
                <c:pt idx="68">
                  <c:v>1401-04-15</c:v>
                </c:pt>
                <c:pt idx="69">
                  <c:v>1401-04-18</c:v>
                </c:pt>
                <c:pt idx="70">
                  <c:v>1401-04-20</c:v>
                </c:pt>
                <c:pt idx="71">
                  <c:v>1401-04-21</c:v>
                </c:pt>
                <c:pt idx="72">
                  <c:v>1401-04-22</c:v>
                </c:pt>
                <c:pt idx="73">
                  <c:v>1401-04-25</c:v>
                </c:pt>
                <c:pt idx="74">
                  <c:v>1401-04-26</c:v>
                </c:pt>
                <c:pt idx="75">
                  <c:v>1401-04-28</c:v>
                </c:pt>
                <c:pt idx="76">
                  <c:v>1401-04-29</c:v>
                </c:pt>
                <c:pt idx="77">
                  <c:v>1401-05-01</c:v>
                </c:pt>
                <c:pt idx="78">
                  <c:v>1401-05-02</c:v>
                </c:pt>
                <c:pt idx="79">
                  <c:v>1401-05-03</c:v>
                </c:pt>
                <c:pt idx="80">
                  <c:v>1401-05-04</c:v>
                </c:pt>
                <c:pt idx="81">
                  <c:v>1401-05-05</c:v>
                </c:pt>
                <c:pt idx="82">
                  <c:v>1401-05-08</c:v>
                </c:pt>
                <c:pt idx="83">
                  <c:v>1401-05-09</c:v>
                </c:pt>
                <c:pt idx="84">
                  <c:v>1401-05-10</c:v>
                </c:pt>
                <c:pt idx="85">
                  <c:v>1401-05-11</c:v>
                </c:pt>
                <c:pt idx="86">
                  <c:v>1401-05-12</c:v>
                </c:pt>
                <c:pt idx="87">
                  <c:v>1401-05-15</c:v>
                </c:pt>
                <c:pt idx="88">
                  <c:v>1401-05-18</c:v>
                </c:pt>
                <c:pt idx="89">
                  <c:v>1401-05-19</c:v>
                </c:pt>
                <c:pt idx="90">
                  <c:v>1401-05-22</c:v>
                </c:pt>
                <c:pt idx="91">
                  <c:v>1401-05-23</c:v>
                </c:pt>
                <c:pt idx="92">
                  <c:v>1401-05-24</c:v>
                </c:pt>
                <c:pt idx="93">
                  <c:v>1401-05-25</c:v>
                </c:pt>
                <c:pt idx="94">
                  <c:v>1401-05-26</c:v>
                </c:pt>
                <c:pt idx="95">
                  <c:v>1401-05-29</c:v>
                </c:pt>
                <c:pt idx="96">
                  <c:v>1401-05-30</c:v>
                </c:pt>
                <c:pt idx="97">
                  <c:v>1401-05-31</c:v>
                </c:pt>
                <c:pt idx="98">
                  <c:v>1401-06-01</c:v>
                </c:pt>
                <c:pt idx="99">
                  <c:v>1401-06-02</c:v>
                </c:pt>
                <c:pt idx="100">
                  <c:v>1401-06-05</c:v>
                </c:pt>
                <c:pt idx="101">
                  <c:v>1401-06-06</c:v>
                </c:pt>
                <c:pt idx="102">
                  <c:v>1401-06-07</c:v>
                </c:pt>
                <c:pt idx="103">
                  <c:v>1401-06-08</c:v>
                </c:pt>
                <c:pt idx="104">
                  <c:v>1401-06-09</c:v>
                </c:pt>
                <c:pt idx="105">
                  <c:v>1401-06-12</c:v>
                </c:pt>
                <c:pt idx="106">
                  <c:v>1401-06-13</c:v>
                </c:pt>
                <c:pt idx="107">
                  <c:v>1401-06-14</c:v>
                </c:pt>
                <c:pt idx="108">
                  <c:v>1401-06-15</c:v>
                </c:pt>
                <c:pt idx="109">
                  <c:v>1401-06-16</c:v>
                </c:pt>
                <c:pt idx="110">
                  <c:v>1401-06-19</c:v>
                </c:pt>
                <c:pt idx="111">
                  <c:v>1401-06-20</c:v>
                </c:pt>
                <c:pt idx="112">
                  <c:v>1401-06-21</c:v>
                </c:pt>
                <c:pt idx="113">
                  <c:v>1401-06-22</c:v>
                </c:pt>
                <c:pt idx="114">
                  <c:v>1401-06-23</c:v>
                </c:pt>
                <c:pt idx="115">
                  <c:v>1401-06-27</c:v>
                </c:pt>
                <c:pt idx="116">
                  <c:v>1401-06-28</c:v>
                </c:pt>
                <c:pt idx="117">
                  <c:v>1401-06-29</c:v>
                </c:pt>
                <c:pt idx="118">
                  <c:v>1401-06-30</c:v>
                </c:pt>
                <c:pt idx="119">
                  <c:v>1401-07-02</c:v>
                </c:pt>
                <c:pt idx="120">
                  <c:v>1401-07-04</c:v>
                </c:pt>
                <c:pt idx="121">
                  <c:v>1401-07-06</c:v>
                </c:pt>
                <c:pt idx="122">
                  <c:v>1401-07-09</c:v>
                </c:pt>
                <c:pt idx="123">
                  <c:v>1401-07-10</c:v>
                </c:pt>
                <c:pt idx="124">
                  <c:v>1401-07-11</c:v>
                </c:pt>
                <c:pt idx="125">
                  <c:v>1401-07-12</c:v>
                </c:pt>
                <c:pt idx="126">
                  <c:v>1401-07-16</c:v>
                </c:pt>
                <c:pt idx="127">
                  <c:v>1401-07-17</c:v>
                </c:pt>
                <c:pt idx="128">
                  <c:v>1401-07-18</c:v>
                </c:pt>
                <c:pt idx="129">
                  <c:v>1401-07-19</c:v>
                </c:pt>
                <c:pt idx="130">
                  <c:v>1401-07-20</c:v>
                </c:pt>
                <c:pt idx="131">
                  <c:v>1401-07-23</c:v>
                </c:pt>
                <c:pt idx="132">
                  <c:v>1401-07-24</c:v>
                </c:pt>
                <c:pt idx="133">
                  <c:v>1401-07-25</c:v>
                </c:pt>
                <c:pt idx="134">
                  <c:v>1401-07-26</c:v>
                </c:pt>
                <c:pt idx="135">
                  <c:v>1401-07-27</c:v>
                </c:pt>
                <c:pt idx="136">
                  <c:v>1401-07-30</c:v>
                </c:pt>
                <c:pt idx="137">
                  <c:v>1401-08-01</c:v>
                </c:pt>
                <c:pt idx="138">
                  <c:v>1401-08-02</c:v>
                </c:pt>
                <c:pt idx="139">
                  <c:v>1401-08-03</c:v>
                </c:pt>
                <c:pt idx="140">
                  <c:v>1401-08-04</c:v>
                </c:pt>
                <c:pt idx="141">
                  <c:v>1401-08-07</c:v>
                </c:pt>
                <c:pt idx="142">
                  <c:v>1401-08-08</c:v>
                </c:pt>
                <c:pt idx="143">
                  <c:v>1401-08-09</c:v>
                </c:pt>
                <c:pt idx="144">
                  <c:v>1401-08-10</c:v>
                </c:pt>
                <c:pt idx="145">
                  <c:v>1401-08-11</c:v>
                </c:pt>
                <c:pt idx="146">
                  <c:v>1401-08-14</c:v>
                </c:pt>
                <c:pt idx="147">
                  <c:v>1401-08-15</c:v>
                </c:pt>
                <c:pt idx="148">
                  <c:v>1401-08-16</c:v>
                </c:pt>
                <c:pt idx="149">
                  <c:v>1401-08-17</c:v>
                </c:pt>
                <c:pt idx="150">
                  <c:v>1401-08-18</c:v>
                </c:pt>
                <c:pt idx="151">
                  <c:v>1401-08-21</c:v>
                </c:pt>
                <c:pt idx="152">
                  <c:v>1401-08-22</c:v>
                </c:pt>
                <c:pt idx="153">
                  <c:v>1401-08-23</c:v>
                </c:pt>
                <c:pt idx="154">
                  <c:v>1401-08-24</c:v>
                </c:pt>
                <c:pt idx="155">
                  <c:v>1401-08-25</c:v>
                </c:pt>
                <c:pt idx="156">
                  <c:v>1401-08-28</c:v>
                </c:pt>
                <c:pt idx="157">
                  <c:v>1401-08-29</c:v>
                </c:pt>
                <c:pt idx="158">
                  <c:v>1401-08-30</c:v>
                </c:pt>
                <c:pt idx="159">
                  <c:v>1401-09-01</c:v>
                </c:pt>
                <c:pt idx="160">
                  <c:v>1401-09-02</c:v>
                </c:pt>
                <c:pt idx="161">
                  <c:v>1401-09-05</c:v>
                </c:pt>
                <c:pt idx="162">
                  <c:v>1401-09-06</c:v>
                </c:pt>
                <c:pt idx="163">
                  <c:v>1401-09-07</c:v>
                </c:pt>
                <c:pt idx="164">
                  <c:v>1401-09-08</c:v>
                </c:pt>
                <c:pt idx="165">
                  <c:v>1401-09-09</c:v>
                </c:pt>
                <c:pt idx="166">
                  <c:v>1401-09-12</c:v>
                </c:pt>
                <c:pt idx="167">
                  <c:v>1401-09-13</c:v>
                </c:pt>
                <c:pt idx="168">
                  <c:v>1401-09-14</c:v>
                </c:pt>
                <c:pt idx="169">
                  <c:v>1401-09-15</c:v>
                </c:pt>
                <c:pt idx="170">
                  <c:v>1401-09-16</c:v>
                </c:pt>
                <c:pt idx="171">
                  <c:v>1401-09-19</c:v>
                </c:pt>
                <c:pt idx="172">
                  <c:v>1401-09-20</c:v>
                </c:pt>
                <c:pt idx="173">
                  <c:v>1401-09-21</c:v>
                </c:pt>
                <c:pt idx="174">
                  <c:v>1401-09-22</c:v>
                </c:pt>
                <c:pt idx="175">
                  <c:v>1401-09-23</c:v>
                </c:pt>
                <c:pt idx="176">
                  <c:v>1401-09-26</c:v>
                </c:pt>
                <c:pt idx="177">
                  <c:v>1401-09-27</c:v>
                </c:pt>
                <c:pt idx="178">
                  <c:v>1401-09-28</c:v>
                </c:pt>
                <c:pt idx="179">
                  <c:v>1401-09-29</c:v>
                </c:pt>
                <c:pt idx="180">
                  <c:v>1401-09-30</c:v>
                </c:pt>
                <c:pt idx="181">
                  <c:v>1401-10-03</c:v>
                </c:pt>
                <c:pt idx="182">
                  <c:v>1401-10-04</c:v>
                </c:pt>
                <c:pt idx="183">
                  <c:v>1401-10-05</c:v>
                </c:pt>
                <c:pt idx="184">
                  <c:v>1401-10-07</c:v>
                </c:pt>
                <c:pt idx="185">
                  <c:v>1401-10-10</c:v>
                </c:pt>
                <c:pt idx="186">
                  <c:v>1401-10-11</c:v>
                </c:pt>
                <c:pt idx="187">
                  <c:v>1401-10-12</c:v>
                </c:pt>
                <c:pt idx="188">
                  <c:v>1401-10-13</c:v>
                </c:pt>
                <c:pt idx="189">
                  <c:v>1401-10-14</c:v>
                </c:pt>
                <c:pt idx="190">
                  <c:v>1401-10-17</c:v>
                </c:pt>
                <c:pt idx="191">
                  <c:v>1401-10-18</c:v>
                </c:pt>
                <c:pt idx="192">
                  <c:v>1401-10-19</c:v>
                </c:pt>
                <c:pt idx="193">
                  <c:v>1401-10-20</c:v>
                </c:pt>
                <c:pt idx="194">
                  <c:v>1401-10-21</c:v>
                </c:pt>
                <c:pt idx="195">
                  <c:v>1401-10-24</c:v>
                </c:pt>
                <c:pt idx="196">
                  <c:v>1401-10-26</c:v>
                </c:pt>
                <c:pt idx="197">
                  <c:v>1401-10-27</c:v>
                </c:pt>
                <c:pt idx="198">
                  <c:v>1401-10-28</c:v>
                </c:pt>
                <c:pt idx="199">
                  <c:v>1401-11-01</c:v>
                </c:pt>
                <c:pt idx="200">
                  <c:v>1401-11-02</c:v>
                </c:pt>
                <c:pt idx="201">
                  <c:v>1401-11-03</c:v>
                </c:pt>
                <c:pt idx="202">
                  <c:v>1401-11-04</c:v>
                </c:pt>
                <c:pt idx="203">
                  <c:v>1401-11-05</c:v>
                </c:pt>
                <c:pt idx="204">
                  <c:v>1401-11-08</c:v>
                </c:pt>
                <c:pt idx="205">
                  <c:v>1401-11-09</c:v>
                </c:pt>
                <c:pt idx="206">
                  <c:v>1401-11-10</c:v>
                </c:pt>
                <c:pt idx="207">
                  <c:v>1401-11-11</c:v>
                </c:pt>
                <c:pt idx="208">
                  <c:v>1401-11-12</c:v>
                </c:pt>
                <c:pt idx="209">
                  <c:v>1401-11-16</c:v>
                </c:pt>
                <c:pt idx="210">
                  <c:v>1401-11-17</c:v>
                </c:pt>
                <c:pt idx="211">
                  <c:v>1401-11-18</c:v>
                </c:pt>
                <c:pt idx="212">
                  <c:v>1401-11-19</c:v>
                </c:pt>
                <c:pt idx="213">
                  <c:v>1401-11-23</c:v>
                </c:pt>
                <c:pt idx="214">
                  <c:v>1401-11-24</c:v>
                </c:pt>
                <c:pt idx="215">
                  <c:v>1401-11-25</c:v>
                </c:pt>
                <c:pt idx="216">
                  <c:v>1401-11-26</c:v>
                </c:pt>
                <c:pt idx="217">
                  <c:v>1401-11-30</c:v>
                </c:pt>
                <c:pt idx="218">
                  <c:v>1401-12-01</c:v>
                </c:pt>
                <c:pt idx="219">
                  <c:v>1401-12-02</c:v>
                </c:pt>
                <c:pt idx="220">
                  <c:v>1401-12-03</c:v>
                </c:pt>
                <c:pt idx="221">
                  <c:v>1401-12-06</c:v>
                </c:pt>
                <c:pt idx="222">
                  <c:v>1401-12-07</c:v>
                </c:pt>
                <c:pt idx="223">
                  <c:v>1401-12-08</c:v>
                </c:pt>
                <c:pt idx="224">
                  <c:v>1401-12-09</c:v>
                </c:pt>
                <c:pt idx="225">
                  <c:v>1401-12-10</c:v>
                </c:pt>
                <c:pt idx="226">
                  <c:v>1401-12-13</c:v>
                </c:pt>
                <c:pt idx="227">
                  <c:v>1401-12-14</c:v>
                </c:pt>
                <c:pt idx="228">
                  <c:v>1401-12-15</c:v>
                </c:pt>
                <c:pt idx="229">
                  <c:v>1401-12-16</c:v>
                </c:pt>
                <c:pt idx="230">
                  <c:v>1401-12-20</c:v>
                </c:pt>
                <c:pt idx="231">
                  <c:v>1401-12-21</c:v>
                </c:pt>
                <c:pt idx="232">
                  <c:v>1401-12-22</c:v>
                </c:pt>
                <c:pt idx="233">
                  <c:v>1401-12-23</c:v>
                </c:pt>
                <c:pt idx="234">
                  <c:v>1401-12-24</c:v>
                </c:pt>
                <c:pt idx="235">
                  <c:v>1401-12-27</c:v>
                </c:pt>
                <c:pt idx="236">
                  <c:v>1401-12-28</c:v>
                </c:pt>
                <c:pt idx="237">
                  <c:v>1402-01-05</c:v>
                </c:pt>
                <c:pt idx="238">
                  <c:v>1402-01-06</c:v>
                </c:pt>
                <c:pt idx="239">
                  <c:v>1402-01-07</c:v>
                </c:pt>
                <c:pt idx="240">
                  <c:v>1402-01-08</c:v>
                </c:pt>
                <c:pt idx="241">
                  <c:v>1402-01-09</c:v>
                </c:pt>
                <c:pt idx="242">
                  <c:v>1402-01-14</c:v>
                </c:pt>
                <c:pt idx="243">
                  <c:v>1402-01-15</c:v>
                </c:pt>
                <c:pt idx="244">
                  <c:v>1402-01-16</c:v>
                </c:pt>
                <c:pt idx="245">
                  <c:v>1402-01-19</c:v>
                </c:pt>
                <c:pt idx="246">
                  <c:v>1402-01-20</c:v>
                </c:pt>
                <c:pt idx="247">
                  <c:v>1402-01-21</c:v>
                </c:pt>
                <c:pt idx="248">
                  <c:v>1402-01-22</c:v>
                </c:pt>
                <c:pt idx="249">
                  <c:v>1402-01-26</c:v>
                </c:pt>
                <c:pt idx="250">
                  <c:v>1402-01-27</c:v>
                </c:pt>
                <c:pt idx="251">
                  <c:v>1402-01-28</c:v>
                </c:pt>
                <c:pt idx="252">
                  <c:v>1402-01-29</c:v>
                </c:pt>
                <c:pt idx="253">
                  <c:v>1402-01-30</c:v>
                </c:pt>
                <c:pt idx="254">
                  <c:v>1402-02-04</c:v>
                </c:pt>
                <c:pt idx="255">
                  <c:v>1402-02-05</c:v>
                </c:pt>
                <c:pt idx="256">
                  <c:v>1402-02-06</c:v>
                </c:pt>
                <c:pt idx="257">
                  <c:v>1402-02-09</c:v>
                </c:pt>
                <c:pt idx="258">
                  <c:v>1402-02-10</c:v>
                </c:pt>
                <c:pt idx="259">
                  <c:v>1402-02-11</c:v>
                </c:pt>
                <c:pt idx="260">
                  <c:v>1402-02-12</c:v>
                </c:pt>
                <c:pt idx="261">
                  <c:v>1402-02-13</c:v>
                </c:pt>
                <c:pt idx="262">
                  <c:v>1402-02-16</c:v>
                </c:pt>
                <c:pt idx="263">
                  <c:v>1402-02-17</c:v>
                </c:pt>
                <c:pt idx="264">
                  <c:v>1402-02-18</c:v>
                </c:pt>
                <c:pt idx="265">
                  <c:v>1402-02-19</c:v>
                </c:pt>
                <c:pt idx="266">
                  <c:v>1402-02-20</c:v>
                </c:pt>
                <c:pt idx="267">
                  <c:v>1402-02-23</c:v>
                </c:pt>
                <c:pt idx="268">
                  <c:v>1402-02-24</c:v>
                </c:pt>
                <c:pt idx="269">
                  <c:v>1402-02-25</c:v>
                </c:pt>
                <c:pt idx="270">
                  <c:v>1402-02-27</c:v>
                </c:pt>
                <c:pt idx="271">
                  <c:v>1402-02-30</c:v>
                </c:pt>
                <c:pt idx="272">
                  <c:v>1402-02-31</c:v>
                </c:pt>
                <c:pt idx="273">
                  <c:v>1402-03-01</c:v>
                </c:pt>
                <c:pt idx="274">
                  <c:v>1402-03-02</c:v>
                </c:pt>
                <c:pt idx="275">
                  <c:v>1402-03-03</c:v>
                </c:pt>
                <c:pt idx="276">
                  <c:v>1402-03-06</c:v>
                </c:pt>
                <c:pt idx="277">
                  <c:v>1402-03-07</c:v>
                </c:pt>
                <c:pt idx="278">
                  <c:v>1402-03-08</c:v>
                </c:pt>
                <c:pt idx="279">
                  <c:v>1402-03-09</c:v>
                </c:pt>
                <c:pt idx="280">
                  <c:v>1402-03-10</c:v>
                </c:pt>
                <c:pt idx="281">
                  <c:v>1402-03-13</c:v>
                </c:pt>
                <c:pt idx="282">
                  <c:v>1402-03-16</c:v>
                </c:pt>
                <c:pt idx="283">
                  <c:v>1402-03-17</c:v>
                </c:pt>
                <c:pt idx="284">
                  <c:v>1402-03-20</c:v>
                </c:pt>
                <c:pt idx="285">
                  <c:v>1402-03-21</c:v>
                </c:pt>
                <c:pt idx="286">
                  <c:v>1402-03-22</c:v>
                </c:pt>
                <c:pt idx="287">
                  <c:v>1402-03-23</c:v>
                </c:pt>
                <c:pt idx="288">
                  <c:v>1402-03-24</c:v>
                </c:pt>
                <c:pt idx="289">
                  <c:v>1402-03-27</c:v>
                </c:pt>
                <c:pt idx="290">
                  <c:v>1402-03-28</c:v>
                </c:pt>
                <c:pt idx="291">
                  <c:v>1402-03-29</c:v>
                </c:pt>
                <c:pt idx="292">
                  <c:v>1402-03-30</c:v>
                </c:pt>
                <c:pt idx="293">
                  <c:v>1402-03-31</c:v>
                </c:pt>
                <c:pt idx="294">
                  <c:v>1402-04-03</c:v>
                </c:pt>
                <c:pt idx="295">
                  <c:v>1402-04-04</c:v>
                </c:pt>
                <c:pt idx="296">
                  <c:v>1402-04-05</c:v>
                </c:pt>
                <c:pt idx="297">
                  <c:v>1402-04-06</c:v>
                </c:pt>
                <c:pt idx="298">
                  <c:v>1402-04-07</c:v>
                </c:pt>
                <c:pt idx="299">
                  <c:v>1402-04-10</c:v>
                </c:pt>
                <c:pt idx="300">
                  <c:v>1402-04-11</c:v>
                </c:pt>
                <c:pt idx="301">
                  <c:v>1402-04-12</c:v>
                </c:pt>
                <c:pt idx="302">
                  <c:v>1402-04-13</c:v>
                </c:pt>
                <c:pt idx="303">
                  <c:v>1402-04-14</c:v>
                </c:pt>
                <c:pt idx="304">
                  <c:v>1402-04-17</c:v>
                </c:pt>
                <c:pt idx="305">
                  <c:v>1402-04-18</c:v>
                </c:pt>
                <c:pt idx="306">
                  <c:v>1402-04-19</c:v>
                </c:pt>
                <c:pt idx="307">
                  <c:v>1402-04-20</c:v>
                </c:pt>
                <c:pt idx="308">
                  <c:v>1402-04-21</c:v>
                </c:pt>
                <c:pt idx="309">
                  <c:v>1402-04-24</c:v>
                </c:pt>
                <c:pt idx="310">
                  <c:v>1402-04-25</c:v>
                </c:pt>
                <c:pt idx="311">
                  <c:v>1402-04-26</c:v>
                </c:pt>
                <c:pt idx="312">
                  <c:v>1402-04-27</c:v>
                </c:pt>
                <c:pt idx="313">
                  <c:v>1402-04-28</c:v>
                </c:pt>
                <c:pt idx="314">
                  <c:v>1402-04-31</c:v>
                </c:pt>
                <c:pt idx="315">
                  <c:v>1402-05-01</c:v>
                </c:pt>
                <c:pt idx="316">
                  <c:v>1402-05-02</c:v>
                </c:pt>
                <c:pt idx="317">
                  <c:v>1402-05-03</c:v>
                </c:pt>
                <c:pt idx="318">
                  <c:v>1402-05-04</c:v>
                </c:pt>
                <c:pt idx="319">
                  <c:v>1402-05-07</c:v>
                </c:pt>
                <c:pt idx="320">
                  <c:v>1402-05-08</c:v>
                </c:pt>
                <c:pt idx="321">
                  <c:v>1402-05-09</c:v>
                </c:pt>
                <c:pt idx="322">
                  <c:v>1402-05-10</c:v>
                </c:pt>
                <c:pt idx="323">
                  <c:v>1402-05-14</c:v>
                </c:pt>
                <c:pt idx="324">
                  <c:v>1402-05-15</c:v>
                </c:pt>
                <c:pt idx="325">
                  <c:v>1402-05-16</c:v>
                </c:pt>
                <c:pt idx="326">
                  <c:v>1402-05-17</c:v>
                </c:pt>
                <c:pt idx="327">
                  <c:v>1402-05-18</c:v>
                </c:pt>
                <c:pt idx="328">
                  <c:v>1402-05-21</c:v>
                </c:pt>
                <c:pt idx="329">
                  <c:v>1402-05-22</c:v>
                </c:pt>
                <c:pt idx="330">
                  <c:v>1402-05-23</c:v>
                </c:pt>
                <c:pt idx="331">
                  <c:v>1402-05-24</c:v>
                </c:pt>
                <c:pt idx="332">
                  <c:v>1402-05-25</c:v>
                </c:pt>
                <c:pt idx="333">
                  <c:v>1402-05-28</c:v>
                </c:pt>
                <c:pt idx="334">
                  <c:v>1402-05-29</c:v>
                </c:pt>
                <c:pt idx="335">
                  <c:v>1402-05-30</c:v>
                </c:pt>
                <c:pt idx="336">
                  <c:v>1402-05-31</c:v>
                </c:pt>
                <c:pt idx="337">
                  <c:v>1402-06-01</c:v>
                </c:pt>
                <c:pt idx="338">
                  <c:v>1402-06-04</c:v>
                </c:pt>
                <c:pt idx="339">
                  <c:v>1402-06-05</c:v>
                </c:pt>
                <c:pt idx="340">
                  <c:v>1402-06-06</c:v>
                </c:pt>
                <c:pt idx="341">
                  <c:v>1402-06-07</c:v>
                </c:pt>
                <c:pt idx="342">
                  <c:v>1402-06-08</c:v>
                </c:pt>
                <c:pt idx="343">
                  <c:v>1402-06-11</c:v>
                </c:pt>
                <c:pt idx="344">
                  <c:v>1402-06-12</c:v>
                </c:pt>
                <c:pt idx="345">
                  <c:v>1402-06-13</c:v>
                </c:pt>
                <c:pt idx="346">
                  <c:v>1402-06-14</c:v>
                </c:pt>
                <c:pt idx="347">
                  <c:v>1402-06-18</c:v>
                </c:pt>
                <c:pt idx="348">
                  <c:v>1402-06-19</c:v>
                </c:pt>
                <c:pt idx="349">
                  <c:v>1402-06-20</c:v>
                </c:pt>
                <c:pt idx="350">
                  <c:v>1402-06-21</c:v>
                </c:pt>
                <c:pt idx="351">
                  <c:v>1402-06-22</c:v>
                </c:pt>
                <c:pt idx="352">
                  <c:v>1402-06-26</c:v>
                </c:pt>
                <c:pt idx="353">
                  <c:v>1402-06-27</c:v>
                </c:pt>
                <c:pt idx="354">
                  <c:v>1402-06-28</c:v>
                </c:pt>
                <c:pt idx="355">
                  <c:v>1402-06-29</c:v>
                </c:pt>
                <c:pt idx="356">
                  <c:v>1402-07-01</c:v>
                </c:pt>
                <c:pt idx="357">
                  <c:v>1402-07-03</c:v>
                </c:pt>
                <c:pt idx="358">
                  <c:v>1402-07-04</c:v>
                </c:pt>
                <c:pt idx="359">
                  <c:v>1402-07-05</c:v>
                </c:pt>
                <c:pt idx="360">
                  <c:v>1402-07-08</c:v>
                </c:pt>
                <c:pt idx="361">
                  <c:v>1402-07-09</c:v>
                </c:pt>
                <c:pt idx="362">
                  <c:v>1402-07-10</c:v>
                </c:pt>
                <c:pt idx="363">
                  <c:v>1402-07-12</c:v>
                </c:pt>
                <c:pt idx="364">
                  <c:v>1402-07-15</c:v>
                </c:pt>
                <c:pt idx="365">
                  <c:v>1402-07-16</c:v>
                </c:pt>
                <c:pt idx="366">
                  <c:v>1402-07-17</c:v>
                </c:pt>
                <c:pt idx="367">
                  <c:v>1402-07-18</c:v>
                </c:pt>
                <c:pt idx="368">
                  <c:v>1402-07-19</c:v>
                </c:pt>
                <c:pt idx="369">
                  <c:v>1402-07-22</c:v>
                </c:pt>
                <c:pt idx="370">
                  <c:v>1402-07-23</c:v>
                </c:pt>
                <c:pt idx="371">
                  <c:v>1402-07-24</c:v>
                </c:pt>
                <c:pt idx="372">
                  <c:v>1402-07-25</c:v>
                </c:pt>
                <c:pt idx="373">
                  <c:v>1402-07-26</c:v>
                </c:pt>
                <c:pt idx="374">
                  <c:v>1402-07-29</c:v>
                </c:pt>
                <c:pt idx="375">
                  <c:v>1402-07-30</c:v>
                </c:pt>
                <c:pt idx="376">
                  <c:v>1402-08-01</c:v>
                </c:pt>
                <c:pt idx="377">
                  <c:v>1402-08-02</c:v>
                </c:pt>
                <c:pt idx="378">
                  <c:v>1402-08-03</c:v>
                </c:pt>
                <c:pt idx="379">
                  <c:v>1402-08-06</c:v>
                </c:pt>
                <c:pt idx="380">
                  <c:v>1402-08-07</c:v>
                </c:pt>
                <c:pt idx="381">
                  <c:v>1402-08-08</c:v>
                </c:pt>
                <c:pt idx="382">
                  <c:v>1402-08-09</c:v>
                </c:pt>
                <c:pt idx="383">
                  <c:v>1402-08-10</c:v>
                </c:pt>
                <c:pt idx="384">
                  <c:v>1402-08-13</c:v>
                </c:pt>
                <c:pt idx="385">
                  <c:v>1402-08-14</c:v>
                </c:pt>
                <c:pt idx="386">
                  <c:v>1402-08-15</c:v>
                </c:pt>
                <c:pt idx="387">
                  <c:v>1402-08-16</c:v>
                </c:pt>
                <c:pt idx="388">
                  <c:v>1402-08-17</c:v>
                </c:pt>
                <c:pt idx="389">
                  <c:v>1402-08-20</c:v>
                </c:pt>
                <c:pt idx="390">
                  <c:v>1402-08-21</c:v>
                </c:pt>
                <c:pt idx="391">
                  <c:v>1402-08-22</c:v>
                </c:pt>
                <c:pt idx="392">
                  <c:v>1402-08-23</c:v>
                </c:pt>
                <c:pt idx="393">
                  <c:v>1402-08-24</c:v>
                </c:pt>
                <c:pt idx="394">
                  <c:v>1402-08-27</c:v>
                </c:pt>
                <c:pt idx="395">
                  <c:v>1402-08-28</c:v>
                </c:pt>
                <c:pt idx="396">
                  <c:v>1402-08-29</c:v>
                </c:pt>
                <c:pt idx="397">
                  <c:v>1402-08-30</c:v>
                </c:pt>
                <c:pt idx="398">
                  <c:v>1402-09-01</c:v>
                </c:pt>
                <c:pt idx="399">
                  <c:v>1402-09-04</c:v>
                </c:pt>
                <c:pt idx="400">
                  <c:v>1402-09-05</c:v>
                </c:pt>
                <c:pt idx="401">
                  <c:v>1402-09-06</c:v>
                </c:pt>
                <c:pt idx="402">
                  <c:v>1402-09-07</c:v>
                </c:pt>
                <c:pt idx="403">
                  <c:v>1402-09-08</c:v>
                </c:pt>
                <c:pt idx="404">
                  <c:v>1402-09-11</c:v>
                </c:pt>
                <c:pt idx="405">
                  <c:v>1402-09-12</c:v>
                </c:pt>
                <c:pt idx="406">
                  <c:v>1402-09-13</c:v>
                </c:pt>
                <c:pt idx="407">
                  <c:v>1402-09-14</c:v>
                </c:pt>
                <c:pt idx="408">
                  <c:v>1402-09-15</c:v>
                </c:pt>
                <c:pt idx="409">
                  <c:v>1402-09-18</c:v>
                </c:pt>
                <c:pt idx="410">
                  <c:v>1402-09-19</c:v>
                </c:pt>
                <c:pt idx="411">
                  <c:v>1402-09-20</c:v>
                </c:pt>
                <c:pt idx="412">
                  <c:v>1402-09-21</c:v>
                </c:pt>
                <c:pt idx="413">
                  <c:v>1402-09-22</c:v>
                </c:pt>
                <c:pt idx="414">
                  <c:v>1402-09-25</c:v>
                </c:pt>
                <c:pt idx="415">
                  <c:v>1402-09-27</c:v>
                </c:pt>
                <c:pt idx="416">
                  <c:v>1402-09-28</c:v>
                </c:pt>
                <c:pt idx="417">
                  <c:v>1402-09-29</c:v>
                </c:pt>
                <c:pt idx="418">
                  <c:v>1402-10-02</c:v>
                </c:pt>
                <c:pt idx="419">
                  <c:v>1402-10-03</c:v>
                </c:pt>
                <c:pt idx="420">
                  <c:v>1402-10-04</c:v>
                </c:pt>
                <c:pt idx="421">
                  <c:v>1402-10-05</c:v>
                </c:pt>
                <c:pt idx="422">
                  <c:v>1402-10-06</c:v>
                </c:pt>
                <c:pt idx="423">
                  <c:v>1402-10-09</c:v>
                </c:pt>
                <c:pt idx="424">
                  <c:v>1402-10-10</c:v>
                </c:pt>
                <c:pt idx="425">
                  <c:v>1402-10-11</c:v>
                </c:pt>
                <c:pt idx="426">
                  <c:v>1402-10-12</c:v>
                </c:pt>
                <c:pt idx="427">
                  <c:v>1402-10-13</c:v>
                </c:pt>
                <c:pt idx="428">
                  <c:v>1402-10-16</c:v>
                </c:pt>
                <c:pt idx="429">
                  <c:v>1402-10-17</c:v>
                </c:pt>
                <c:pt idx="430">
                  <c:v>1402-10-18</c:v>
                </c:pt>
                <c:pt idx="431">
                  <c:v>1402-10-19</c:v>
                </c:pt>
                <c:pt idx="432">
                  <c:v>1402-10-20</c:v>
                </c:pt>
                <c:pt idx="433">
                  <c:v>1402-10-23</c:v>
                </c:pt>
                <c:pt idx="434">
                  <c:v>1402-10-24</c:v>
                </c:pt>
                <c:pt idx="435">
                  <c:v>1402-10-25</c:v>
                </c:pt>
                <c:pt idx="436">
                  <c:v>1402-10-26</c:v>
                </c:pt>
                <c:pt idx="437">
                  <c:v>1402-10-27</c:v>
                </c:pt>
                <c:pt idx="438">
                  <c:v>1402-10-30</c:v>
                </c:pt>
                <c:pt idx="439">
                  <c:v>1402-11-01</c:v>
                </c:pt>
                <c:pt idx="440">
                  <c:v>1402-11-02</c:v>
                </c:pt>
                <c:pt idx="441">
                  <c:v>1402-11-03</c:v>
                </c:pt>
                <c:pt idx="442">
                  <c:v>1402-11-04</c:v>
                </c:pt>
                <c:pt idx="443">
                  <c:v>1402-11-07</c:v>
                </c:pt>
                <c:pt idx="444">
                  <c:v>1402-11-08</c:v>
                </c:pt>
                <c:pt idx="445">
                  <c:v>1402-11-09</c:v>
                </c:pt>
                <c:pt idx="446">
                  <c:v>1402-11-10</c:v>
                </c:pt>
                <c:pt idx="447">
                  <c:v>1402-11-11</c:v>
                </c:pt>
                <c:pt idx="448">
                  <c:v>1402-11-14</c:v>
                </c:pt>
                <c:pt idx="449">
                  <c:v>1402-11-15</c:v>
                </c:pt>
                <c:pt idx="450">
                  <c:v>1402-11-16</c:v>
                </c:pt>
                <c:pt idx="451">
                  <c:v>1402-11-17</c:v>
                </c:pt>
                <c:pt idx="452">
                  <c:v>1402-11-18</c:v>
                </c:pt>
                <c:pt idx="453">
                  <c:v>1402-11-21</c:v>
                </c:pt>
                <c:pt idx="454">
                  <c:v>1402-11-23</c:v>
                </c:pt>
                <c:pt idx="455">
                  <c:v>1402-11-24</c:v>
                </c:pt>
                <c:pt idx="456">
                  <c:v>1402-11-25</c:v>
                </c:pt>
                <c:pt idx="457">
                  <c:v>1402-11-28</c:v>
                </c:pt>
                <c:pt idx="458">
                  <c:v>1402-11-29</c:v>
                </c:pt>
                <c:pt idx="459">
                  <c:v>1402-11-30</c:v>
                </c:pt>
                <c:pt idx="460">
                  <c:v>1402-12-01</c:v>
                </c:pt>
                <c:pt idx="461">
                  <c:v>1402-12-02</c:v>
                </c:pt>
                <c:pt idx="462">
                  <c:v>1402-12-05</c:v>
                </c:pt>
                <c:pt idx="463">
                  <c:v>1402-12-07</c:v>
                </c:pt>
                <c:pt idx="464">
                  <c:v>1402-12-08</c:v>
                </c:pt>
                <c:pt idx="465">
                  <c:v>1402-12-09</c:v>
                </c:pt>
                <c:pt idx="466">
                  <c:v>1402-12-12</c:v>
                </c:pt>
                <c:pt idx="467">
                  <c:v>1402-12-13</c:v>
                </c:pt>
                <c:pt idx="468">
                  <c:v>1402-12-14</c:v>
                </c:pt>
                <c:pt idx="469">
                  <c:v>1402-12-15</c:v>
                </c:pt>
                <c:pt idx="470">
                  <c:v>1402-12-16</c:v>
                </c:pt>
                <c:pt idx="471">
                  <c:v>1402-12-19</c:v>
                </c:pt>
                <c:pt idx="472">
                  <c:v>1402-12-20</c:v>
                </c:pt>
                <c:pt idx="473">
                  <c:v>1402-12-21</c:v>
                </c:pt>
                <c:pt idx="474">
                  <c:v>1402-12-22</c:v>
                </c:pt>
                <c:pt idx="475">
                  <c:v>1402-12-23</c:v>
                </c:pt>
                <c:pt idx="476">
                  <c:v>1402-12-26</c:v>
                </c:pt>
                <c:pt idx="477">
                  <c:v>1402-12-27</c:v>
                </c:pt>
                <c:pt idx="478">
                  <c:v>1402-12-28</c:v>
                </c:pt>
                <c:pt idx="479">
                  <c:v>1403-01-05</c:v>
                </c:pt>
                <c:pt idx="480">
                  <c:v>1403-01-06</c:v>
                </c:pt>
                <c:pt idx="481">
                  <c:v>1403-01-07</c:v>
                </c:pt>
                <c:pt idx="482">
                  <c:v>1403-01-08</c:v>
                </c:pt>
                <c:pt idx="483">
                  <c:v>1403-01-11</c:v>
                </c:pt>
                <c:pt idx="484">
                  <c:v>1403-01-14</c:v>
                </c:pt>
                <c:pt idx="485">
                  <c:v>1403-01-15</c:v>
                </c:pt>
                <c:pt idx="486">
                  <c:v>1403-01-18</c:v>
                </c:pt>
                <c:pt idx="487">
                  <c:v>1403-01-19</c:v>
                </c:pt>
                <c:pt idx="488">
                  <c:v>1403-01-20</c:v>
                </c:pt>
                <c:pt idx="489">
                  <c:v>1403-01-21</c:v>
                </c:pt>
                <c:pt idx="490">
                  <c:v>1403-01-25</c:v>
                </c:pt>
                <c:pt idx="491">
                  <c:v>1403-01-26</c:v>
                </c:pt>
                <c:pt idx="492">
                  <c:v>1403-01-27</c:v>
                </c:pt>
                <c:pt idx="493">
                  <c:v>1403-01-28</c:v>
                </c:pt>
                <c:pt idx="494">
                  <c:v>1403-01-29</c:v>
                </c:pt>
                <c:pt idx="495">
                  <c:v>1403-02-01</c:v>
                </c:pt>
                <c:pt idx="496">
                  <c:v>1403-02-02</c:v>
                </c:pt>
                <c:pt idx="497">
                  <c:v>1403-02-03</c:v>
                </c:pt>
                <c:pt idx="498">
                  <c:v>1403-02-04</c:v>
                </c:pt>
                <c:pt idx="499">
                  <c:v>1403-02-05</c:v>
                </c:pt>
                <c:pt idx="500">
                  <c:v>1403-02-08</c:v>
                </c:pt>
                <c:pt idx="501">
                  <c:v>1403-02-09</c:v>
                </c:pt>
                <c:pt idx="502">
                  <c:v>1403-02-10</c:v>
                </c:pt>
                <c:pt idx="503">
                  <c:v>1403-02-11</c:v>
                </c:pt>
                <c:pt idx="504">
                  <c:v>1403-02-12</c:v>
                </c:pt>
                <c:pt idx="505">
                  <c:v>1403-02-16</c:v>
                </c:pt>
                <c:pt idx="506">
                  <c:v>1403-02-17</c:v>
                </c:pt>
                <c:pt idx="507">
                  <c:v>1403-02-18</c:v>
                </c:pt>
                <c:pt idx="508">
                  <c:v>1403-02-19</c:v>
                </c:pt>
                <c:pt idx="509">
                  <c:v>1403-02-22</c:v>
                </c:pt>
                <c:pt idx="510">
                  <c:v>1403-02-23</c:v>
                </c:pt>
                <c:pt idx="511">
                  <c:v>1403-02-24</c:v>
                </c:pt>
                <c:pt idx="512">
                  <c:v>1403-02-25</c:v>
                </c:pt>
                <c:pt idx="513">
                  <c:v>1403-02-26</c:v>
                </c:pt>
                <c:pt idx="514">
                  <c:v>1403-02-29</c:v>
                </c:pt>
                <c:pt idx="515">
                  <c:v>1403-02-30</c:v>
                </c:pt>
                <c:pt idx="516">
                  <c:v>1403-03-01</c:v>
                </c:pt>
                <c:pt idx="517">
                  <c:v>1403-03-05</c:v>
                </c:pt>
                <c:pt idx="518">
                  <c:v>1403-03-06</c:v>
                </c:pt>
                <c:pt idx="519">
                  <c:v>1403-03-07</c:v>
                </c:pt>
                <c:pt idx="520">
                  <c:v>1403-03-08</c:v>
                </c:pt>
                <c:pt idx="521">
                  <c:v>1403-03-09</c:v>
                </c:pt>
                <c:pt idx="522">
                  <c:v>1403-03-12</c:v>
                </c:pt>
                <c:pt idx="523">
                  <c:v>1403-03-13</c:v>
                </c:pt>
                <c:pt idx="524">
                  <c:v>1403-03-16</c:v>
                </c:pt>
                <c:pt idx="525">
                  <c:v>1403-03-19</c:v>
                </c:pt>
                <c:pt idx="526">
                  <c:v>1403-03-20</c:v>
                </c:pt>
                <c:pt idx="527">
                  <c:v>1403-03-21</c:v>
                </c:pt>
                <c:pt idx="528">
                  <c:v>1403-03-22</c:v>
                </c:pt>
                <c:pt idx="529">
                  <c:v>1403-03-23</c:v>
                </c:pt>
                <c:pt idx="530">
                  <c:v>1403-03-26</c:v>
                </c:pt>
                <c:pt idx="531">
                  <c:v>1403-03-27</c:v>
                </c:pt>
                <c:pt idx="532">
                  <c:v>1403-03-29</c:v>
                </c:pt>
                <c:pt idx="533">
                  <c:v>1403-03-30</c:v>
                </c:pt>
                <c:pt idx="534">
                  <c:v>1403-04-02</c:v>
                </c:pt>
                <c:pt idx="535">
                  <c:v>1403-04-03</c:v>
                </c:pt>
                <c:pt idx="536">
                  <c:v>1403-04-04</c:v>
                </c:pt>
                <c:pt idx="537">
                  <c:v>1403-04-06</c:v>
                </c:pt>
                <c:pt idx="538">
                  <c:v>1403-04-09</c:v>
                </c:pt>
                <c:pt idx="539">
                  <c:v>1403-04-10</c:v>
                </c:pt>
                <c:pt idx="540">
                  <c:v>1403-04-11</c:v>
                </c:pt>
                <c:pt idx="541">
                  <c:v>1403-04-12</c:v>
                </c:pt>
                <c:pt idx="542">
                  <c:v>1403-04-13</c:v>
                </c:pt>
                <c:pt idx="543">
                  <c:v>1403-04-16</c:v>
                </c:pt>
                <c:pt idx="544">
                  <c:v>1403-04-17</c:v>
                </c:pt>
                <c:pt idx="545">
                  <c:v>1403-04-18</c:v>
                </c:pt>
                <c:pt idx="546">
                  <c:v>1403-04-19</c:v>
                </c:pt>
                <c:pt idx="547">
                  <c:v>1403-04-20</c:v>
                </c:pt>
                <c:pt idx="548">
                  <c:v>1403-04-23</c:v>
                </c:pt>
                <c:pt idx="549">
                  <c:v>1403-04-24</c:v>
                </c:pt>
                <c:pt idx="550">
                  <c:v>1403-04-27</c:v>
                </c:pt>
                <c:pt idx="551">
                  <c:v>1403-04-30</c:v>
                </c:pt>
                <c:pt idx="552">
                  <c:v>1403-04-31</c:v>
                </c:pt>
                <c:pt idx="553">
                  <c:v>1403-05-01</c:v>
                </c:pt>
                <c:pt idx="554">
                  <c:v>1403-05-02</c:v>
                </c:pt>
                <c:pt idx="555">
                  <c:v>1403-05-03</c:v>
                </c:pt>
                <c:pt idx="556">
                  <c:v>1403-05-06</c:v>
                </c:pt>
                <c:pt idx="557">
                  <c:v>1403-05-08</c:v>
                </c:pt>
                <c:pt idx="558">
                  <c:v>1403-05-09</c:v>
                </c:pt>
                <c:pt idx="559">
                  <c:v>1403-05-10</c:v>
                </c:pt>
                <c:pt idx="560">
                  <c:v>1403-05-13</c:v>
                </c:pt>
                <c:pt idx="561">
                  <c:v>1403-05-14</c:v>
                </c:pt>
                <c:pt idx="562">
                  <c:v>1403-05-15</c:v>
                </c:pt>
                <c:pt idx="563">
                  <c:v>1403-05-16</c:v>
                </c:pt>
                <c:pt idx="564">
                  <c:v>1403-05-20</c:v>
                </c:pt>
                <c:pt idx="565">
                  <c:v>1403-05-21</c:v>
                </c:pt>
                <c:pt idx="566">
                  <c:v>1403-05-22</c:v>
                </c:pt>
                <c:pt idx="567">
                  <c:v>1403-05-23</c:v>
                </c:pt>
                <c:pt idx="568">
                  <c:v>1403-05-24</c:v>
                </c:pt>
                <c:pt idx="569">
                  <c:v>1403-05-27</c:v>
                </c:pt>
                <c:pt idx="570">
                  <c:v>1403-05-28</c:v>
                </c:pt>
                <c:pt idx="571">
                  <c:v>1403-05-29</c:v>
                </c:pt>
                <c:pt idx="572">
                  <c:v>1403-05-30</c:v>
                </c:pt>
                <c:pt idx="573">
                  <c:v>1403-05-31</c:v>
                </c:pt>
                <c:pt idx="574">
                  <c:v> 1403-06-03 </c:v>
                </c:pt>
                <c:pt idx="575">
                  <c:v> 1403-06-05 </c:v>
                </c:pt>
                <c:pt idx="576">
                  <c:v> 1403-06-06 </c:v>
                </c:pt>
                <c:pt idx="577">
                  <c:v> 1403-06-07 </c:v>
                </c:pt>
                <c:pt idx="578">
                  <c:v> 1403-06-10 </c:v>
                </c:pt>
                <c:pt idx="579">
                  <c:v> 1403-06-11 </c:v>
                </c:pt>
                <c:pt idx="580">
                  <c:v> 1403-06-13 </c:v>
                </c:pt>
                <c:pt idx="581">
                  <c:v> 1403-06-17 </c:v>
                </c:pt>
                <c:pt idx="582">
                  <c:v> 1403-06-18 </c:v>
                </c:pt>
                <c:pt idx="583">
                  <c:v> 1403-06-19 </c:v>
                </c:pt>
                <c:pt idx="584">
                  <c:v> 1403-06-20 </c:v>
                </c:pt>
                <c:pt idx="585">
                  <c:v> 1403-06-21 </c:v>
                </c:pt>
                <c:pt idx="586">
                  <c:v> 1403-06-24 </c:v>
                </c:pt>
                <c:pt idx="587">
                  <c:v> 1403-06-25 </c:v>
                </c:pt>
                <c:pt idx="588">
                  <c:v> 1403-06-26 </c:v>
                </c:pt>
                <c:pt idx="589">
                  <c:v> 1403-06-27 </c:v>
                </c:pt>
                <c:pt idx="590">
                  <c:v> 1403-06-28 </c:v>
                </c:pt>
                <c:pt idx="591">
                  <c:v> 1403-07-01 </c:v>
                </c:pt>
                <c:pt idx="592">
                  <c:v> 1403-07-02 </c:v>
                </c:pt>
                <c:pt idx="593">
                  <c:v> 1403-07-03 </c:v>
                </c:pt>
                <c:pt idx="594">
                  <c:v> 1403-07-04 </c:v>
                </c:pt>
                <c:pt idx="595">
                  <c:v> 1403-07-07 </c:v>
                </c:pt>
                <c:pt idx="596">
                  <c:v> 1403-07-08 </c:v>
                </c:pt>
                <c:pt idx="597">
                  <c:v> 1403-07-09 </c:v>
                </c:pt>
                <c:pt idx="598">
                  <c:v> 1403-07-10 </c:v>
                </c:pt>
                <c:pt idx="599">
                  <c:v> 1403-07-11 </c:v>
                </c:pt>
                <c:pt idx="600">
                  <c:v> 1403-07-14 </c:v>
                </c:pt>
                <c:pt idx="601">
                  <c:v> 1403-07-15 </c:v>
                </c:pt>
                <c:pt idx="602">
                  <c:v> 1403-07-16 </c:v>
                </c:pt>
                <c:pt idx="603">
                  <c:v> 1403-07-17 </c:v>
                </c:pt>
                <c:pt idx="604">
                  <c:v> 1403-07-18 </c:v>
                </c:pt>
                <c:pt idx="605">
                  <c:v> 1403-07-21 </c:v>
                </c:pt>
                <c:pt idx="606">
                  <c:v> 1403-07-22 </c:v>
                </c:pt>
                <c:pt idx="607">
                  <c:v> 1403-07-23 </c:v>
                </c:pt>
                <c:pt idx="608">
                  <c:v> 1403-07-24 </c:v>
                </c:pt>
                <c:pt idx="609">
                  <c:v> 1403-07-25 </c:v>
                </c:pt>
                <c:pt idx="610">
                  <c:v> 1403-07-28 </c:v>
                </c:pt>
                <c:pt idx="611">
                  <c:v> 1403-07-29 </c:v>
                </c:pt>
                <c:pt idx="612">
                  <c:v> 1403-07-30 </c:v>
                </c:pt>
                <c:pt idx="613">
                  <c:v> 1403-08-01 </c:v>
                </c:pt>
                <c:pt idx="614">
                  <c:v> 1403-08-02 </c:v>
                </c:pt>
                <c:pt idx="615">
                  <c:v> 1403-08-05 </c:v>
                </c:pt>
                <c:pt idx="616">
                  <c:v> 1403-08-06 </c:v>
                </c:pt>
                <c:pt idx="617">
                  <c:v> 1403-08-07 </c:v>
                </c:pt>
                <c:pt idx="618">
                  <c:v> 1403-08-08 </c:v>
                </c:pt>
                <c:pt idx="619">
                  <c:v> 1403-08-09 </c:v>
                </c:pt>
                <c:pt idx="620">
                  <c:v> 1403-08-12 </c:v>
                </c:pt>
                <c:pt idx="621">
                  <c:v> 1403-08-13 </c:v>
                </c:pt>
                <c:pt idx="622">
                  <c:v> 1403-08-14 </c:v>
                </c:pt>
                <c:pt idx="623">
                  <c:v> 1403-08-15 </c:v>
                </c:pt>
                <c:pt idx="624">
                  <c:v> 1403-08-16 </c:v>
                </c:pt>
                <c:pt idx="625">
                  <c:v> 1403-08-19 </c:v>
                </c:pt>
                <c:pt idx="626">
                  <c:v> 1403-08-20 </c:v>
                </c:pt>
                <c:pt idx="627">
                  <c:v> 1403-08-21 </c:v>
                </c:pt>
                <c:pt idx="628">
                  <c:v> 1403-08-22 </c:v>
                </c:pt>
                <c:pt idx="629">
                  <c:v> 1403-08-23 </c:v>
                </c:pt>
                <c:pt idx="630">
                  <c:v> 1403-08-26 </c:v>
                </c:pt>
                <c:pt idx="631">
                  <c:v> 1403-08-27 </c:v>
                </c:pt>
                <c:pt idx="632">
                  <c:v> 1403-08-28 </c:v>
                </c:pt>
                <c:pt idx="633">
                  <c:v> 1403-08-29 </c:v>
                </c:pt>
                <c:pt idx="634">
                  <c:v> 1403-08-30 </c:v>
                </c:pt>
                <c:pt idx="635">
                  <c:v> 1403-09-03 </c:v>
                </c:pt>
                <c:pt idx="636">
                  <c:v> 1403-09-04 </c:v>
                </c:pt>
                <c:pt idx="637">
                  <c:v> 1403-09-05 </c:v>
                </c:pt>
                <c:pt idx="638">
                  <c:v> 1403-09-06 </c:v>
                </c:pt>
                <c:pt idx="639">
                  <c:v> 1403-09-07 </c:v>
                </c:pt>
                <c:pt idx="640">
                  <c:v> 1403-09-10 </c:v>
                </c:pt>
                <c:pt idx="641">
                  <c:v> 1403-09-11 </c:v>
                </c:pt>
                <c:pt idx="642">
                  <c:v> 1403-09-12 </c:v>
                </c:pt>
                <c:pt idx="643">
                  <c:v> 1403-09-13 </c:v>
                </c:pt>
                <c:pt idx="644">
                  <c:v> 1403-09-14 </c:v>
                </c:pt>
                <c:pt idx="645">
                  <c:v> 1403-09-17 </c:v>
                </c:pt>
                <c:pt idx="646">
                  <c:v> 1403-09-18 </c:v>
                </c:pt>
                <c:pt idx="647">
                  <c:v> 1403-09-19 </c:v>
                </c:pt>
                <c:pt idx="648">
                  <c:v> 1403-09-20 </c:v>
                </c:pt>
                <c:pt idx="649">
                  <c:v> 1403-09-21 </c:v>
                </c:pt>
                <c:pt idx="650">
                  <c:v> 1403-09-24 </c:v>
                </c:pt>
                <c:pt idx="651">
                  <c:v> 1403-09-25 </c:v>
                </c:pt>
                <c:pt idx="652">
                  <c:v> 1403-09-26 </c:v>
                </c:pt>
                <c:pt idx="653">
                  <c:v> 1403-09-27 </c:v>
                </c:pt>
                <c:pt idx="654">
                  <c:v> 1403-09-28 </c:v>
                </c:pt>
                <c:pt idx="655">
                  <c:v> 1403-10-01 </c:v>
                </c:pt>
                <c:pt idx="656">
                  <c:v> 1403-10-02 </c:v>
                </c:pt>
                <c:pt idx="657">
                  <c:v> 1403-10-03 </c:v>
                </c:pt>
                <c:pt idx="658">
                  <c:v> 1403-10-04 </c:v>
                </c:pt>
                <c:pt idx="659">
                  <c:v> 1403-10-05 </c:v>
                </c:pt>
                <c:pt idx="660">
                  <c:v> 1403-10-08 </c:v>
                </c:pt>
                <c:pt idx="661">
                  <c:v> 1403-10-09 </c:v>
                </c:pt>
                <c:pt idx="662">
                  <c:v> 1403-10-10 </c:v>
                </c:pt>
                <c:pt idx="663">
                  <c:v> 1403-10-11 </c:v>
                </c:pt>
                <c:pt idx="664">
                  <c:v> 1403-10-12 </c:v>
                </c:pt>
                <c:pt idx="665">
                  <c:v> 1403-10-15 </c:v>
                </c:pt>
                <c:pt idx="666">
                  <c:v> 1403-10-16 </c:v>
                </c:pt>
                <c:pt idx="667">
                  <c:v> 1403-10-17 </c:v>
                </c:pt>
                <c:pt idx="668">
                  <c:v> 1403-10-18 </c:v>
                </c:pt>
                <c:pt idx="669">
                  <c:v> 1403-10-19 </c:v>
                </c:pt>
                <c:pt idx="670">
                  <c:v> 1403-10-22 </c:v>
                </c:pt>
                <c:pt idx="671">
                  <c:v> 1403-10-23 </c:v>
                </c:pt>
                <c:pt idx="672">
                  <c:v> 1403-10-24 </c:v>
                </c:pt>
                <c:pt idx="673">
                  <c:v> 1403-10-26 </c:v>
                </c:pt>
                <c:pt idx="674">
                  <c:v> 1403-10-29 </c:v>
                </c:pt>
                <c:pt idx="675">
                  <c:v> 1403-10-30 </c:v>
                </c:pt>
                <c:pt idx="676">
                  <c:v> 1403-11-01 </c:v>
                </c:pt>
                <c:pt idx="677">
                  <c:v> 1403-11-02 </c:v>
                </c:pt>
                <c:pt idx="678">
                  <c:v> 1403-11-03 </c:v>
                </c:pt>
                <c:pt idx="679">
                  <c:v> 1403-11-06 </c:v>
                </c:pt>
                <c:pt idx="680">
                  <c:v> 1403-11-07 </c:v>
                </c:pt>
                <c:pt idx="681">
                  <c:v> 1403-11-08 </c:v>
                </c:pt>
                <c:pt idx="682">
                  <c:v> 1403-11-10 </c:v>
                </c:pt>
                <c:pt idx="683">
                  <c:v> 1403-11-13 </c:v>
                </c:pt>
                <c:pt idx="684">
                  <c:v> 1403-11-14 </c:v>
                </c:pt>
                <c:pt idx="685">
                  <c:v> 1403-11-15 </c:v>
                </c:pt>
                <c:pt idx="686">
                  <c:v> 1403-11-16 </c:v>
                </c:pt>
                <c:pt idx="687">
                  <c:v> 1403-11-17 </c:v>
                </c:pt>
                <c:pt idx="688">
                  <c:v> 1403-11-21 </c:v>
                </c:pt>
                <c:pt idx="689">
                  <c:v> 1403-11-23 </c:v>
                </c:pt>
                <c:pt idx="690">
                  <c:v> 1403-11-27 </c:v>
                </c:pt>
                <c:pt idx="691">
                  <c:v> 1403-11-28 </c:v>
                </c:pt>
                <c:pt idx="692">
                  <c:v> 1403-11-29 </c:v>
                </c:pt>
                <c:pt idx="693">
                  <c:v> 1403-11-30 </c:v>
                </c:pt>
                <c:pt idx="694">
                  <c:v> 1403-12-01 </c:v>
                </c:pt>
                <c:pt idx="695">
                  <c:v> 1403-12-04 </c:v>
                </c:pt>
                <c:pt idx="696">
                  <c:v> 1403-12-05 </c:v>
                </c:pt>
                <c:pt idx="697">
                  <c:v> 1403-12-06 </c:v>
                </c:pt>
                <c:pt idx="698">
                  <c:v> 1403-12-07 </c:v>
                </c:pt>
                <c:pt idx="699">
                  <c:v> 1403-12-08 </c:v>
                </c:pt>
                <c:pt idx="700">
                  <c:v> 1403-12-11 </c:v>
                </c:pt>
                <c:pt idx="701">
                  <c:v> 1403-12-12 </c:v>
                </c:pt>
                <c:pt idx="702">
                  <c:v> 1403-12-13 </c:v>
                </c:pt>
                <c:pt idx="703">
                  <c:v> 1403-12-14 </c:v>
                </c:pt>
                <c:pt idx="704">
                  <c:v> 1403-12-15 </c:v>
                </c:pt>
                <c:pt idx="705">
                  <c:v> 1403-12-18 </c:v>
                </c:pt>
                <c:pt idx="706">
                  <c:v> 1403-12-19 </c:v>
                </c:pt>
                <c:pt idx="707">
                  <c:v> 1403-12-20 </c:v>
                </c:pt>
                <c:pt idx="708">
                  <c:v> 1403-12-21 </c:v>
                </c:pt>
                <c:pt idx="709">
                  <c:v> 1403-12-22 </c:v>
                </c:pt>
              </c:strCache>
            </c:strRef>
          </c:cat>
          <c:val>
            <c:numRef>
              <c:f>'  بورس ایران-ارزش معاملات سهام '!$B$523</c:f>
              <c:numCache>
                <c:formatCode>_(* #,##0_);_(* \(#,##0\);_(* "-"??_);_(@_)</c:formatCode>
                <c:ptCount val="1"/>
                <c:pt idx="0">
                  <c:v>23467241.177117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00F-4AF7-A095-D4468AEA41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4388544"/>
        <c:axId val="1444391040"/>
      </c:lineChart>
      <c:catAx>
        <c:axId val="1444388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444391040"/>
        <c:crosses val="autoZero"/>
        <c:auto val="1"/>
        <c:lblAlgn val="ctr"/>
        <c:lblOffset val="100"/>
        <c:noMultiLvlLbl val="0"/>
      </c:catAx>
      <c:valAx>
        <c:axId val="1444391040"/>
        <c:scaling>
          <c:orientation val="minMax"/>
          <c:max val="2500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444388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/>
              <a:t>ارزش معاملات هفتگی  - میلیون ریال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dLbls>
            <c:dLbl>
              <c:idx val="19"/>
              <c:layout>
                <c:manualLayout>
                  <c:x val="-9.0030450850523015E-3"/>
                  <c:y val="2.96956198960647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65D-480F-A065-E3AEA49F2AAA}"/>
                </c:ext>
              </c:extLst>
            </c:dLbl>
            <c:dLbl>
              <c:idx val="20"/>
              <c:layout>
                <c:manualLayout>
                  <c:x val="-1.0503552599227667E-2"/>
                  <c:y val="5.939123979213065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65D-480F-A065-E3AEA49F2AAA}"/>
                </c:ext>
              </c:extLst>
            </c:dLbl>
            <c:dLbl>
              <c:idx val="21"/>
              <c:layout>
                <c:manualLayout>
                  <c:x val="-1.2004060113402923E-2"/>
                  <c:y val="2.96956198960650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65D-480F-A065-E3AEA49F2AAA}"/>
                </c:ext>
              </c:extLst>
            </c:dLbl>
            <c:dLbl>
              <c:idx val="22"/>
              <c:layout>
                <c:manualLayout>
                  <c:x val="-1.1003594656154905E-16"/>
                  <c:y val="-3.266518188567187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65D-480F-A065-E3AEA49F2A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  بورس ایران-ارزش معاملات سهام '!$G$66:$G$102</c:f>
              <c:strCache>
                <c:ptCount val="37"/>
                <c:pt idx="0">
                  <c:v>هفته منتهی به  1403/04/15</c:v>
                </c:pt>
                <c:pt idx="1">
                  <c:v>هفته منتهی به  1403/04/22</c:v>
                </c:pt>
                <c:pt idx="2">
                  <c:v>هفته منتهی به  1403/04/29</c:v>
                </c:pt>
                <c:pt idx="3">
                  <c:v>هفته منتهی به  1403/05/05</c:v>
                </c:pt>
                <c:pt idx="4">
                  <c:v>هفته منتهی به  1403/05/12</c:v>
                </c:pt>
                <c:pt idx="5">
                  <c:v>هفته منتهی به  1403/05/19</c:v>
                </c:pt>
                <c:pt idx="6">
                  <c:v>هفته منتهی به  1403/05/26</c:v>
                </c:pt>
                <c:pt idx="7">
                  <c:v>هفته منتهی به  1403/06/02</c:v>
                </c:pt>
                <c:pt idx="8">
                  <c:v>هفته منتهی به  1403/06/09</c:v>
                </c:pt>
                <c:pt idx="9">
                  <c:v>هفته منتهی به  1403/06/16</c:v>
                </c:pt>
                <c:pt idx="10">
                  <c:v>هفته منتهی به  1403/06/23</c:v>
                </c:pt>
                <c:pt idx="11">
                  <c:v>هفته منتهی به  1403/06/30</c:v>
                </c:pt>
                <c:pt idx="12">
                  <c:v>هفته منتهی به  1403/07/06</c:v>
                </c:pt>
                <c:pt idx="13">
                  <c:v>هفته منتهی به  1403/07/13</c:v>
                </c:pt>
                <c:pt idx="14">
                  <c:v>هفته منتهی به  1403/07/20</c:v>
                </c:pt>
                <c:pt idx="15">
                  <c:v>هفته منتهی به  1403/07/27</c:v>
                </c:pt>
                <c:pt idx="16">
                  <c:v>هفته منتهی به  1403/08/04</c:v>
                </c:pt>
                <c:pt idx="17">
                  <c:v>هفته منتهی به  1403/08/11</c:v>
                </c:pt>
                <c:pt idx="18">
                  <c:v>هفته منتهی به  1403/08/18</c:v>
                </c:pt>
                <c:pt idx="19">
                  <c:v>هفته منتهی به  1403/08/25</c:v>
                </c:pt>
                <c:pt idx="20">
                  <c:v>هفته منتهی به  1403/09/02</c:v>
                </c:pt>
                <c:pt idx="21">
                  <c:v>هفته منتهی به  1403/09/09</c:v>
                </c:pt>
                <c:pt idx="22">
                  <c:v>هفته منتهی به  1403/09/16</c:v>
                </c:pt>
                <c:pt idx="23">
                  <c:v>هفته منتهی به  1403/09/23</c:v>
                </c:pt>
                <c:pt idx="24">
                  <c:v>هفته منتهی به  1403/09/30</c:v>
                </c:pt>
                <c:pt idx="25">
                  <c:v>هفته منتهی به  1403/10/07</c:v>
                </c:pt>
                <c:pt idx="26">
                  <c:v>هفته منتهی به  1403/10/14</c:v>
                </c:pt>
                <c:pt idx="27">
                  <c:v>هفته منتهی به  1403/10/21</c:v>
                </c:pt>
                <c:pt idx="28">
                  <c:v>هفته منتهی به  1403/10/28</c:v>
                </c:pt>
                <c:pt idx="29">
                  <c:v>هفته منتهی به  1403/11/05</c:v>
                </c:pt>
                <c:pt idx="30">
                  <c:v>هفته منتهی به  1403/11/12</c:v>
                </c:pt>
                <c:pt idx="31">
                  <c:v>هفته منتهی به  1403/11/19</c:v>
                </c:pt>
                <c:pt idx="32">
                  <c:v>هفته منتهی به  1403/11/26</c:v>
                </c:pt>
                <c:pt idx="33">
                  <c:v>هفته منتهی به  1403/12/03</c:v>
                </c:pt>
                <c:pt idx="34">
                  <c:v>هفته منتهی به  1403/12/10</c:v>
                </c:pt>
                <c:pt idx="35">
                  <c:v>هفته منتهی به  1403/12/17</c:v>
                </c:pt>
                <c:pt idx="36">
                  <c:v>هفته منتهی به  1403/12/24</c:v>
                </c:pt>
              </c:strCache>
            </c:strRef>
          </c:cat>
          <c:val>
            <c:numRef>
              <c:f>'  بورس ایران-ارزش معاملات سهام '!$H$66:$H$102</c:f>
              <c:numCache>
                <c:formatCode>_(* #,##0_);_(* \(#,##0\);_(* "-"??_);_(@_)</c:formatCode>
                <c:ptCount val="37"/>
                <c:pt idx="0">
                  <c:v>45884239.863986485</c:v>
                </c:pt>
                <c:pt idx="1">
                  <c:v>27279614.320490941</c:v>
                </c:pt>
                <c:pt idx="2">
                  <c:v>39362662.471175604</c:v>
                </c:pt>
                <c:pt idx="3">
                  <c:v>30068726.167710602</c:v>
                </c:pt>
                <c:pt idx="4">
                  <c:v>38391916.977593504</c:v>
                </c:pt>
                <c:pt idx="5">
                  <c:v>26268970.836293001</c:v>
                </c:pt>
                <c:pt idx="6">
                  <c:v>16836410.513859399</c:v>
                </c:pt>
                <c:pt idx="7">
                  <c:v>22933936.711909402</c:v>
                </c:pt>
                <c:pt idx="8">
                  <c:v>22974869.3265654</c:v>
                </c:pt>
                <c:pt idx="9">
                  <c:v>32100240.911624998</c:v>
                </c:pt>
                <c:pt idx="10">
                  <c:v>34119278.5693326</c:v>
                </c:pt>
                <c:pt idx="11">
                  <c:v>37408367.558129497</c:v>
                </c:pt>
                <c:pt idx="12">
                  <c:v>50951365.379727498</c:v>
                </c:pt>
                <c:pt idx="13">
                  <c:v>24669284.297281802</c:v>
                </c:pt>
                <c:pt idx="14">
                  <c:v>19168711.291880801</c:v>
                </c:pt>
                <c:pt idx="15">
                  <c:v>32281566.784834199</c:v>
                </c:pt>
                <c:pt idx="16">
                  <c:v>22729840.601693999</c:v>
                </c:pt>
                <c:pt idx="17">
                  <c:v>43486316.644185595</c:v>
                </c:pt>
                <c:pt idx="18">
                  <c:v>32778621.069470998</c:v>
                </c:pt>
                <c:pt idx="19">
                  <c:v>54388236.992245398</c:v>
                </c:pt>
                <c:pt idx="20">
                  <c:v>79489589.141227007</c:v>
                </c:pt>
                <c:pt idx="21">
                  <c:v>100219362.07124479</c:v>
                </c:pt>
                <c:pt idx="22">
                  <c:v>104940163.6896098</c:v>
                </c:pt>
                <c:pt idx="23">
                  <c:v>120282487.9014494</c:v>
                </c:pt>
                <c:pt idx="24">
                  <c:v>150673393.8381266</c:v>
                </c:pt>
                <c:pt idx="25">
                  <c:v>138110722.289103</c:v>
                </c:pt>
                <c:pt idx="26">
                  <c:v>142639658.29749441</c:v>
                </c:pt>
                <c:pt idx="27">
                  <c:v>127199436.50848861</c:v>
                </c:pt>
                <c:pt idx="28">
                  <c:v>134065081.43689476</c:v>
                </c:pt>
                <c:pt idx="29">
                  <c:v>92119690.377130002</c:v>
                </c:pt>
                <c:pt idx="30">
                  <c:v>96344282.036230505</c:v>
                </c:pt>
                <c:pt idx="31">
                  <c:v>77691562.864600584</c:v>
                </c:pt>
                <c:pt idx="32">
                  <c:v>114600867.791289</c:v>
                </c:pt>
                <c:pt idx="33">
                  <c:v>68266775.687560812</c:v>
                </c:pt>
                <c:pt idx="34">
                  <c:v>78074812.104416251</c:v>
                </c:pt>
                <c:pt idx="35">
                  <c:v>93410478.178142175</c:v>
                </c:pt>
                <c:pt idx="36">
                  <c:v>65974874.7728497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5D-480F-A065-E3AEA49F2A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8837696"/>
        <c:axId val="338849760"/>
      </c:barChart>
      <c:catAx>
        <c:axId val="338837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38849760"/>
        <c:crosses val="autoZero"/>
        <c:auto val="1"/>
        <c:lblAlgn val="ctr"/>
        <c:lblOffset val="100"/>
        <c:noMultiLvlLbl val="0"/>
      </c:catAx>
      <c:valAx>
        <c:axId val="338849760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338837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/>
              <a:t>ارزش معاملات ماهانه  - میلیون ریال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  بورس ایران-ارزش معاملات سهام '!$L$63:$L$74</c:f>
              <c:strCache>
                <c:ptCount val="12"/>
                <c:pt idx="0">
                  <c:v>فروردین 1403</c:v>
                </c:pt>
                <c:pt idx="1">
                  <c:v>اردیبهشت 1403</c:v>
                </c:pt>
                <c:pt idx="2">
                  <c:v>خرداد 1403</c:v>
                </c:pt>
                <c:pt idx="3">
                  <c:v>تیر 1403</c:v>
                </c:pt>
                <c:pt idx="4">
                  <c:v>مرداد 1403</c:v>
                </c:pt>
                <c:pt idx="5">
                  <c:v>شهریور 1403</c:v>
                </c:pt>
                <c:pt idx="6">
                  <c:v>مهر 1403</c:v>
                </c:pt>
                <c:pt idx="7">
                  <c:v>آبان 1403</c:v>
                </c:pt>
                <c:pt idx="8">
                  <c:v>آذر1403</c:v>
                </c:pt>
                <c:pt idx="9">
                  <c:v>دی 1403</c:v>
                </c:pt>
                <c:pt idx="10">
                  <c:v>بهمن1403</c:v>
                </c:pt>
                <c:pt idx="11">
                  <c:v>اسفند1403</c:v>
                </c:pt>
              </c:strCache>
            </c:strRef>
          </c:cat>
          <c:val>
            <c:numRef>
              <c:f>'  بورس ایران-ارزش معاملات سهام '!$M$63:$M$74</c:f>
              <c:numCache>
                <c:formatCode>_(* #,##0_);_(* \(#,##0\);_(* "-"??_);_(@_)</c:formatCode>
                <c:ptCount val="12"/>
                <c:pt idx="0">
                  <c:v>47928591.829966314</c:v>
                </c:pt>
                <c:pt idx="1">
                  <c:v>45884239.863986485</c:v>
                </c:pt>
                <c:pt idx="2">
                  <c:v>27279614.320490941</c:v>
                </c:pt>
                <c:pt idx="3">
                  <c:v>38678460.671047576</c:v>
                </c:pt>
                <c:pt idx="4">
                  <c:v>26215195.608053382</c:v>
                </c:pt>
                <c:pt idx="5">
                  <c:v>33129547.91784288</c:v>
                </c:pt>
                <c:pt idx="6">
                  <c:v>29566095.456626128</c:v>
                </c:pt>
                <c:pt idx="7">
                  <c:v>50449545.817197911</c:v>
                </c:pt>
                <c:pt idx="8">
                  <c:v>119212615.98887038</c:v>
                </c:pt>
                <c:pt idx="9">
                  <c:v>132249672.95604423</c:v>
                </c:pt>
                <c:pt idx="10">
                  <c:v>92165849.144434229</c:v>
                </c:pt>
                <c:pt idx="11">
                  <c:v>78397785.4975208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B4-4129-8849-569A8A4C01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8837696"/>
        <c:axId val="338849760"/>
      </c:barChart>
      <c:catAx>
        <c:axId val="338837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38849760"/>
        <c:crosses val="autoZero"/>
        <c:auto val="1"/>
        <c:lblAlgn val="ctr"/>
        <c:lblOffset val="100"/>
        <c:noMultiLvlLbl val="0"/>
      </c:catAx>
      <c:valAx>
        <c:axId val="338849760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338837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 sz="1100"/>
              <a:t> ورود و خروج پول حقیقی</a:t>
            </a:r>
            <a:r>
              <a:rPr lang="en-US" sz="1100"/>
              <a:t> </a:t>
            </a:r>
            <a:r>
              <a:rPr lang="fa-IR" sz="1100"/>
              <a:t>از</a:t>
            </a:r>
            <a:r>
              <a:rPr lang="fa-IR" sz="1100" baseline="0"/>
              <a:t> ابتدای سال 1401 - میلیون ریال</a:t>
            </a:r>
            <a:r>
              <a:rPr lang="fa-IR" sz="1100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  بورس-خالص ورود حقیقی ارزش-بور'!$E$2</c:f>
              <c:strCache>
                <c:ptCount val="1"/>
                <c:pt idx="0">
                  <c:v> ورود و خروج پول حقیقی 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 w="9525"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cat>
            <c:strRef>
              <c:f>'  بورس-خالص ورود حقیقی ارزش-بور'!$B$3:$B$712</c:f>
              <c:strCache>
                <c:ptCount val="710"/>
                <c:pt idx="0">
                  <c:v> 1401-01-06 </c:v>
                </c:pt>
                <c:pt idx="1">
                  <c:v> 1401-01-07 </c:v>
                </c:pt>
                <c:pt idx="2">
                  <c:v> 1401-01-08 </c:v>
                </c:pt>
                <c:pt idx="3">
                  <c:v> 1401-01-09 </c:v>
                </c:pt>
                <c:pt idx="4">
                  <c:v> 1401-01-10 </c:v>
                </c:pt>
                <c:pt idx="5">
                  <c:v> 1401-01-14 </c:v>
                </c:pt>
                <c:pt idx="6">
                  <c:v> 1401-01-15 </c:v>
                </c:pt>
                <c:pt idx="7">
                  <c:v> 1401-01-16 </c:v>
                </c:pt>
                <c:pt idx="8">
                  <c:v> 1401-01-17 </c:v>
                </c:pt>
                <c:pt idx="9">
                  <c:v> 1401-01-20 </c:v>
                </c:pt>
                <c:pt idx="10">
                  <c:v> 1401-01-21 </c:v>
                </c:pt>
                <c:pt idx="11">
                  <c:v> 1401-01-22 </c:v>
                </c:pt>
                <c:pt idx="12">
                  <c:v> 1401-01-23 </c:v>
                </c:pt>
                <c:pt idx="13">
                  <c:v> 1401-01-24 </c:v>
                </c:pt>
                <c:pt idx="14">
                  <c:v> 1401-01-27 </c:v>
                </c:pt>
                <c:pt idx="15">
                  <c:v> 1401-01-28 </c:v>
                </c:pt>
                <c:pt idx="16">
                  <c:v> 1401-01-29 </c:v>
                </c:pt>
                <c:pt idx="17">
                  <c:v> 1401-01-30 </c:v>
                </c:pt>
                <c:pt idx="18">
                  <c:v> 1401-01-31 </c:v>
                </c:pt>
                <c:pt idx="19">
                  <c:v> 1401-02-04 </c:v>
                </c:pt>
                <c:pt idx="20">
                  <c:v> 1401-02-05 </c:v>
                </c:pt>
                <c:pt idx="21">
                  <c:v> 1401-02-06 </c:v>
                </c:pt>
                <c:pt idx="22">
                  <c:v> 1401-02-07 </c:v>
                </c:pt>
                <c:pt idx="23">
                  <c:v> 1401-02-10 </c:v>
                </c:pt>
                <c:pt idx="24">
                  <c:v> 1401-02-11 </c:v>
                </c:pt>
                <c:pt idx="25">
                  <c:v> 1401-02-12 </c:v>
                </c:pt>
                <c:pt idx="26">
                  <c:v> 1401-02-17 </c:v>
                </c:pt>
                <c:pt idx="27">
                  <c:v> 1401-02-18 </c:v>
                </c:pt>
                <c:pt idx="28">
                  <c:v> 1401-02-19 </c:v>
                </c:pt>
                <c:pt idx="29">
                  <c:v> 1401-02-20 </c:v>
                </c:pt>
                <c:pt idx="30">
                  <c:v> 1401-02-21 </c:v>
                </c:pt>
                <c:pt idx="31">
                  <c:v> 1401-02-24 </c:v>
                </c:pt>
                <c:pt idx="32">
                  <c:v> 1401-02-25 </c:v>
                </c:pt>
                <c:pt idx="33">
                  <c:v> 1401-02-26 </c:v>
                </c:pt>
                <c:pt idx="34">
                  <c:v> 1401-02-27 </c:v>
                </c:pt>
                <c:pt idx="35">
                  <c:v> 1401-02-28 </c:v>
                </c:pt>
                <c:pt idx="36">
                  <c:v> 1401-02-31 </c:v>
                </c:pt>
                <c:pt idx="37">
                  <c:v> 1401-03-01 </c:v>
                </c:pt>
                <c:pt idx="38">
                  <c:v> 1401-03-02 </c:v>
                </c:pt>
                <c:pt idx="39">
                  <c:v> 1401-03-03 </c:v>
                </c:pt>
                <c:pt idx="40">
                  <c:v> 1401-03-04 </c:v>
                </c:pt>
                <c:pt idx="41">
                  <c:v> 1401-03-07 </c:v>
                </c:pt>
                <c:pt idx="42">
                  <c:v> 1401-03-08 </c:v>
                </c:pt>
                <c:pt idx="43">
                  <c:v> 1401-03-09 </c:v>
                </c:pt>
                <c:pt idx="44">
                  <c:v> 1401-03-10 </c:v>
                </c:pt>
                <c:pt idx="45">
                  <c:v> 1401-03-11 </c:v>
                </c:pt>
                <c:pt idx="46">
                  <c:v> 1401-03-16 </c:v>
                </c:pt>
                <c:pt idx="47">
                  <c:v> 1401-03-17 </c:v>
                </c:pt>
                <c:pt idx="48">
                  <c:v> 1401-03-18 </c:v>
                </c:pt>
                <c:pt idx="49">
                  <c:v> 1401-03-21 </c:v>
                </c:pt>
                <c:pt idx="50">
                  <c:v> 1401-03-22 </c:v>
                </c:pt>
                <c:pt idx="51">
                  <c:v> 1401-03-23 </c:v>
                </c:pt>
                <c:pt idx="52">
                  <c:v> 1401-03-24 </c:v>
                </c:pt>
                <c:pt idx="53">
                  <c:v> 1401-03-25 </c:v>
                </c:pt>
                <c:pt idx="54">
                  <c:v> 1401-03-28 </c:v>
                </c:pt>
                <c:pt idx="55">
                  <c:v> 1401-03-29 </c:v>
                </c:pt>
                <c:pt idx="56">
                  <c:v> 1401-03-30 </c:v>
                </c:pt>
                <c:pt idx="57">
                  <c:v> 1401-03-31 </c:v>
                </c:pt>
                <c:pt idx="58">
                  <c:v> 1401-04-01 </c:v>
                </c:pt>
                <c:pt idx="59">
                  <c:v> 1401-04-04 </c:v>
                </c:pt>
                <c:pt idx="60">
                  <c:v> 1401-04-05 </c:v>
                </c:pt>
                <c:pt idx="61">
                  <c:v> 1401-04-06 </c:v>
                </c:pt>
                <c:pt idx="62">
                  <c:v> 1401-04-07 </c:v>
                </c:pt>
                <c:pt idx="63">
                  <c:v> 1401-04-08 </c:v>
                </c:pt>
                <c:pt idx="64">
                  <c:v> 1401-04-11 </c:v>
                </c:pt>
                <c:pt idx="65">
                  <c:v> 1401-04-12 </c:v>
                </c:pt>
                <c:pt idx="66">
                  <c:v> 1401-04-13 </c:v>
                </c:pt>
                <c:pt idx="67">
                  <c:v> 1401-04-14 </c:v>
                </c:pt>
                <c:pt idx="68">
                  <c:v> 1401-04-15 </c:v>
                </c:pt>
                <c:pt idx="69">
                  <c:v> 1401-04-20 </c:v>
                </c:pt>
                <c:pt idx="70">
                  <c:v> 1401-04-21 </c:v>
                </c:pt>
                <c:pt idx="71">
                  <c:v> 1401-04-22 </c:v>
                </c:pt>
                <c:pt idx="72">
                  <c:v> 1401-04-25 </c:v>
                </c:pt>
                <c:pt idx="73">
                  <c:v> 1401-04-26 </c:v>
                </c:pt>
                <c:pt idx="74">
                  <c:v> 1401-04-28 </c:v>
                </c:pt>
                <c:pt idx="75">
                  <c:v> 1401-04-29 </c:v>
                </c:pt>
                <c:pt idx="76">
                  <c:v> 1401-05-01 </c:v>
                </c:pt>
                <c:pt idx="77">
                  <c:v> 1401-05-02 </c:v>
                </c:pt>
                <c:pt idx="78">
                  <c:v> 1401-05-03 </c:v>
                </c:pt>
                <c:pt idx="79">
                  <c:v> 1401-05-04 </c:v>
                </c:pt>
                <c:pt idx="80">
                  <c:v> 1401-05-05 </c:v>
                </c:pt>
                <c:pt idx="81">
                  <c:v> 1401-05-08 </c:v>
                </c:pt>
                <c:pt idx="82">
                  <c:v> 1401-05-09 </c:v>
                </c:pt>
                <c:pt idx="83">
                  <c:v> 1401-05-10 </c:v>
                </c:pt>
                <c:pt idx="84">
                  <c:v> 1401-05-11 </c:v>
                </c:pt>
                <c:pt idx="85">
                  <c:v> 1401-05-12 </c:v>
                </c:pt>
                <c:pt idx="86">
                  <c:v> 1401-05-15 </c:v>
                </c:pt>
                <c:pt idx="87">
                  <c:v> 1401-05-18 </c:v>
                </c:pt>
                <c:pt idx="88">
                  <c:v> 1401-05-19 </c:v>
                </c:pt>
                <c:pt idx="89">
                  <c:v> 1401-05-22 </c:v>
                </c:pt>
                <c:pt idx="90">
                  <c:v> 1401-05-23 </c:v>
                </c:pt>
                <c:pt idx="91">
                  <c:v> 1401-05-24 </c:v>
                </c:pt>
                <c:pt idx="92">
                  <c:v> 1401-05-25 </c:v>
                </c:pt>
                <c:pt idx="93">
                  <c:v> 1401-05-26 </c:v>
                </c:pt>
                <c:pt idx="94">
                  <c:v> 1401-05-29 </c:v>
                </c:pt>
                <c:pt idx="95">
                  <c:v> 1401-05-30 </c:v>
                </c:pt>
                <c:pt idx="96">
                  <c:v> 1401-05-31 </c:v>
                </c:pt>
                <c:pt idx="97">
                  <c:v> 1401-06-01 </c:v>
                </c:pt>
                <c:pt idx="98">
                  <c:v> 1401-06-02 </c:v>
                </c:pt>
                <c:pt idx="99">
                  <c:v> 1401-06-05 </c:v>
                </c:pt>
                <c:pt idx="100">
                  <c:v> 1401-06-06 </c:v>
                </c:pt>
                <c:pt idx="101">
                  <c:v> 1401-06-07 </c:v>
                </c:pt>
                <c:pt idx="102">
                  <c:v> 1401-06-08 </c:v>
                </c:pt>
                <c:pt idx="103">
                  <c:v> 1401-06-09 </c:v>
                </c:pt>
                <c:pt idx="104">
                  <c:v> 1401-06-12 </c:v>
                </c:pt>
                <c:pt idx="105">
                  <c:v> 1401-06-13 </c:v>
                </c:pt>
                <c:pt idx="106">
                  <c:v> 1401-06-14 </c:v>
                </c:pt>
                <c:pt idx="107">
                  <c:v> 1401-06-15 </c:v>
                </c:pt>
                <c:pt idx="108">
                  <c:v> 1401-06-16 </c:v>
                </c:pt>
                <c:pt idx="109">
                  <c:v> 1401-06-19 </c:v>
                </c:pt>
                <c:pt idx="110">
                  <c:v> 1401-06-20 </c:v>
                </c:pt>
                <c:pt idx="111">
                  <c:v> 1401-06-21 </c:v>
                </c:pt>
                <c:pt idx="112">
                  <c:v> 1401-06-22 </c:v>
                </c:pt>
                <c:pt idx="113">
                  <c:v> 1401-06-23 </c:v>
                </c:pt>
                <c:pt idx="114">
                  <c:v> 1401-06-27 </c:v>
                </c:pt>
                <c:pt idx="115">
                  <c:v> 1401-06-28 </c:v>
                </c:pt>
                <c:pt idx="116">
                  <c:v> 1401-06-29 </c:v>
                </c:pt>
                <c:pt idx="117">
                  <c:v> 1401-06-30 </c:v>
                </c:pt>
                <c:pt idx="118">
                  <c:v> 1401-07-02 </c:v>
                </c:pt>
                <c:pt idx="119">
                  <c:v> 1401-07-04 </c:v>
                </c:pt>
                <c:pt idx="120">
                  <c:v> 1401-07-06 </c:v>
                </c:pt>
                <c:pt idx="121">
                  <c:v> 1401-07-09 </c:v>
                </c:pt>
                <c:pt idx="122">
                  <c:v> 1401-07-10 </c:v>
                </c:pt>
                <c:pt idx="123">
                  <c:v> 1401-07-11 </c:v>
                </c:pt>
                <c:pt idx="124">
                  <c:v> 1401-07-12 </c:v>
                </c:pt>
                <c:pt idx="125">
                  <c:v> 1401-07-16 </c:v>
                </c:pt>
                <c:pt idx="126">
                  <c:v> 1401-07-17 </c:v>
                </c:pt>
                <c:pt idx="127">
                  <c:v> 1401-07-18 </c:v>
                </c:pt>
                <c:pt idx="128">
                  <c:v> 1401-07-19 </c:v>
                </c:pt>
                <c:pt idx="129">
                  <c:v> 1401-07-20 </c:v>
                </c:pt>
                <c:pt idx="130">
                  <c:v> 1401-07-23 </c:v>
                </c:pt>
                <c:pt idx="131">
                  <c:v> 1401-07-24 </c:v>
                </c:pt>
                <c:pt idx="132">
                  <c:v> 1401-07-25 </c:v>
                </c:pt>
                <c:pt idx="133">
                  <c:v> 1401-07-26 </c:v>
                </c:pt>
                <c:pt idx="134">
                  <c:v> 1401-07-27 </c:v>
                </c:pt>
                <c:pt idx="135">
                  <c:v> 1401-07-30 </c:v>
                </c:pt>
                <c:pt idx="136">
                  <c:v> 1401-08-01 </c:v>
                </c:pt>
                <c:pt idx="137">
                  <c:v> 1401-08-02 </c:v>
                </c:pt>
                <c:pt idx="138">
                  <c:v> 1401-08-03 </c:v>
                </c:pt>
                <c:pt idx="139">
                  <c:v> 1401-08-04 </c:v>
                </c:pt>
                <c:pt idx="140">
                  <c:v> 1401-08-07 </c:v>
                </c:pt>
                <c:pt idx="141">
                  <c:v> 1401-08-08 </c:v>
                </c:pt>
                <c:pt idx="142">
                  <c:v> 1401-08-09 </c:v>
                </c:pt>
                <c:pt idx="143">
                  <c:v> 1401-08-10 </c:v>
                </c:pt>
                <c:pt idx="144">
                  <c:v> 1401-08-11 </c:v>
                </c:pt>
                <c:pt idx="145">
                  <c:v> 1401-08-14 </c:v>
                </c:pt>
                <c:pt idx="146">
                  <c:v> 1401-08-15 </c:v>
                </c:pt>
                <c:pt idx="147">
                  <c:v> 1401-08-16 </c:v>
                </c:pt>
                <c:pt idx="148">
                  <c:v> 1401-08-17 </c:v>
                </c:pt>
                <c:pt idx="149">
                  <c:v> 1401-08-18 </c:v>
                </c:pt>
                <c:pt idx="150">
                  <c:v> 1401-08-21 </c:v>
                </c:pt>
                <c:pt idx="151">
                  <c:v> 1401-08-22 </c:v>
                </c:pt>
                <c:pt idx="152">
                  <c:v> 1401-08-23 </c:v>
                </c:pt>
                <c:pt idx="153">
                  <c:v> 1401-08-24 </c:v>
                </c:pt>
                <c:pt idx="154">
                  <c:v> 1401-08-25 </c:v>
                </c:pt>
                <c:pt idx="155">
                  <c:v> 1401-08-28 </c:v>
                </c:pt>
                <c:pt idx="156">
                  <c:v> 1401-08-29 </c:v>
                </c:pt>
                <c:pt idx="157">
                  <c:v> 1401-08-30 </c:v>
                </c:pt>
                <c:pt idx="158">
                  <c:v> 1401-09-01 </c:v>
                </c:pt>
                <c:pt idx="159">
                  <c:v> 1401-09-02 </c:v>
                </c:pt>
                <c:pt idx="160">
                  <c:v> 1401-09-05 </c:v>
                </c:pt>
                <c:pt idx="161">
                  <c:v> 1401-09-06 </c:v>
                </c:pt>
                <c:pt idx="162">
                  <c:v> 1401-09-07 </c:v>
                </c:pt>
                <c:pt idx="163">
                  <c:v> 1401-09-08 </c:v>
                </c:pt>
                <c:pt idx="164">
                  <c:v> 1401-09-09 </c:v>
                </c:pt>
                <c:pt idx="165">
                  <c:v> 1401-09-12 </c:v>
                </c:pt>
                <c:pt idx="166">
                  <c:v> 1401-09-13 </c:v>
                </c:pt>
                <c:pt idx="167">
                  <c:v> 1401-09-14 </c:v>
                </c:pt>
                <c:pt idx="168">
                  <c:v> 1401-09-15 </c:v>
                </c:pt>
                <c:pt idx="169">
                  <c:v> 1401-09-16 </c:v>
                </c:pt>
                <c:pt idx="170">
                  <c:v> 1401-09-19 </c:v>
                </c:pt>
                <c:pt idx="171">
                  <c:v> 1401-09-20 </c:v>
                </c:pt>
                <c:pt idx="172">
                  <c:v> 1401-09-21 </c:v>
                </c:pt>
                <c:pt idx="173">
                  <c:v> 1401-09-22 </c:v>
                </c:pt>
                <c:pt idx="174">
                  <c:v> 1401-09-23 </c:v>
                </c:pt>
                <c:pt idx="175">
                  <c:v> 1401-09-26 </c:v>
                </c:pt>
                <c:pt idx="176">
                  <c:v> 1401-09-27 </c:v>
                </c:pt>
                <c:pt idx="177">
                  <c:v> 1401-09-28 </c:v>
                </c:pt>
                <c:pt idx="178">
                  <c:v> 1401-09-29 </c:v>
                </c:pt>
                <c:pt idx="179">
                  <c:v> 1401-09-30 </c:v>
                </c:pt>
                <c:pt idx="180">
                  <c:v> 1401-10-03 </c:v>
                </c:pt>
                <c:pt idx="181">
                  <c:v> 1401-10-04 </c:v>
                </c:pt>
                <c:pt idx="182">
                  <c:v> 1401-10-05 </c:v>
                </c:pt>
                <c:pt idx="183">
                  <c:v> 1401-10-07 </c:v>
                </c:pt>
                <c:pt idx="184">
                  <c:v> 1401-10-10 </c:v>
                </c:pt>
                <c:pt idx="185">
                  <c:v> 1401-10-11 </c:v>
                </c:pt>
                <c:pt idx="186">
                  <c:v> 1401-10-12 </c:v>
                </c:pt>
                <c:pt idx="187">
                  <c:v> 1401-10-13 </c:v>
                </c:pt>
                <c:pt idx="188">
                  <c:v> 1401-10-14 </c:v>
                </c:pt>
                <c:pt idx="189">
                  <c:v> 1401-10-17 </c:v>
                </c:pt>
                <c:pt idx="190">
                  <c:v> 1401-10-18 </c:v>
                </c:pt>
                <c:pt idx="191">
                  <c:v> 1401-10-19 </c:v>
                </c:pt>
                <c:pt idx="192">
                  <c:v> 1401-10-20 </c:v>
                </c:pt>
                <c:pt idx="193">
                  <c:v> 1401-10-21 </c:v>
                </c:pt>
                <c:pt idx="194">
                  <c:v> 1401-10-24 </c:v>
                </c:pt>
                <c:pt idx="195">
                  <c:v> 1401-10-26 </c:v>
                </c:pt>
                <c:pt idx="196">
                  <c:v> 1401-10-27 </c:v>
                </c:pt>
                <c:pt idx="197">
                  <c:v> 1401-10-28 </c:v>
                </c:pt>
                <c:pt idx="198">
                  <c:v> 1401-11-01 </c:v>
                </c:pt>
                <c:pt idx="199">
                  <c:v> 1401-11-02 </c:v>
                </c:pt>
                <c:pt idx="200">
                  <c:v> 1401-11-03 </c:v>
                </c:pt>
                <c:pt idx="201">
                  <c:v> 1401-11-04 </c:v>
                </c:pt>
                <c:pt idx="202">
                  <c:v> 1401-11-05 </c:v>
                </c:pt>
                <c:pt idx="203">
                  <c:v> 1401-11-08 </c:v>
                </c:pt>
                <c:pt idx="204">
                  <c:v> 1401-11-09 </c:v>
                </c:pt>
                <c:pt idx="205">
                  <c:v> 1401-11-10 </c:v>
                </c:pt>
                <c:pt idx="206">
                  <c:v> 1401-11-11 </c:v>
                </c:pt>
                <c:pt idx="207">
                  <c:v> 1401-11-12 </c:v>
                </c:pt>
                <c:pt idx="208">
                  <c:v> 1401-11-16 </c:v>
                </c:pt>
                <c:pt idx="209">
                  <c:v> 1401-11-17 </c:v>
                </c:pt>
                <c:pt idx="210">
                  <c:v> 1401-11-18 </c:v>
                </c:pt>
                <c:pt idx="211">
                  <c:v> 1401-11-19 </c:v>
                </c:pt>
                <c:pt idx="212">
                  <c:v> 1401-11-23 </c:v>
                </c:pt>
                <c:pt idx="213">
                  <c:v> 1401-11-24 </c:v>
                </c:pt>
                <c:pt idx="214">
                  <c:v> 1401-11-25 </c:v>
                </c:pt>
                <c:pt idx="215">
                  <c:v> 1401-11-26 </c:v>
                </c:pt>
                <c:pt idx="216">
                  <c:v> 1401-11-30 </c:v>
                </c:pt>
                <c:pt idx="217">
                  <c:v> 1401-12-01 </c:v>
                </c:pt>
                <c:pt idx="218">
                  <c:v> 1401-12-02 </c:v>
                </c:pt>
                <c:pt idx="219">
                  <c:v> 1401-12-03 </c:v>
                </c:pt>
                <c:pt idx="220">
                  <c:v> 1401-12-06 </c:v>
                </c:pt>
                <c:pt idx="221">
                  <c:v> 1401-12-07 </c:v>
                </c:pt>
                <c:pt idx="222">
                  <c:v> 1401-12-08 </c:v>
                </c:pt>
                <c:pt idx="223">
                  <c:v> 1401-12-09 </c:v>
                </c:pt>
                <c:pt idx="224">
                  <c:v> 1401-12-10 </c:v>
                </c:pt>
                <c:pt idx="225">
                  <c:v> 1401-12-13 </c:v>
                </c:pt>
                <c:pt idx="226">
                  <c:v> 1401-12-14 </c:v>
                </c:pt>
                <c:pt idx="227">
                  <c:v> 1401-12-15 </c:v>
                </c:pt>
                <c:pt idx="228">
                  <c:v> 1401-12-16 </c:v>
                </c:pt>
                <c:pt idx="229">
                  <c:v> 1401-12-20 </c:v>
                </c:pt>
                <c:pt idx="230">
                  <c:v> 1401-12-21 </c:v>
                </c:pt>
                <c:pt idx="231">
                  <c:v> 1401-12-22 </c:v>
                </c:pt>
                <c:pt idx="232">
                  <c:v> 1401-12-23 </c:v>
                </c:pt>
                <c:pt idx="233">
                  <c:v> 1401-12-24 </c:v>
                </c:pt>
                <c:pt idx="234">
                  <c:v> 1401-12-27 </c:v>
                </c:pt>
                <c:pt idx="235">
                  <c:v> 1401-12-28 </c:v>
                </c:pt>
                <c:pt idx="236">
                  <c:v> 1402-01-05 </c:v>
                </c:pt>
                <c:pt idx="237">
                  <c:v> 1402-01-06 </c:v>
                </c:pt>
                <c:pt idx="238">
                  <c:v> 1402-01-07 </c:v>
                </c:pt>
                <c:pt idx="239">
                  <c:v> 1402-01-08 </c:v>
                </c:pt>
                <c:pt idx="240">
                  <c:v> 1402-01-09 </c:v>
                </c:pt>
                <c:pt idx="241">
                  <c:v> 1402-01-14 </c:v>
                </c:pt>
                <c:pt idx="242">
                  <c:v> 1402-01-15 </c:v>
                </c:pt>
                <c:pt idx="243">
                  <c:v> 1402-01-16 </c:v>
                </c:pt>
                <c:pt idx="244">
                  <c:v> 1402-01-19 </c:v>
                </c:pt>
                <c:pt idx="245">
                  <c:v> 1402-01-20 </c:v>
                </c:pt>
                <c:pt idx="246">
                  <c:v> 1402-01-21 </c:v>
                </c:pt>
                <c:pt idx="247">
                  <c:v> 1402-01-22 </c:v>
                </c:pt>
                <c:pt idx="248">
                  <c:v> 1402-01-26 </c:v>
                </c:pt>
                <c:pt idx="249">
                  <c:v> 1402-01-27 </c:v>
                </c:pt>
                <c:pt idx="250">
                  <c:v> 1402-01-28 </c:v>
                </c:pt>
                <c:pt idx="251">
                  <c:v> 1402-01-29 </c:v>
                </c:pt>
                <c:pt idx="252">
                  <c:v> 1402-01-30 </c:v>
                </c:pt>
                <c:pt idx="253">
                  <c:v> 1402-02-04 </c:v>
                </c:pt>
                <c:pt idx="254">
                  <c:v> 1402-02-05 </c:v>
                </c:pt>
                <c:pt idx="255">
                  <c:v> 1402-02-06 </c:v>
                </c:pt>
                <c:pt idx="256">
                  <c:v> 1402-02-09 </c:v>
                </c:pt>
                <c:pt idx="257">
                  <c:v> 1402-02-10 </c:v>
                </c:pt>
                <c:pt idx="258">
                  <c:v> 1402-02-11 </c:v>
                </c:pt>
                <c:pt idx="259">
                  <c:v> 1402-02-12 </c:v>
                </c:pt>
                <c:pt idx="260">
                  <c:v> 1402-02-13 </c:v>
                </c:pt>
                <c:pt idx="261">
                  <c:v> 1402-02-16 </c:v>
                </c:pt>
                <c:pt idx="262">
                  <c:v> 1402-02-17 </c:v>
                </c:pt>
                <c:pt idx="263">
                  <c:v> 1402-02-18 </c:v>
                </c:pt>
                <c:pt idx="264">
                  <c:v> 1402-02-19 </c:v>
                </c:pt>
                <c:pt idx="265">
                  <c:v> 1402-02-20 </c:v>
                </c:pt>
                <c:pt idx="266">
                  <c:v> 1402-02-23 </c:v>
                </c:pt>
                <c:pt idx="267">
                  <c:v> 1402-02-24 </c:v>
                </c:pt>
                <c:pt idx="268">
                  <c:v> 1402-02-25 </c:v>
                </c:pt>
                <c:pt idx="269">
                  <c:v> 1402-02-27 </c:v>
                </c:pt>
                <c:pt idx="270">
                  <c:v> 1402-02-30 </c:v>
                </c:pt>
                <c:pt idx="271">
                  <c:v> 1402-02-31 </c:v>
                </c:pt>
                <c:pt idx="272">
                  <c:v> 1402-03-01 </c:v>
                </c:pt>
                <c:pt idx="273">
                  <c:v> 1402-03-02 </c:v>
                </c:pt>
                <c:pt idx="274">
                  <c:v> 1402-03-03 </c:v>
                </c:pt>
                <c:pt idx="275">
                  <c:v> 1402-03-06 </c:v>
                </c:pt>
                <c:pt idx="276">
                  <c:v> 1402-03-07 </c:v>
                </c:pt>
                <c:pt idx="277">
                  <c:v> 1402-03-08 </c:v>
                </c:pt>
                <c:pt idx="278">
                  <c:v> 1402-03-09 </c:v>
                </c:pt>
                <c:pt idx="279">
                  <c:v> 1402-03-10 </c:v>
                </c:pt>
                <c:pt idx="280">
                  <c:v> 1402-03-13 </c:v>
                </c:pt>
                <c:pt idx="281">
                  <c:v> 1402-03-16 </c:v>
                </c:pt>
                <c:pt idx="282">
                  <c:v> 1402-03-17 </c:v>
                </c:pt>
                <c:pt idx="283">
                  <c:v> 1402-03-20 </c:v>
                </c:pt>
                <c:pt idx="284">
                  <c:v> 1402-03-21 </c:v>
                </c:pt>
                <c:pt idx="285">
                  <c:v> 1402-03-22 </c:v>
                </c:pt>
                <c:pt idx="286">
                  <c:v> 1402-03-23 </c:v>
                </c:pt>
                <c:pt idx="287">
                  <c:v> 1402-03-24 </c:v>
                </c:pt>
                <c:pt idx="288">
                  <c:v> 1402-03-27 </c:v>
                </c:pt>
                <c:pt idx="289">
                  <c:v> 1402-03-28 </c:v>
                </c:pt>
                <c:pt idx="290">
                  <c:v> 1402-03-29 </c:v>
                </c:pt>
                <c:pt idx="291">
                  <c:v> 1402-03-30 </c:v>
                </c:pt>
                <c:pt idx="292">
                  <c:v> 1402-03-31 </c:v>
                </c:pt>
                <c:pt idx="293">
                  <c:v> 1402-04-03 </c:v>
                </c:pt>
                <c:pt idx="294">
                  <c:v> 1402-04-04 </c:v>
                </c:pt>
                <c:pt idx="295">
                  <c:v> 1402-04-05 </c:v>
                </c:pt>
                <c:pt idx="296">
                  <c:v> 1402-04-06 </c:v>
                </c:pt>
                <c:pt idx="297">
                  <c:v> 1402-04-07 </c:v>
                </c:pt>
                <c:pt idx="298">
                  <c:v> 1402-04-10 </c:v>
                </c:pt>
                <c:pt idx="299">
                  <c:v> 1402-04-11 </c:v>
                </c:pt>
                <c:pt idx="300">
                  <c:v> 1402-04-12 </c:v>
                </c:pt>
                <c:pt idx="301">
                  <c:v> 1402-04-13 </c:v>
                </c:pt>
                <c:pt idx="302">
                  <c:v> 1402-04-14 </c:v>
                </c:pt>
                <c:pt idx="303">
                  <c:v> 1402-04-17 </c:v>
                </c:pt>
                <c:pt idx="304">
                  <c:v> 1402-04-18 </c:v>
                </c:pt>
                <c:pt idx="305">
                  <c:v> 1402-04-19 </c:v>
                </c:pt>
                <c:pt idx="306">
                  <c:v> 1402-04-20 </c:v>
                </c:pt>
                <c:pt idx="307">
                  <c:v> 1402-04-21 </c:v>
                </c:pt>
                <c:pt idx="308">
                  <c:v> 1402-04-24 </c:v>
                </c:pt>
                <c:pt idx="309">
                  <c:v> 1402-04-25 </c:v>
                </c:pt>
                <c:pt idx="310">
                  <c:v> 1402-04-26 </c:v>
                </c:pt>
                <c:pt idx="311">
                  <c:v> 1402-04-27 </c:v>
                </c:pt>
                <c:pt idx="312">
                  <c:v> 1402-04-28 </c:v>
                </c:pt>
                <c:pt idx="313">
                  <c:v> 1402-04-31 </c:v>
                </c:pt>
                <c:pt idx="314">
                  <c:v> 1402-05-01 </c:v>
                </c:pt>
                <c:pt idx="315">
                  <c:v> 1402-05-02 </c:v>
                </c:pt>
                <c:pt idx="316">
                  <c:v> 1402-05-03 </c:v>
                </c:pt>
                <c:pt idx="317">
                  <c:v> 1402-05-04 </c:v>
                </c:pt>
                <c:pt idx="318">
                  <c:v> 1402-05-07 </c:v>
                </c:pt>
                <c:pt idx="319">
                  <c:v> 1402-05-08 </c:v>
                </c:pt>
                <c:pt idx="320">
                  <c:v> 1402-05-09 </c:v>
                </c:pt>
                <c:pt idx="321">
                  <c:v> 1402-05-10 </c:v>
                </c:pt>
                <c:pt idx="322">
                  <c:v> 1402-05-14 </c:v>
                </c:pt>
                <c:pt idx="323">
                  <c:v> 1402-05-15 </c:v>
                </c:pt>
                <c:pt idx="324">
                  <c:v> 1402-05-16 </c:v>
                </c:pt>
                <c:pt idx="325">
                  <c:v> 1402-05-17 </c:v>
                </c:pt>
                <c:pt idx="326">
                  <c:v> 1402-05-18 </c:v>
                </c:pt>
                <c:pt idx="327">
                  <c:v> 1402-05-21 </c:v>
                </c:pt>
                <c:pt idx="328">
                  <c:v> 1402-05-22 </c:v>
                </c:pt>
                <c:pt idx="329">
                  <c:v> 1402-05-23 </c:v>
                </c:pt>
                <c:pt idx="330">
                  <c:v> 1402-05-24 </c:v>
                </c:pt>
                <c:pt idx="331">
                  <c:v> 1402-05-25 </c:v>
                </c:pt>
                <c:pt idx="332">
                  <c:v> 1402-05-28 </c:v>
                </c:pt>
                <c:pt idx="333">
                  <c:v> 1402-05-29 </c:v>
                </c:pt>
                <c:pt idx="334">
                  <c:v> 1402-05-30 </c:v>
                </c:pt>
                <c:pt idx="335">
                  <c:v> 1402-05-31 </c:v>
                </c:pt>
                <c:pt idx="336">
                  <c:v> 1402-06-01 </c:v>
                </c:pt>
                <c:pt idx="337">
                  <c:v> 1402-06-04 </c:v>
                </c:pt>
                <c:pt idx="338">
                  <c:v> 1402-06-05 </c:v>
                </c:pt>
                <c:pt idx="339">
                  <c:v> 1402-06-06 </c:v>
                </c:pt>
                <c:pt idx="340">
                  <c:v> 1402-06-07 </c:v>
                </c:pt>
                <c:pt idx="341">
                  <c:v> 1402-06-08 </c:v>
                </c:pt>
                <c:pt idx="342">
                  <c:v> 1402-06-11 </c:v>
                </c:pt>
                <c:pt idx="343">
                  <c:v> 1402-06-12 </c:v>
                </c:pt>
                <c:pt idx="344">
                  <c:v> 1402-06-13 </c:v>
                </c:pt>
                <c:pt idx="345">
                  <c:v> 1402-06-14 </c:v>
                </c:pt>
                <c:pt idx="346">
                  <c:v> 1402-06-18 </c:v>
                </c:pt>
                <c:pt idx="347">
                  <c:v> 1402-06-19 </c:v>
                </c:pt>
                <c:pt idx="348">
                  <c:v> 1402-06-20 </c:v>
                </c:pt>
                <c:pt idx="349">
                  <c:v> 1402-06-21 </c:v>
                </c:pt>
                <c:pt idx="350">
                  <c:v> 1402-06-22 </c:v>
                </c:pt>
                <c:pt idx="351">
                  <c:v> 1402-06-26 </c:v>
                </c:pt>
                <c:pt idx="352">
                  <c:v> 1402-06-27 </c:v>
                </c:pt>
                <c:pt idx="353">
                  <c:v> 1402-06-28 </c:v>
                </c:pt>
                <c:pt idx="354">
                  <c:v> 1402-06-29 </c:v>
                </c:pt>
                <c:pt idx="355">
                  <c:v> 1402-07-01 </c:v>
                </c:pt>
                <c:pt idx="356">
                  <c:v> 1402-07-03 </c:v>
                </c:pt>
                <c:pt idx="357">
                  <c:v> 1402-07-04 </c:v>
                </c:pt>
                <c:pt idx="358">
                  <c:v> 1402-07-05 </c:v>
                </c:pt>
                <c:pt idx="359">
                  <c:v> 1402-07-08 </c:v>
                </c:pt>
                <c:pt idx="360">
                  <c:v> 1402-07-09 </c:v>
                </c:pt>
                <c:pt idx="361">
                  <c:v> 1402-07-10 </c:v>
                </c:pt>
                <c:pt idx="362">
                  <c:v> 1402-07-12 </c:v>
                </c:pt>
                <c:pt idx="363">
                  <c:v> 1402-07-15 </c:v>
                </c:pt>
                <c:pt idx="364">
                  <c:v> 1402-07-16 </c:v>
                </c:pt>
                <c:pt idx="365">
                  <c:v> 1402-07-17 </c:v>
                </c:pt>
                <c:pt idx="366">
                  <c:v> 1402-07-18 </c:v>
                </c:pt>
                <c:pt idx="367">
                  <c:v> 1402-07-19 </c:v>
                </c:pt>
                <c:pt idx="368">
                  <c:v> 1402-07-22 </c:v>
                </c:pt>
                <c:pt idx="369">
                  <c:v> 1402-07-23 </c:v>
                </c:pt>
                <c:pt idx="370">
                  <c:v> 1402-07-24 </c:v>
                </c:pt>
                <c:pt idx="371">
                  <c:v> 1402-07-25 </c:v>
                </c:pt>
                <c:pt idx="372">
                  <c:v> 1402-07-26 </c:v>
                </c:pt>
                <c:pt idx="373">
                  <c:v> 1402-07-29 </c:v>
                </c:pt>
                <c:pt idx="374">
                  <c:v> 1402-07-30 </c:v>
                </c:pt>
                <c:pt idx="375">
                  <c:v> 1402-08-01 </c:v>
                </c:pt>
                <c:pt idx="376">
                  <c:v> 1402-08-02 </c:v>
                </c:pt>
                <c:pt idx="377">
                  <c:v> 1402-08-03 </c:v>
                </c:pt>
                <c:pt idx="378">
                  <c:v> 1402-08-06 </c:v>
                </c:pt>
                <c:pt idx="379">
                  <c:v> 1402-08-07 </c:v>
                </c:pt>
                <c:pt idx="380">
                  <c:v> 1402-08-08 </c:v>
                </c:pt>
                <c:pt idx="381">
                  <c:v> 1402-08-09 </c:v>
                </c:pt>
                <c:pt idx="382">
                  <c:v> 1402-08-10 </c:v>
                </c:pt>
                <c:pt idx="383">
                  <c:v> 1402-08-13 </c:v>
                </c:pt>
                <c:pt idx="384">
                  <c:v> 1402-08-14 </c:v>
                </c:pt>
                <c:pt idx="385">
                  <c:v> 1402-08-15 </c:v>
                </c:pt>
                <c:pt idx="386">
                  <c:v> 1402-08-16 </c:v>
                </c:pt>
                <c:pt idx="387">
                  <c:v> 1402-08-17 </c:v>
                </c:pt>
                <c:pt idx="388">
                  <c:v> 1402-08-20 </c:v>
                </c:pt>
                <c:pt idx="389">
                  <c:v> 1402-08-21 </c:v>
                </c:pt>
                <c:pt idx="390">
                  <c:v> 1402-08-22 </c:v>
                </c:pt>
                <c:pt idx="391">
                  <c:v> 1402-08-23 </c:v>
                </c:pt>
                <c:pt idx="392">
                  <c:v> 1402-08-24 </c:v>
                </c:pt>
                <c:pt idx="393">
                  <c:v> 1402-08-27 </c:v>
                </c:pt>
                <c:pt idx="394">
                  <c:v> 1402-08-28 </c:v>
                </c:pt>
                <c:pt idx="395">
                  <c:v> 1402-08-29 </c:v>
                </c:pt>
                <c:pt idx="396">
                  <c:v> 1402-08-30 </c:v>
                </c:pt>
                <c:pt idx="397">
                  <c:v> 1402-09-01 </c:v>
                </c:pt>
                <c:pt idx="398">
                  <c:v> 1402-09-04 </c:v>
                </c:pt>
                <c:pt idx="399">
                  <c:v> 1402-09-05 </c:v>
                </c:pt>
                <c:pt idx="400">
                  <c:v> 1402-09-06 </c:v>
                </c:pt>
                <c:pt idx="401">
                  <c:v> 1402-09-07 </c:v>
                </c:pt>
                <c:pt idx="402">
                  <c:v> 1402-09-08 </c:v>
                </c:pt>
                <c:pt idx="403">
                  <c:v> 1402-09-11 </c:v>
                </c:pt>
                <c:pt idx="404">
                  <c:v> 1402-09-12 </c:v>
                </c:pt>
                <c:pt idx="405">
                  <c:v> 1402-09-13 </c:v>
                </c:pt>
                <c:pt idx="406">
                  <c:v> 1402-09-14 </c:v>
                </c:pt>
                <c:pt idx="407">
                  <c:v> 1402-09-15 </c:v>
                </c:pt>
                <c:pt idx="408">
                  <c:v> 1402-09-18 </c:v>
                </c:pt>
                <c:pt idx="409">
                  <c:v> 1402-09-19 </c:v>
                </c:pt>
                <c:pt idx="410">
                  <c:v> 1402-09-20 </c:v>
                </c:pt>
                <c:pt idx="411">
                  <c:v> 1402-09-21 </c:v>
                </c:pt>
                <c:pt idx="412">
                  <c:v> 1402-09-22 </c:v>
                </c:pt>
                <c:pt idx="413">
                  <c:v> 1402-09-25 </c:v>
                </c:pt>
                <c:pt idx="414">
                  <c:v> 1402-09-27 </c:v>
                </c:pt>
                <c:pt idx="415">
                  <c:v> 1402-09-28 </c:v>
                </c:pt>
                <c:pt idx="416">
                  <c:v> 1402-09-29 </c:v>
                </c:pt>
                <c:pt idx="417">
                  <c:v> 1402-10-02 </c:v>
                </c:pt>
                <c:pt idx="418">
                  <c:v> 1402-10-03 </c:v>
                </c:pt>
                <c:pt idx="419">
                  <c:v> 1402-10-04 </c:v>
                </c:pt>
                <c:pt idx="420">
                  <c:v> 1402-10-05 </c:v>
                </c:pt>
                <c:pt idx="421">
                  <c:v> 1402-10-06 </c:v>
                </c:pt>
                <c:pt idx="422">
                  <c:v> 1402-10-09 </c:v>
                </c:pt>
                <c:pt idx="423">
                  <c:v> 1402-10-10 </c:v>
                </c:pt>
                <c:pt idx="424">
                  <c:v> 1402-10-11 </c:v>
                </c:pt>
                <c:pt idx="425">
                  <c:v> 1402-10-12 </c:v>
                </c:pt>
                <c:pt idx="426">
                  <c:v> 1402-10-13 </c:v>
                </c:pt>
                <c:pt idx="427">
                  <c:v> 1402-10-16 </c:v>
                </c:pt>
                <c:pt idx="428">
                  <c:v> 1402-10-17 </c:v>
                </c:pt>
                <c:pt idx="429">
                  <c:v> 1402-10-18 </c:v>
                </c:pt>
                <c:pt idx="430">
                  <c:v> 1402-10-19 </c:v>
                </c:pt>
                <c:pt idx="431">
                  <c:v> 1402-10-20 </c:v>
                </c:pt>
                <c:pt idx="432">
                  <c:v> 1402-10-23 </c:v>
                </c:pt>
                <c:pt idx="433">
                  <c:v> 1402-10-24 </c:v>
                </c:pt>
                <c:pt idx="434">
                  <c:v> 1402-10-25 </c:v>
                </c:pt>
                <c:pt idx="435">
                  <c:v> 1402-10-26 </c:v>
                </c:pt>
                <c:pt idx="436">
                  <c:v> 1402-10-27 </c:v>
                </c:pt>
                <c:pt idx="437">
                  <c:v> 1402-10-30 </c:v>
                </c:pt>
                <c:pt idx="438">
                  <c:v> 1402-11-01 </c:v>
                </c:pt>
                <c:pt idx="439">
                  <c:v> 1402-11-02 </c:v>
                </c:pt>
                <c:pt idx="440">
                  <c:v> 1402-11-03 </c:v>
                </c:pt>
                <c:pt idx="441">
                  <c:v> 1402-11-04 </c:v>
                </c:pt>
                <c:pt idx="442">
                  <c:v> 1402-11-07 </c:v>
                </c:pt>
                <c:pt idx="443">
                  <c:v> 1402-11-08 </c:v>
                </c:pt>
                <c:pt idx="444">
                  <c:v> 1402-11-09 </c:v>
                </c:pt>
                <c:pt idx="445">
                  <c:v> 1402-11-10 </c:v>
                </c:pt>
                <c:pt idx="446">
                  <c:v> 1402-11-11 </c:v>
                </c:pt>
                <c:pt idx="447">
                  <c:v> 1402-11-14 </c:v>
                </c:pt>
                <c:pt idx="448">
                  <c:v> 1402-11-15 </c:v>
                </c:pt>
                <c:pt idx="449">
                  <c:v> 1402-11-16 </c:v>
                </c:pt>
                <c:pt idx="450">
                  <c:v> 1402-11-17 </c:v>
                </c:pt>
                <c:pt idx="451">
                  <c:v> 1402-11-18 </c:v>
                </c:pt>
                <c:pt idx="452">
                  <c:v> 1402-11-21 </c:v>
                </c:pt>
                <c:pt idx="453">
                  <c:v> 1402-11-23 </c:v>
                </c:pt>
                <c:pt idx="454">
                  <c:v> 1402-11-24 </c:v>
                </c:pt>
                <c:pt idx="455">
                  <c:v> 1402-11-25 </c:v>
                </c:pt>
                <c:pt idx="456">
                  <c:v> 1402-11-28 </c:v>
                </c:pt>
                <c:pt idx="457">
                  <c:v> 1402-11-29 </c:v>
                </c:pt>
                <c:pt idx="458">
                  <c:v> 1402-11-30 </c:v>
                </c:pt>
                <c:pt idx="459">
                  <c:v> 1402-12-01 </c:v>
                </c:pt>
                <c:pt idx="460">
                  <c:v> 1402-12-02 </c:v>
                </c:pt>
                <c:pt idx="461">
                  <c:v> 1402-12-05 </c:v>
                </c:pt>
                <c:pt idx="462">
                  <c:v> 1402-12-07 </c:v>
                </c:pt>
                <c:pt idx="463">
                  <c:v> 1402-12-08 </c:v>
                </c:pt>
                <c:pt idx="464">
                  <c:v> 1402-12-09 </c:v>
                </c:pt>
                <c:pt idx="465">
                  <c:v> 1402-12-12 </c:v>
                </c:pt>
                <c:pt idx="466">
                  <c:v> 1402-12-13 </c:v>
                </c:pt>
                <c:pt idx="467">
                  <c:v> 1402-12-14 </c:v>
                </c:pt>
                <c:pt idx="468">
                  <c:v> 1402-12-15 </c:v>
                </c:pt>
                <c:pt idx="469">
                  <c:v> 1402-12-16 </c:v>
                </c:pt>
                <c:pt idx="470">
                  <c:v> 1402-12-19 </c:v>
                </c:pt>
                <c:pt idx="471">
                  <c:v> 1402-12-20 </c:v>
                </c:pt>
                <c:pt idx="472">
                  <c:v> 1402-12-21 </c:v>
                </c:pt>
                <c:pt idx="473">
                  <c:v> 1402-12-22 </c:v>
                </c:pt>
                <c:pt idx="474">
                  <c:v> 1402-12-23 </c:v>
                </c:pt>
                <c:pt idx="475">
                  <c:v> 1402-12-26 </c:v>
                </c:pt>
                <c:pt idx="476">
                  <c:v> 1402-12-27 </c:v>
                </c:pt>
                <c:pt idx="477">
                  <c:v> 1402-12-28 </c:v>
                </c:pt>
                <c:pt idx="478">
                  <c:v> 1403-01-05 </c:v>
                </c:pt>
                <c:pt idx="479">
                  <c:v> 1403-01-06 </c:v>
                </c:pt>
                <c:pt idx="480">
                  <c:v> 1403-01-07 </c:v>
                </c:pt>
                <c:pt idx="481">
                  <c:v> 1403-01-08 </c:v>
                </c:pt>
                <c:pt idx="482">
                  <c:v> 1403-01-11 </c:v>
                </c:pt>
                <c:pt idx="483">
                  <c:v> 1403-01-14 </c:v>
                </c:pt>
                <c:pt idx="484">
                  <c:v> 1403-01-15 </c:v>
                </c:pt>
                <c:pt idx="485">
                  <c:v> 1403-01-18 </c:v>
                </c:pt>
                <c:pt idx="486">
                  <c:v> 1403-01-19 </c:v>
                </c:pt>
                <c:pt idx="487">
                  <c:v> 1403-01-20 </c:v>
                </c:pt>
                <c:pt idx="488">
                  <c:v> 1403-01-21 </c:v>
                </c:pt>
                <c:pt idx="489">
                  <c:v> 1403-01-25 </c:v>
                </c:pt>
                <c:pt idx="490">
                  <c:v> 1403-01-26 </c:v>
                </c:pt>
                <c:pt idx="491">
                  <c:v> 1403-01-27 </c:v>
                </c:pt>
                <c:pt idx="492">
                  <c:v> 1403-01-28 </c:v>
                </c:pt>
                <c:pt idx="493">
                  <c:v> 1403-01-29 </c:v>
                </c:pt>
                <c:pt idx="494">
                  <c:v> 1403-02-01 </c:v>
                </c:pt>
                <c:pt idx="495">
                  <c:v> 1403-02-02 </c:v>
                </c:pt>
                <c:pt idx="496">
                  <c:v> 1403-02-03 </c:v>
                </c:pt>
                <c:pt idx="497">
                  <c:v> 1403-02-04 </c:v>
                </c:pt>
                <c:pt idx="498">
                  <c:v> 1403-02-05 </c:v>
                </c:pt>
                <c:pt idx="499">
                  <c:v> 1403-02-08 </c:v>
                </c:pt>
                <c:pt idx="500">
                  <c:v> 1403-02-09 </c:v>
                </c:pt>
                <c:pt idx="501">
                  <c:v> 1403-02-10 </c:v>
                </c:pt>
                <c:pt idx="502">
                  <c:v> 1403-02-11 </c:v>
                </c:pt>
                <c:pt idx="503">
                  <c:v> 1403-02-12 </c:v>
                </c:pt>
                <c:pt idx="504">
                  <c:v> 1403-02-16 </c:v>
                </c:pt>
                <c:pt idx="505">
                  <c:v> 1403-02-17 </c:v>
                </c:pt>
                <c:pt idx="506">
                  <c:v> 1403-02-18 </c:v>
                </c:pt>
                <c:pt idx="507">
                  <c:v> 1403-02-19 </c:v>
                </c:pt>
                <c:pt idx="508">
                  <c:v> 1403-02-22 </c:v>
                </c:pt>
                <c:pt idx="509">
                  <c:v> 1403-02-23 </c:v>
                </c:pt>
                <c:pt idx="510">
                  <c:v> 1403-02-24 </c:v>
                </c:pt>
                <c:pt idx="511">
                  <c:v> 1403-02-25 </c:v>
                </c:pt>
                <c:pt idx="512">
                  <c:v> 1403-02-26 </c:v>
                </c:pt>
                <c:pt idx="513">
                  <c:v> 1403-02-29 </c:v>
                </c:pt>
                <c:pt idx="514">
                  <c:v> 1403-02-30 </c:v>
                </c:pt>
                <c:pt idx="515">
                  <c:v> 1403-03-01 </c:v>
                </c:pt>
                <c:pt idx="516">
                  <c:v> 1403-03-05 </c:v>
                </c:pt>
                <c:pt idx="517">
                  <c:v> 1403-03-06 </c:v>
                </c:pt>
                <c:pt idx="518">
                  <c:v> 1403-03-07 </c:v>
                </c:pt>
                <c:pt idx="519">
                  <c:v> 1403-03-08 </c:v>
                </c:pt>
                <c:pt idx="520">
                  <c:v> 1403-03-09 </c:v>
                </c:pt>
                <c:pt idx="521">
                  <c:v> 1403-03-12 </c:v>
                </c:pt>
                <c:pt idx="522">
                  <c:v> 1403-03-13 </c:v>
                </c:pt>
                <c:pt idx="523">
                  <c:v> 1403-03-16 </c:v>
                </c:pt>
                <c:pt idx="524">
                  <c:v> 1403-03-19 </c:v>
                </c:pt>
                <c:pt idx="525">
                  <c:v> 1403-03-20 </c:v>
                </c:pt>
                <c:pt idx="526">
                  <c:v> 1403-03-21 </c:v>
                </c:pt>
                <c:pt idx="527">
                  <c:v> 1403-03-22 </c:v>
                </c:pt>
                <c:pt idx="528">
                  <c:v> 1403-03-23 </c:v>
                </c:pt>
                <c:pt idx="529">
                  <c:v> 1403-03-26 </c:v>
                </c:pt>
                <c:pt idx="530">
                  <c:v> 1403-03-27 </c:v>
                </c:pt>
                <c:pt idx="531">
                  <c:v> 1403-03-29 </c:v>
                </c:pt>
                <c:pt idx="532">
                  <c:v> 1403-03-30 </c:v>
                </c:pt>
                <c:pt idx="533">
                  <c:v> 1403-04-02 </c:v>
                </c:pt>
                <c:pt idx="534">
                  <c:v> 1403-04-03 </c:v>
                </c:pt>
                <c:pt idx="535">
                  <c:v> 1403-04-04 </c:v>
                </c:pt>
                <c:pt idx="536">
                  <c:v> 1403-04-06 </c:v>
                </c:pt>
                <c:pt idx="537">
                  <c:v> 1403-04-09 </c:v>
                </c:pt>
                <c:pt idx="538">
                  <c:v> 1403-04-10 </c:v>
                </c:pt>
                <c:pt idx="539">
                  <c:v> 1403-04-11 </c:v>
                </c:pt>
                <c:pt idx="540">
                  <c:v> 1403-04-12 </c:v>
                </c:pt>
                <c:pt idx="541">
                  <c:v> 1403-04-13 </c:v>
                </c:pt>
                <c:pt idx="542">
                  <c:v> 1403-04-16 </c:v>
                </c:pt>
                <c:pt idx="543">
                  <c:v> 1403-04-17 </c:v>
                </c:pt>
                <c:pt idx="544">
                  <c:v> 1403-04-18 </c:v>
                </c:pt>
                <c:pt idx="545">
                  <c:v> 1403-04-19 </c:v>
                </c:pt>
                <c:pt idx="546">
                  <c:v> 1403-04-20 </c:v>
                </c:pt>
                <c:pt idx="547">
                  <c:v> 1403-04-23 </c:v>
                </c:pt>
                <c:pt idx="548">
                  <c:v> 1403-04-24 </c:v>
                </c:pt>
                <c:pt idx="549">
                  <c:v> 1403-04-27 </c:v>
                </c:pt>
                <c:pt idx="550">
                  <c:v> 1403-04-30 </c:v>
                </c:pt>
                <c:pt idx="551">
                  <c:v> 1403-04-31 </c:v>
                </c:pt>
                <c:pt idx="552">
                  <c:v> 1403-05-01 </c:v>
                </c:pt>
                <c:pt idx="553">
                  <c:v> 1403-05-02 </c:v>
                </c:pt>
                <c:pt idx="554">
                  <c:v> 1403-05-03 </c:v>
                </c:pt>
                <c:pt idx="555">
                  <c:v> 1403-05-06 </c:v>
                </c:pt>
                <c:pt idx="556">
                  <c:v> 1403-05-08 </c:v>
                </c:pt>
                <c:pt idx="557">
                  <c:v> 1403-05-09 </c:v>
                </c:pt>
                <c:pt idx="558">
                  <c:v> 1403-05-10 </c:v>
                </c:pt>
                <c:pt idx="559">
                  <c:v> 1403-05-13 </c:v>
                </c:pt>
                <c:pt idx="560">
                  <c:v> 1403-05-14 </c:v>
                </c:pt>
                <c:pt idx="561">
                  <c:v> 1403-05-15 </c:v>
                </c:pt>
                <c:pt idx="562">
                  <c:v> 1403-05-16 </c:v>
                </c:pt>
                <c:pt idx="563">
                  <c:v> 1403-05-20 </c:v>
                </c:pt>
                <c:pt idx="564">
                  <c:v> 1403-05-21 </c:v>
                </c:pt>
                <c:pt idx="565">
                  <c:v> 1403-05-22 </c:v>
                </c:pt>
                <c:pt idx="566">
                  <c:v> 1403-05-23 </c:v>
                </c:pt>
                <c:pt idx="567">
                  <c:v> 1403-05-24 </c:v>
                </c:pt>
                <c:pt idx="568">
                  <c:v> 1403-05-27 </c:v>
                </c:pt>
                <c:pt idx="569">
                  <c:v> 1403-05-28 </c:v>
                </c:pt>
                <c:pt idx="570">
                  <c:v> 1403-05-29 </c:v>
                </c:pt>
                <c:pt idx="571">
                  <c:v> 1403-05-30 </c:v>
                </c:pt>
                <c:pt idx="572">
                  <c:v> 1403-05-31 </c:v>
                </c:pt>
                <c:pt idx="573">
                  <c:v> 1403-06-03 </c:v>
                </c:pt>
                <c:pt idx="574">
                  <c:v> 1403-06-05 </c:v>
                </c:pt>
                <c:pt idx="575">
                  <c:v> 1403-06-06 </c:v>
                </c:pt>
                <c:pt idx="576">
                  <c:v> 1403-06-07 </c:v>
                </c:pt>
                <c:pt idx="577">
                  <c:v> 1403-06-10 </c:v>
                </c:pt>
                <c:pt idx="578">
                  <c:v> 1403-06-11 </c:v>
                </c:pt>
                <c:pt idx="579">
                  <c:v> 1403-06-13 </c:v>
                </c:pt>
                <c:pt idx="580">
                  <c:v> 1403-06-17 </c:v>
                </c:pt>
                <c:pt idx="581">
                  <c:v> 1403-06-18 </c:v>
                </c:pt>
                <c:pt idx="582">
                  <c:v> 1403-06-19 </c:v>
                </c:pt>
                <c:pt idx="583">
                  <c:v> 1403-06-20 </c:v>
                </c:pt>
                <c:pt idx="584">
                  <c:v> 1403-06-21 </c:v>
                </c:pt>
                <c:pt idx="585">
                  <c:v> 1403-06-24 </c:v>
                </c:pt>
                <c:pt idx="586">
                  <c:v> 1403-06-25 </c:v>
                </c:pt>
                <c:pt idx="587">
                  <c:v> 1403-06-26 </c:v>
                </c:pt>
                <c:pt idx="588">
                  <c:v> 1403-06-27 </c:v>
                </c:pt>
                <c:pt idx="589">
                  <c:v> 1403-06-28 </c:v>
                </c:pt>
                <c:pt idx="590">
                  <c:v> 1403-07-01 </c:v>
                </c:pt>
                <c:pt idx="591">
                  <c:v> 1403-07-02 </c:v>
                </c:pt>
                <c:pt idx="592">
                  <c:v> 1403-07-03 </c:v>
                </c:pt>
                <c:pt idx="593">
                  <c:v> 1403-07-04 </c:v>
                </c:pt>
                <c:pt idx="594">
                  <c:v> 1403-07-07 </c:v>
                </c:pt>
                <c:pt idx="595">
                  <c:v> 1403-07-08 </c:v>
                </c:pt>
                <c:pt idx="596">
                  <c:v> 1403-07-09 </c:v>
                </c:pt>
                <c:pt idx="597">
                  <c:v> 1403-07-10 </c:v>
                </c:pt>
                <c:pt idx="598">
                  <c:v> 1403-07-11 </c:v>
                </c:pt>
                <c:pt idx="599">
                  <c:v> 1403-07-14 </c:v>
                </c:pt>
                <c:pt idx="600">
                  <c:v> 1403-07-15 </c:v>
                </c:pt>
                <c:pt idx="601">
                  <c:v> 1403-07-16 </c:v>
                </c:pt>
                <c:pt idx="602">
                  <c:v> 1403-07-17 </c:v>
                </c:pt>
                <c:pt idx="603">
                  <c:v> 1403-07-18 </c:v>
                </c:pt>
                <c:pt idx="604">
                  <c:v> 1403-07-21 </c:v>
                </c:pt>
                <c:pt idx="605">
                  <c:v> 1403-07-22 </c:v>
                </c:pt>
                <c:pt idx="606">
                  <c:v> 1403-07-23 </c:v>
                </c:pt>
                <c:pt idx="607">
                  <c:v> 1403-07-24 </c:v>
                </c:pt>
                <c:pt idx="608">
                  <c:v> 1403-07-25 </c:v>
                </c:pt>
                <c:pt idx="609">
                  <c:v> 1403-07-28 </c:v>
                </c:pt>
                <c:pt idx="610">
                  <c:v> 1403-07-29 </c:v>
                </c:pt>
                <c:pt idx="611">
                  <c:v> 1403-07-30 </c:v>
                </c:pt>
                <c:pt idx="612">
                  <c:v> 1403-08-01 </c:v>
                </c:pt>
                <c:pt idx="613">
                  <c:v> 1403-08-02 </c:v>
                </c:pt>
                <c:pt idx="614">
                  <c:v> 1403-08-05 </c:v>
                </c:pt>
                <c:pt idx="615">
                  <c:v> 1403-08-06 </c:v>
                </c:pt>
                <c:pt idx="616">
                  <c:v> 1403-08-07 </c:v>
                </c:pt>
                <c:pt idx="617">
                  <c:v> 1403-08-08 </c:v>
                </c:pt>
                <c:pt idx="618">
                  <c:v> 1403-08-09 </c:v>
                </c:pt>
                <c:pt idx="619">
                  <c:v> 1403-08-12 </c:v>
                </c:pt>
                <c:pt idx="620">
                  <c:v> 1403-08-13 </c:v>
                </c:pt>
                <c:pt idx="621">
                  <c:v> 1403-08-14 </c:v>
                </c:pt>
                <c:pt idx="622">
                  <c:v> 1403-08-15 </c:v>
                </c:pt>
                <c:pt idx="623">
                  <c:v> 1403-08-16 </c:v>
                </c:pt>
                <c:pt idx="624">
                  <c:v> 1403-08-19 </c:v>
                </c:pt>
                <c:pt idx="625">
                  <c:v> 1403-08-20 </c:v>
                </c:pt>
                <c:pt idx="626">
                  <c:v> 1403-08-21 </c:v>
                </c:pt>
                <c:pt idx="627">
                  <c:v> 1403-08-22 </c:v>
                </c:pt>
                <c:pt idx="628">
                  <c:v> 1403-08-23 </c:v>
                </c:pt>
                <c:pt idx="629">
                  <c:v> 1403-08-26 </c:v>
                </c:pt>
                <c:pt idx="630">
                  <c:v> 1403-08-27 </c:v>
                </c:pt>
                <c:pt idx="631">
                  <c:v> 1403-08-28 </c:v>
                </c:pt>
                <c:pt idx="632">
                  <c:v> 1403-08-29 </c:v>
                </c:pt>
                <c:pt idx="633">
                  <c:v> 1403-08-30 </c:v>
                </c:pt>
                <c:pt idx="634">
                  <c:v> 1403-09-03 </c:v>
                </c:pt>
                <c:pt idx="635">
                  <c:v> 1403-09-04 </c:v>
                </c:pt>
                <c:pt idx="636">
                  <c:v> 1403-09-05 </c:v>
                </c:pt>
                <c:pt idx="637">
                  <c:v> 1403-09-06 </c:v>
                </c:pt>
                <c:pt idx="638">
                  <c:v> 1403-09-07 </c:v>
                </c:pt>
                <c:pt idx="639">
                  <c:v> 1403-09-10 </c:v>
                </c:pt>
                <c:pt idx="640">
                  <c:v> 1403-09-11 </c:v>
                </c:pt>
                <c:pt idx="641">
                  <c:v> 1403-09-12 </c:v>
                </c:pt>
                <c:pt idx="642">
                  <c:v> 1403-09-13 </c:v>
                </c:pt>
                <c:pt idx="643">
                  <c:v> 1403-09-14 </c:v>
                </c:pt>
                <c:pt idx="644">
                  <c:v> 1403-09-17 </c:v>
                </c:pt>
                <c:pt idx="645">
                  <c:v> 1403-09-18 </c:v>
                </c:pt>
                <c:pt idx="646">
                  <c:v> 1403-09-19 </c:v>
                </c:pt>
                <c:pt idx="647">
                  <c:v> 1403-09-20 </c:v>
                </c:pt>
                <c:pt idx="648">
                  <c:v> 1403-09-21 </c:v>
                </c:pt>
                <c:pt idx="649">
                  <c:v> 1403-09-24 </c:v>
                </c:pt>
                <c:pt idx="650">
                  <c:v> 1403-09-25 </c:v>
                </c:pt>
                <c:pt idx="651">
                  <c:v> 1403-09-26 </c:v>
                </c:pt>
                <c:pt idx="652">
                  <c:v> 1403-09-27 </c:v>
                </c:pt>
                <c:pt idx="653">
                  <c:v> 1403-09-28 </c:v>
                </c:pt>
                <c:pt idx="654">
                  <c:v> 1403-10-01 </c:v>
                </c:pt>
                <c:pt idx="655">
                  <c:v> 1403-10-02 </c:v>
                </c:pt>
                <c:pt idx="656">
                  <c:v> 1403-10-03 </c:v>
                </c:pt>
                <c:pt idx="657">
                  <c:v> 1403-10-04 </c:v>
                </c:pt>
                <c:pt idx="658">
                  <c:v> 1403-10-05 </c:v>
                </c:pt>
                <c:pt idx="659">
                  <c:v> 1403-10-08 </c:v>
                </c:pt>
                <c:pt idx="660">
                  <c:v> 1403-10-09 </c:v>
                </c:pt>
                <c:pt idx="661">
                  <c:v> 1403-10-10 </c:v>
                </c:pt>
                <c:pt idx="662">
                  <c:v> 1403-10-11 </c:v>
                </c:pt>
                <c:pt idx="663">
                  <c:v> 1403-10-12 </c:v>
                </c:pt>
                <c:pt idx="664">
                  <c:v> 1403-10-15 </c:v>
                </c:pt>
                <c:pt idx="665">
                  <c:v> 1403-10-16 </c:v>
                </c:pt>
                <c:pt idx="666">
                  <c:v> 1403-10-17 </c:v>
                </c:pt>
                <c:pt idx="667">
                  <c:v> 1403-10-18 </c:v>
                </c:pt>
                <c:pt idx="668">
                  <c:v> 1403-10-19 </c:v>
                </c:pt>
                <c:pt idx="669">
                  <c:v> 1403-10-22 </c:v>
                </c:pt>
                <c:pt idx="670">
                  <c:v> 1403-10-23 </c:v>
                </c:pt>
                <c:pt idx="671">
                  <c:v> 1403-10-24 </c:v>
                </c:pt>
                <c:pt idx="672">
                  <c:v> 1403-10-26 </c:v>
                </c:pt>
                <c:pt idx="673">
                  <c:v> 1403-10-29 </c:v>
                </c:pt>
                <c:pt idx="674">
                  <c:v> 1403-10-30 </c:v>
                </c:pt>
                <c:pt idx="675">
                  <c:v> 1403-11-01 </c:v>
                </c:pt>
                <c:pt idx="676">
                  <c:v> 1403-11-02 </c:v>
                </c:pt>
                <c:pt idx="677">
                  <c:v> 1403-11-03 </c:v>
                </c:pt>
                <c:pt idx="678">
                  <c:v> 1403-11-06 </c:v>
                </c:pt>
                <c:pt idx="679">
                  <c:v> 1403-11-07 </c:v>
                </c:pt>
                <c:pt idx="680">
                  <c:v> 1403-11-08 </c:v>
                </c:pt>
                <c:pt idx="681">
                  <c:v> 1403-11-10 </c:v>
                </c:pt>
                <c:pt idx="682">
                  <c:v> 1403-11-13 </c:v>
                </c:pt>
                <c:pt idx="683">
                  <c:v> 1403-11-14 </c:v>
                </c:pt>
                <c:pt idx="684">
                  <c:v> 1403-11-15 </c:v>
                </c:pt>
                <c:pt idx="685">
                  <c:v> 1403-11-16 </c:v>
                </c:pt>
                <c:pt idx="686">
                  <c:v> 1403-11-17 </c:v>
                </c:pt>
                <c:pt idx="687">
                  <c:v> 1403-11-21 </c:v>
                </c:pt>
                <c:pt idx="688">
                  <c:v> 1403-11-23 </c:v>
                </c:pt>
                <c:pt idx="689">
                  <c:v> 1403-11-27 </c:v>
                </c:pt>
                <c:pt idx="690">
                  <c:v> 1403-11-28 </c:v>
                </c:pt>
                <c:pt idx="691">
                  <c:v> 1403-11-29 </c:v>
                </c:pt>
                <c:pt idx="692">
                  <c:v> 1403-11-30 </c:v>
                </c:pt>
                <c:pt idx="693">
                  <c:v> 1403-12-01 </c:v>
                </c:pt>
                <c:pt idx="694">
                  <c:v> 1403-12-04 </c:v>
                </c:pt>
                <c:pt idx="695">
                  <c:v> 1403-12-05 </c:v>
                </c:pt>
                <c:pt idx="696">
                  <c:v> 1403-12-06 </c:v>
                </c:pt>
                <c:pt idx="697">
                  <c:v> 1403-12-07 </c:v>
                </c:pt>
                <c:pt idx="698">
                  <c:v> 1403-12-08 </c:v>
                </c:pt>
                <c:pt idx="699">
                  <c:v> 1403-12-08 </c:v>
                </c:pt>
                <c:pt idx="700">
                  <c:v> 1403-12-11 </c:v>
                </c:pt>
                <c:pt idx="701">
                  <c:v> 1403-12-12 </c:v>
                </c:pt>
                <c:pt idx="702">
                  <c:v> 1403-12-13 </c:v>
                </c:pt>
                <c:pt idx="703">
                  <c:v> 1403-12-14 </c:v>
                </c:pt>
                <c:pt idx="704">
                  <c:v> 1403-12-15 </c:v>
                </c:pt>
                <c:pt idx="705">
                  <c:v> 1403-12-18 </c:v>
                </c:pt>
                <c:pt idx="706">
                  <c:v> 1403-12-19 </c:v>
                </c:pt>
                <c:pt idx="707">
                  <c:v> 1403-12-20 </c:v>
                </c:pt>
                <c:pt idx="708">
                  <c:v> 1403-12-21 </c:v>
                </c:pt>
                <c:pt idx="709">
                  <c:v> 1403-12-22 </c:v>
                </c:pt>
              </c:strCache>
            </c:strRef>
          </c:cat>
          <c:val>
            <c:numRef>
              <c:f>'  بورس-خالص ورود حقیقی ارزش-بور'!$E$3:$E$712</c:f>
              <c:numCache>
                <c:formatCode>_(* #,##0_);_(* \(#,##0\);_(* "-"??_);_(@_)</c:formatCode>
                <c:ptCount val="710"/>
                <c:pt idx="0">
                  <c:v>1983296.6404899999</c:v>
                </c:pt>
                <c:pt idx="1">
                  <c:v>146903.32874</c:v>
                </c:pt>
                <c:pt idx="2">
                  <c:v>4310771.2388460003</c:v>
                </c:pt>
                <c:pt idx="3">
                  <c:v>-2728977.279902</c:v>
                </c:pt>
                <c:pt idx="4">
                  <c:v>927766.05201900005</c:v>
                </c:pt>
                <c:pt idx="5">
                  <c:v>5338239.9313979996</c:v>
                </c:pt>
                <c:pt idx="6">
                  <c:v>-2339648.8473140001</c:v>
                </c:pt>
                <c:pt idx="7">
                  <c:v>35547.940345000003</c:v>
                </c:pt>
                <c:pt idx="8">
                  <c:v>-2104279.4051930001</c:v>
                </c:pt>
                <c:pt idx="9">
                  <c:v>-1824318.0342570001</c:v>
                </c:pt>
                <c:pt idx="10">
                  <c:v>1792600.682242</c:v>
                </c:pt>
                <c:pt idx="11">
                  <c:v>-1240688.344333</c:v>
                </c:pt>
                <c:pt idx="12">
                  <c:v>-8932677.9063080009</c:v>
                </c:pt>
                <c:pt idx="13">
                  <c:v>359207.14384500001</c:v>
                </c:pt>
                <c:pt idx="14">
                  <c:v>1806151.2187369999</c:v>
                </c:pt>
                <c:pt idx="15">
                  <c:v>1416750.0058230001</c:v>
                </c:pt>
                <c:pt idx="16">
                  <c:v>1044293.430204</c:v>
                </c:pt>
                <c:pt idx="17">
                  <c:v>-193087.23508700001</c:v>
                </c:pt>
                <c:pt idx="18">
                  <c:v>-1064618.116649</c:v>
                </c:pt>
                <c:pt idx="19">
                  <c:v>-2385557.2601370001</c:v>
                </c:pt>
                <c:pt idx="20">
                  <c:v>-364095.218154</c:v>
                </c:pt>
                <c:pt idx="21">
                  <c:v>1507486.8513440001</c:v>
                </c:pt>
                <c:pt idx="22">
                  <c:v>-1829009.1987930001</c:v>
                </c:pt>
                <c:pt idx="23">
                  <c:v>-133366.379636</c:v>
                </c:pt>
                <c:pt idx="24">
                  <c:v>-600909.62725599995</c:v>
                </c:pt>
                <c:pt idx="25">
                  <c:v>319356.24503699999</c:v>
                </c:pt>
                <c:pt idx="26">
                  <c:v>1479755.54106</c:v>
                </c:pt>
                <c:pt idx="27">
                  <c:v>-370808.41760300001</c:v>
                </c:pt>
                <c:pt idx="28">
                  <c:v>-4025535.014705</c:v>
                </c:pt>
                <c:pt idx="29">
                  <c:v>-582218.46182299999</c:v>
                </c:pt>
                <c:pt idx="30">
                  <c:v>2626508.2956619998</c:v>
                </c:pt>
                <c:pt idx="31">
                  <c:v>1012518.676422</c:v>
                </c:pt>
                <c:pt idx="32">
                  <c:v>-3090825.0859170002</c:v>
                </c:pt>
                <c:pt idx="33">
                  <c:v>850959.04620999994</c:v>
                </c:pt>
                <c:pt idx="34">
                  <c:v>-3550234.7103519998</c:v>
                </c:pt>
                <c:pt idx="35">
                  <c:v>-3415337.4633439998</c:v>
                </c:pt>
                <c:pt idx="36">
                  <c:v>-5169029.0690590004</c:v>
                </c:pt>
                <c:pt idx="37">
                  <c:v>-2840834.6058100001</c:v>
                </c:pt>
                <c:pt idx="38">
                  <c:v>-13480568.77792</c:v>
                </c:pt>
                <c:pt idx="39">
                  <c:v>-4341997.6789610004</c:v>
                </c:pt>
                <c:pt idx="40">
                  <c:v>653557.82659700001</c:v>
                </c:pt>
                <c:pt idx="41">
                  <c:v>-4741213.9887899999</c:v>
                </c:pt>
                <c:pt idx="42">
                  <c:v>-6819022.3759369999</c:v>
                </c:pt>
                <c:pt idx="43">
                  <c:v>-2463087.820971</c:v>
                </c:pt>
                <c:pt idx="44">
                  <c:v>-1752376.974746</c:v>
                </c:pt>
                <c:pt idx="45">
                  <c:v>-1729883.8207789999</c:v>
                </c:pt>
                <c:pt idx="46">
                  <c:v>-10357203.661202</c:v>
                </c:pt>
                <c:pt idx="47">
                  <c:v>-4276070.1809719997</c:v>
                </c:pt>
                <c:pt idx="48">
                  <c:v>-2797804.3740739999</c:v>
                </c:pt>
                <c:pt idx="49">
                  <c:v>-4685054.8020439995</c:v>
                </c:pt>
                <c:pt idx="50">
                  <c:v>-565341.67904900003</c:v>
                </c:pt>
                <c:pt idx="51">
                  <c:v>1940710.4376360001</c:v>
                </c:pt>
                <c:pt idx="52">
                  <c:v>-2679800.3397149998</c:v>
                </c:pt>
                <c:pt idx="53">
                  <c:v>-3032554.7558980002</c:v>
                </c:pt>
                <c:pt idx="54">
                  <c:v>-6532733.5264680004</c:v>
                </c:pt>
                <c:pt idx="55">
                  <c:v>-3881787.85568</c:v>
                </c:pt>
                <c:pt idx="56">
                  <c:v>-1804567.5044420001</c:v>
                </c:pt>
                <c:pt idx="57">
                  <c:v>-3552266.8498479999</c:v>
                </c:pt>
                <c:pt idx="58">
                  <c:v>-2942514.0653789998</c:v>
                </c:pt>
                <c:pt idx="59">
                  <c:v>-2713740.3719609999</c:v>
                </c:pt>
                <c:pt idx="60">
                  <c:v>-4721484.6213729996</c:v>
                </c:pt>
                <c:pt idx="61">
                  <c:v>-3449540.482845</c:v>
                </c:pt>
                <c:pt idx="62">
                  <c:v>-1959598.8370089999</c:v>
                </c:pt>
                <c:pt idx="63">
                  <c:v>-3969074.3204879998</c:v>
                </c:pt>
                <c:pt idx="64">
                  <c:v>-5676003.2059960002</c:v>
                </c:pt>
                <c:pt idx="65">
                  <c:v>-2495666.6851750002</c:v>
                </c:pt>
                <c:pt idx="66">
                  <c:v>-2689121.8241289998</c:v>
                </c:pt>
                <c:pt idx="67">
                  <c:v>-2210711.9487970001</c:v>
                </c:pt>
                <c:pt idx="68">
                  <c:v>-3584095.4133890001</c:v>
                </c:pt>
                <c:pt idx="69">
                  <c:v>-6744711.8964299997</c:v>
                </c:pt>
                <c:pt idx="70">
                  <c:v>-3581804.1617339998</c:v>
                </c:pt>
                <c:pt idx="71">
                  <c:v>-1850908.919884</c:v>
                </c:pt>
                <c:pt idx="72">
                  <c:v>-2510670.7639959999</c:v>
                </c:pt>
                <c:pt idx="73">
                  <c:v>-4154539.1738280002</c:v>
                </c:pt>
                <c:pt idx="74">
                  <c:v>-2073140.657418</c:v>
                </c:pt>
                <c:pt idx="75">
                  <c:v>-433471.732151</c:v>
                </c:pt>
                <c:pt idx="76">
                  <c:v>-727343.67561499996</c:v>
                </c:pt>
                <c:pt idx="77">
                  <c:v>-3177757.8837569999</c:v>
                </c:pt>
                <c:pt idx="78">
                  <c:v>-5344264.8435819997</c:v>
                </c:pt>
                <c:pt idx="79">
                  <c:v>-3342313.2610829999</c:v>
                </c:pt>
                <c:pt idx="80">
                  <c:v>-876083.54614400002</c:v>
                </c:pt>
                <c:pt idx="81">
                  <c:v>-2560663.8633949999</c:v>
                </c:pt>
                <c:pt idx="82">
                  <c:v>-4683248.4167259997</c:v>
                </c:pt>
                <c:pt idx="83">
                  <c:v>-2619099.3519859998</c:v>
                </c:pt>
                <c:pt idx="84">
                  <c:v>-2803748.3080279999</c:v>
                </c:pt>
                <c:pt idx="85">
                  <c:v>-742696.71019100002</c:v>
                </c:pt>
                <c:pt idx="86">
                  <c:v>1164015.400201</c:v>
                </c:pt>
                <c:pt idx="87">
                  <c:v>-2337759.6142480001</c:v>
                </c:pt>
                <c:pt idx="88">
                  <c:v>-1819217.194044</c:v>
                </c:pt>
                <c:pt idx="89">
                  <c:v>1718765.295135</c:v>
                </c:pt>
                <c:pt idx="90">
                  <c:v>-1540260.5898450001</c:v>
                </c:pt>
                <c:pt idx="91">
                  <c:v>-554023.94180399994</c:v>
                </c:pt>
                <c:pt idx="92">
                  <c:v>-1166807.4130589999</c:v>
                </c:pt>
                <c:pt idx="93">
                  <c:v>-1606947.990336</c:v>
                </c:pt>
                <c:pt idx="94">
                  <c:v>-2435970.5264969999</c:v>
                </c:pt>
                <c:pt idx="95">
                  <c:v>-2351342.6220840001</c:v>
                </c:pt>
                <c:pt idx="96">
                  <c:v>-2457246.3977729999</c:v>
                </c:pt>
                <c:pt idx="97">
                  <c:v>767022.39081300003</c:v>
                </c:pt>
                <c:pt idx="98">
                  <c:v>222439.112261</c:v>
                </c:pt>
                <c:pt idx="99">
                  <c:v>-1351176.385244</c:v>
                </c:pt>
                <c:pt idx="100">
                  <c:v>-2224474.8478629999</c:v>
                </c:pt>
                <c:pt idx="101">
                  <c:v>26184.618195999999</c:v>
                </c:pt>
                <c:pt idx="102">
                  <c:v>-1165815.8300389999</c:v>
                </c:pt>
                <c:pt idx="103">
                  <c:v>-2078852.1706699999</c:v>
                </c:pt>
                <c:pt idx="104">
                  <c:v>-3645347.3094700002</c:v>
                </c:pt>
                <c:pt idx="105">
                  <c:v>-1565757.349309</c:v>
                </c:pt>
                <c:pt idx="106">
                  <c:v>-1539430.5739879999</c:v>
                </c:pt>
                <c:pt idx="107">
                  <c:v>-726316.01853700005</c:v>
                </c:pt>
                <c:pt idx="108">
                  <c:v>-1406636.632466</c:v>
                </c:pt>
                <c:pt idx="109">
                  <c:v>-3818819.9847349999</c:v>
                </c:pt>
                <c:pt idx="110">
                  <c:v>-1977992.905146</c:v>
                </c:pt>
                <c:pt idx="111">
                  <c:v>-2032837.0133549999</c:v>
                </c:pt>
                <c:pt idx="112">
                  <c:v>35018.002894999998</c:v>
                </c:pt>
                <c:pt idx="113">
                  <c:v>-1076717.7419499999</c:v>
                </c:pt>
                <c:pt idx="114">
                  <c:v>-2244320.138632</c:v>
                </c:pt>
                <c:pt idx="115">
                  <c:v>-1625188.5192249999</c:v>
                </c:pt>
                <c:pt idx="116">
                  <c:v>-2032756.7542610001</c:v>
                </c:pt>
                <c:pt idx="117">
                  <c:v>-2345205.383802</c:v>
                </c:pt>
                <c:pt idx="118">
                  <c:v>-5558660.8148320001</c:v>
                </c:pt>
                <c:pt idx="119">
                  <c:v>-1422767.292264</c:v>
                </c:pt>
                <c:pt idx="120">
                  <c:v>321975.30947400001</c:v>
                </c:pt>
                <c:pt idx="121">
                  <c:v>-5038990.8233439997</c:v>
                </c:pt>
                <c:pt idx="122">
                  <c:v>-3803595.4248239999</c:v>
                </c:pt>
                <c:pt idx="123">
                  <c:v>-3081246.6676159999</c:v>
                </c:pt>
                <c:pt idx="124">
                  <c:v>-1539958.21695</c:v>
                </c:pt>
                <c:pt idx="125">
                  <c:v>-92939.657582</c:v>
                </c:pt>
                <c:pt idx="126">
                  <c:v>-5415991.3522709999</c:v>
                </c:pt>
                <c:pt idx="127">
                  <c:v>-2489239.6818730002</c:v>
                </c:pt>
                <c:pt idx="128">
                  <c:v>-1242616.5293699999</c:v>
                </c:pt>
                <c:pt idx="129">
                  <c:v>-1336010.2426440001</c:v>
                </c:pt>
                <c:pt idx="130">
                  <c:v>-2184504.0322460001</c:v>
                </c:pt>
                <c:pt idx="131">
                  <c:v>-3250559.7744860002</c:v>
                </c:pt>
                <c:pt idx="132">
                  <c:v>-1434200.5970630001</c:v>
                </c:pt>
                <c:pt idx="133">
                  <c:v>-871544.00652299996</c:v>
                </c:pt>
                <c:pt idx="134">
                  <c:v>-1161984.4900150001</c:v>
                </c:pt>
                <c:pt idx="135">
                  <c:v>-1102999.041404</c:v>
                </c:pt>
                <c:pt idx="136">
                  <c:v>-2007575.9004240001</c:v>
                </c:pt>
                <c:pt idx="137">
                  <c:v>-2410536.0886030002</c:v>
                </c:pt>
                <c:pt idx="138">
                  <c:v>-3563460.6444350001</c:v>
                </c:pt>
                <c:pt idx="139">
                  <c:v>-6049457.9534339998</c:v>
                </c:pt>
                <c:pt idx="140">
                  <c:v>-8737057.4276240002</c:v>
                </c:pt>
                <c:pt idx="141">
                  <c:v>-4502381.7696089996</c:v>
                </c:pt>
                <c:pt idx="142">
                  <c:v>-740477.91444900003</c:v>
                </c:pt>
                <c:pt idx="143">
                  <c:v>-2118653.533907</c:v>
                </c:pt>
                <c:pt idx="144">
                  <c:v>-2625176.5568019999</c:v>
                </c:pt>
                <c:pt idx="145">
                  <c:v>2818707.6790900002</c:v>
                </c:pt>
                <c:pt idx="146">
                  <c:v>-1085623.1608760001</c:v>
                </c:pt>
                <c:pt idx="147">
                  <c:v>5180404.3814129997</c:v>
                </c:pt>
                <c:pt idx="148">
                  <c:v>-4174833.2055480001</c:v>
                </c:pt>
                <c:pt idx="149">
                  <c:v>-2917135.498253</c:v>
                </c:pt>
                <c:pt idx="150">
                  <c:v>-271024.96642299998</c:v>
                </c:pt>
                <c:pt idx="151">
                  <c:v>-3116827.9379969998</c:v>
                </c:pt>
                <c:pt idx="152">
                  <c:v>-6529615.6164899999</c:v>
                </c:pt>
                <c:pt idx="153">
                  <c:v>-2591454.0154109998</c:v>
                </c:pt>
                <c:pt idx="154">
                  <c:v>-2012421.257459</c:v>
                </c:pt>
                <c:pt idx="155">
                  <c:v>-6669954.2993379999</c:v>
                </c:pt>
                <c:pt idx="156">
                  <c:v>1484168.8415079999</c:v>
                </c:pt>
                <c:pt idx="157">
                  <c:v>-2397610.6232579998</c:v>
                </c:pt>
                <c:pt idx="158">
                  <c:v>114569.21964</c:v>
                </c:pt>
                <c:pt idx="159">
                  <c:v>-567040.74588599999</c:v>
                </c:pt>
                <c:pt idx="160">
                  <c:v>-1346441.8272879999</c:v>
                </c:pt>
                <c:pt idx="161">
                  <c:v>-1185755.637963</c:v>
                </c:pt>
                <c:pt idx="162">
                  <c:v>-542707.89893899998</c:v>
                </c:pt>
                <c:pt idx="163">
                  <c:v>-666958.30909</c:v>
                </c:pt>
                <c:pt idx="164">
                  <c:v>-327545.31221800001</c:v>
                </c:pt>
                <c:pt idx="165">
                  <c:v>-1568022.623806</c:v>
                </c:pt>
                <c:pt idx="166">
                  <c:v>-1566283.122921</c:v>
                </c:pt>
                <c:pt idx="167">
                  <c:v>-2422167.9528689999</c:v>
                </c:pt>
                <c:pt idx="168">
                  <c:v>-798221.20150099997</c:v>
                </c:pt>
                <c:pt idx="169">
                  <c:v>-1102719.0481169999</c:v>
                </c:pt>
                <c:pt idx="170">
                  <c:v>-3812572.5105849998</c:v>
                </c:pt>
                <c:pt idx="171">
                  <c:v>-344525.26184300001</c:v>
                </c:pt>
                <c:pt idx="172">
                  <c:v>1820234.25199</c:v>
                </c:pt>
                <c:pt idx="173">
                  <c:v>2798962.3688719999</c:v>
                </c:pt>
                <c:pt idx="174">
                  <c:v>-1730584.1377880001</c:v>
                </c:pt>
                <c:pt idx="175">
                  <c:v>-43534.731805000003</c:v>
                </c:pt>
                <c:pt idx="176">
                  <c:v>1576994.0638059999</c:v>
                </c:pt>
                <c:pt idx="177">
                  <c:v>-1827621.9533289999</c:v>
                </c:pt>
                <c:pt idx="178">
                  <c:v>-1207455.5698539999</c:v>
                </c:pt>
                <c:pt idx="179">
                  <c:v>-90480.812086000005</c:v>
                </c:pt>
                <c:pt idx="180">
                  <c:v>2865985.2245009998</c:v>
                </c:pt>
                <c:pt idx="181">
                  <c:v>1941299.502483</c:v>
                </c:pt>
                <c:pt idx="182">
                  <c:v>1538012.4856509999</c:v>
                </c:pt>
                <c:pt idx="183">
                  <c:v>7070061.9074419998</c:v>
                </c:pt>
                <c:pt idx="184">
                  <c:v>-8013324.5421730001</c:v>
                </c:pt>
                <c:pt idx="185">
                  <c:v>-7508702.5735160001</c:v>
                </c:pt>
                <c:pt idx="186">
                  <c:v>5096697.4692270001</c:v>
                </c:pt>
                <c:pt idx="187">
                  <c:v>-2558071.054188</c:v>
                </c:pt>
                <c:pt idx="188">
                  <c:v>474252.26694300002</c:v>
                </c:pt>
                <c:pt idx="189">
                  <c:v>6416851.0737100001</c:v>
                </c:pt>
                <c:pt idx="190">
                  <c:v>4827515.5707729999</c:v>
                </c:pt>
                <c:pt idx="191">
                  <c:v>2301747.6032750001</c:v>
                </c:pt>
                <c:pt idx="192">
                  <c:v>286332.07255099999</c:v>
                </c:pt>
                <c:pt idx="193">
                  <c:v>-4539126.3101850003</c:v>
                </c:pt>
                <c:pt idx="194">
                  <c:v>-1805233.232509</c:v>
                </c:pt>
                <c:pt idx="195">
                  <c:v>10213193.482115</c:v>
                </c:pt>
                <c:pt idx="196">
                  <c:v>-1816826.9255260001</c:v>
                </c:pt>
                <c:pt idx="197">
                  <c:v>1405734.61916</c:v>
                </c:pt>
                <c:pt idx="198">
                  <c:v>-7911873.5004190002</c:v>
                </c:pt>
                <c:pt idx="199">
                  <c:v>-3848821.478747</c:v>
                </c:pt>
                <c:pt idx="200">
                  <c:v>-4166763.3907030001</c:v>
                </c:pt>
                <c:pt idx="201">
                  <c:v>-1097954.3684330001</c:v>
                </c:pt>
                <c:pt idx="202">
                  <c:v>-12877989.89247</c:v>
                </c:pt>
                <c:pt idx="203">
                  <c:v>-11254051.0096</c:v>
                </c:pt>
                <c:pt idx="204">
                  <c:v>-18643809.413942002</c:v>
                </c:pt>
                <c:pt idx="205">
                  <c:v>-5859089.8999429997</c:v>
                </c:pt>
                <c:pt idx="206">
                  <c:v>-753023.32464300003</c:v>
                </c:pt>
                <c:pt idx="207">
                  <c:v>-2182206.217619</c:v>
                </c:pt>
                <c:pt idx="208">
                  <c:v>-9471465.9606599994</c:v>
                </c:pt>
                <c:pt idx="209">
                  <c:v>-5385113.4854800003</c:v>
                </c:pt>
                <c:pt idx="210">
                  <c:v>-2126520.7393999998</c:v>
                </c:pt>
                <c:pt idx="211">
                  <c:v>-2635579.575524</c:v>
                </c:pt>
                <c:pt idx="212">
                  <c:v>-3483299.0191569999</c:v>
                </c:pt>
                <c:pt idx="213">
                  <c:v>-2053032.0733380001</c:v>
                </c:pt>
                <c:pt idx="214">
                  <c:v>-4610947.2049799999</c:v>
                </c:pt>
                <c:pt idx="215">
                  <c:v>-3737636.9558859998</c:v>
                </c:pt>
                <c:pt idx="216">
                  <c:v>-2725214.422917</c:v>
                </c:pt>
                <c:pt idx="217">
                  <c:v>9507886.6877779998</c:v>
                </c:pt>
                <c:pt idx="218">
                  <c:v>4821505.904685</c:v>
                </c:pt>
                <c:pt idx="219">
                  <c:v>-3105853.813786</c:v>
                </c:pt>
                <c:pt idx="220">
                  <c:v>13970515.352430999</c:v>
                </c:pt>
                <c:pt idx="221">
                  <c:v>-2697356.480494</c:v>
                </c:pt>
                <c:pt idx="222">
                  <c:v>-6072184.692121</c:v>
                </c:pt>
                <c:pt idx="223">
                  <c:v>-912647.010931</c:v>
                </c:pt>
                <c:pt idx="224">
                  <c:v>-8933208.4795019999</c:v>
                </c:pt>
                <c:pt idx="225">
                  <c:v>-8547711.9811649993</c:v>
                </c:pt>
                <c:pt idx="226">
                  <c:v>-1714264.2977430001</c:v>
                </c:pt>
                <c:pt idx="227">
                  <c:v>-2928489.2632829999</c:v>
                </c:pt>
                <c:pt idx="228">
                  <c:v>1629252.3631569999</c:v>
                </c:pt>
                <c:pt idx="229">
                  <c:v>-4893202.1707389997</c:v>
                </c:pt>
                <c:pt idx="230">
                  <c:v>-7923366.2011700002</c:v>
                </c:pt>
                <c:pt idx="231">
                  <c:v>-1670662.6890060001</c:v>
                </c:pt>
                <c:pt idx="232">
                  <c:v>-38399.038142999998</c:v>
                </c:pt>
                <c:pt idx="233">
                  <c:v>3955969.473586</c:v>
                </c:pt>
                <c:pt idx="234">
                  <c:v>9520590.9249460008</c:v>
                </c:pt>
                <c:pt idx="235">
                  <c:v>3862969.3086089999</c:v>
                </c:pt>
                <c:pt idx="236">
                  <c:v>1402740.539932</c:v>
                </c:pt>
                <c:pt idx="237">
                  <c:v>-151080.96038100001</c:v>
                </c:pt>
                <c:pt idx="238">
                  <c:v>2215583.4096710002</c:v>
                </c:pt>
                <c:pt idx="239">
                  <c:v>5337847.4964260003</c:v>
                </c:pt>
                <c:pt idx="240">
                  <c:v>4995960.5219860002</c:v>
                </c:pt>
                <c:pt idx="241">
                  <c:v>2377364.8994720001</c:v>
                </c:pt>
                <c:pt idx="242">
                  <c:v>-3194912.5660549998</c:v>
                </c:pt>
                <c:pt idx="243">
                  <c:v>5953049.9521629997</c:v>
                </c:pt>
                <c:pt idx="244">
                  <c:v>12041961.308267999</c:v>
                </c:pt>
                <c:pt idx="245">
                  <c:v>10099237.315027</c:v>
                </c:pt>
                <c:pt idx="246">
                  <c:v>-10444823.444889</c:v>
                </c:pt>
                <c:pt idx="247">
                  <c:v>5293152.7682330003</c:v>
                </c:pt>
                <c:pt idx="248">
                  <c:v>21230745.683478002</c:v>
                </c:pt>
                <c:pt idx="249">
                  <c:v>5846461.5540490001</c:v>
                </c:pt>
                <c:pt idx="250">
                  <c:v>6794847.726121</c:v>
                </c:pt>
                <c:pt idx="251">
                  <c:v>13471545.114528</c:v>
                </c:pt>
                <c:pt idx="252">
                  <c:v>6482036.4095949996</c:v>
                </c:pt>
                <c:pt idx="253">
                  <c:v>4680924.3032710003</c:v>
                </c:pt>
                <c:pt idx="254">
                  <c:v>9688351.3769429997</c:v>
                </c:pt>
                <c:pt idx="255">
                  <c:v>6041654.1418580003</c:v>
                </c:pt>
                <c:pt idx="256">
                  <c:v>23713674.609786998</c:v>
                </c:pt>
                <c:pt idx="257">
                  <c:v>12343364.520939</c:v>
                </c:pt>
                <c:pt idx="258">
                  <c:v>6194091.8055769997</c:v>
                </c:pt>
                <c:pt idx="259">
                  <c:v>13289694.793692</c:v>
                </c:pt>
                <c:pt idx="260">
                  <c:v>17859818.774333</c:v>
                </c:pt>
                <c:pt idx="261">
                  <c:v>23219297.517583001</c:v>
                </c:pt>
                <c:pt idx="262">
                  <c:v>-37194899.883726001</c:v>
                </c:pt>
                <c:pt idx="263">
                  <c:v>-33960301.558660999</c:v>
                </c:pt>
                <c:pt idx="264">
                  <c:v>-14916908.507773999</c:v>
                </c:pt>
                <c:pt idx="265">
                  <c:v>-26040348.020063002</c:v>
                </c:pt>
                <c:pt idx="266">
                  <c:v>-32660267.087593999</c:v>
                </c:pt>
                <c:pt idx="267">
                  <c:v>10639481.129450001</c:v>
                </c:pt>
                <c:pt idx="268">
                  <c:v>-2335303.1019120002</c:v>
                </c:pt>
                <c:pt idx="269">
                  <c:v>3001540.9732880001</c:v>
                </c:pt>
                <c:pt idx="270">
                  <c:v>-6844954.8970809998</c:v>
                </c:pt>
                <c:pt idx="271">
                  <c:v>456232.997447</c:v>
                </c:pt>
                <c:pt idx="272">
                  <c:v>8539382.0598980002</c:v>
                </c:pt>
                <c:pt idx="273">
                  <c:v>2188888.2280080002</c:v>
                </c:pt>
                <c:pt idx="274">
                  <c:v>-1363836.4479139999</c:v>
                </c:pt>
                <c:pt idx="275">
                  <c:v>-11692429.647232</c:v>
                </c:pt>
                <c:pt idx="276">
                  <c:v>-18855980.911805999</c:v>
                </c:pt>
                <c:pt idx="277">
                  <c:v>1427703.167716</c:v>
                </c:pt>
                <c:pt idx="278">
                  <c:v>583097.82253200002</c:v>
                </c:pt>
                <c:pt idx="279">
                  <c:v>-7746551.751588</c:v>
                </c:pt>
                <c:pt idx="280">
                  <c:v>-362529.34292199998</c:v>
                </c:pt>
                <c:pt idx="281">
                  <c:v>1098773.4887079999</c:v>
                </c:pt>
                <c:pt idx="282">
                  <c:v>-3336024.1429710002</c:v>
                </c:pt>
                <c:pt idx="283">
                  <c:v>-14807477.965999</c:v>
                </c:pt>
                <c:pt idx="284">
                  <c:v>-3642851.4443339999</c:v>
                </c:pt>
                <c:pt idx="285">
                  <c:v>-10621761.125251001</c:v>
                </c:pt>
                <c:pt idx="286">
                  <c:v>-1594821.9598960001</c:v>
                </c:pt>
                <c:pt idx="287">
                  <c:v>1708572.5205600001</c:v>
                </c:pt>
                <c:pt idx="288">
                  <c:v>215685.21664500001</c:v>
                </c:pt>
                <c:pt idx="289">
                  <c:v>-6455390.3599180002</c:v>
                </c:pt>
                <c:pt idx="290">
                  <c:v>-4491592.613012</c:v>
                </c:pt>
                <c:pt idx="291">
                  <c:v>-870667.25192199997</c:v>
                </c:pt>
                <c:pt idx="292">
                  <c:v>-772301.96631399996</c:v>
                </c:pt>
                <c:pt idx="293">
                  <c:v>-3010928.095706</c:v>
                </c:pt>
                <c:pt idx="294">
                  <c:v>-994087.14716199995</c:v>
                </c:pt>
                <c:pt idx="295">
                  <c:v>-2424535.3616980002</c:v>
                </c:pt>
                <c:pt idx="296">
                  <c:v>-4262751.3409360005</c:v>
                </c:pt>
                <c:pt idx="297">
                  <c:v>-1789595.1338780001</c:v>
                </c:pt>
                <c:pt idx="298">
                  <c:v>-2889256.3674909999</c:v>
                </c:pt>
                <c:pt idx="299">
                  <c:v>-428680.38708999997</c:v>
                </c:pt>
                <c:pt idx="300">
                  <c:v>444841.93987100001</c:v>
                </c:pt>
                <c:pt idx="301">
                  <c:v>-616152.873226</c:v>
                </c:pt>
                <c:pt idx="302">
                  <c:v>-570720.134356</c:v>
                </c:pt>
                <c:pt idx="303">
                  <c:v>-1174761.8156330001</c:v>
                </c:pt>
                <c:pt idx="304">
                  <c:v>-5554116.3563099997</c:v>
                </c:pt>
                <c:pt idx="305">
                  <c:v>-7580798.1863829996</c:v>
                </c:pt>
                <c:pt idx="306">
                  <c:v>-13376931.343978999</c:v>
                </c:pt>
                <c:pt idx="307">
                  <c:v>-10459307.646265</c:v>
                </c:pt>
                <c:pt idx="308">
                  <c:v>-2042732.194711</c:v>
                </c:pt>
                <c:pt idx="309">
                  <c:v>-7496555.8896580003</c:v>
                </c:pt>
                <c:pt idx="310">
                  <c:v>-9286550.598282</c:v>
                </c:pt>
                <c:pt idx="311">
                  <c:v>7750406.988508</c:v>
                </c:pt>
                <c:pt idx="312">
                  <c:v>1587541.334941</c:v>
                </c:pt>
                <c:pt idx="313">
                  <c:v>-6215807.3012380004</c:v>
                </c:pt>
                <c:pt idx="314">
                  <c:v>-913098.89928500005</c:v>
                </c:pt>
                <c:pt idx="315">
                  <c:v>1114238.944223</c:v>
                </c:pt>
                <c:pt idx="316">
                  <c:v>-1788053.9559170001</c:v>
                </c:pt>
                <c:pt idx="317">
                  <c:v>-517186.595409</c:v>
                </c:pt>
                <c:pt idx="318">
                  <c:v>-1855367.1626569999</c:v>
                </c:pt>
                <c:pt idx="319">
                  <c:v>-8889197.0025890004</c:v>
                </c:pt>
                <c:pt idx="320">
                  <c:v>-2135523.871971</c:v>
                </c:pt>
                <c:pt idx="321">
                  <c:v>197895.91873599999</c:v>
                </c:pt>
                <c:pt idx="322">
                  <c:v>2879452.2287670001</c:v>
                </c:pt>
                <c:pt idx="323">
                  <c:v>-3345316.7457940001</c:v>
                </c:pt>
                <c:pt idx="324">
                  <c:v>-1425040.610447</c:v>
                </c:pt>
                <c:pt idx="325">
                  <c:v>-5333259.9784920001</c:v>
                </c:pt>
                <c:pt idx="326">
                  <c:v>-869277.70128899999</c:v>
                </c:pt>
                <c:pt idx="327">
                  <c:v>-10224108.763268</c:v>
                </c:pt>
                <c:pt idx="328">
                  <c:v>-362893.90526199999</c:v>
                </c:pt>
                <c:pt idx="329">
                  <c:v>117911.413143</c:v>
                </c:pt>
                <c:pt idx="330">
                  <c:v>-4162636.1780059999</c:v>
                </c:pt>
                <c:pt idx="331">
                  <c:v>-1640289.4114989999</c:v>
                </c:pt>
                <c:pt idx="332">
                  <c:v>-4947057.6643449999</c:v>
                </c:pt>
                <c:pt idx="333">
                  <c:v>-4222907.2881929995</c:v>
                </c:pt>
                <c:pt idx="334">
                  <c:v>-2508184.6624130001</c:v>
                </c:pt>
                <c:pt idx="335">
                  <c:v>-6297332.004218</c:v>
                </c:pt>
                <c:pt idx="336">
                  <c:v>-1477162.9957280001</c:v>
                </c:pt>
                <c:pt idx="337">
                  <c:v>4709618.3662059996</c:v>
                </c:pt>
                <c:pt idx="338">
                  <c:v>4283534.071281</c:v>
                </c:pt>
                <c:pt idx="339">
                  <c:v>-1598481.0213589999</c:v>
                </c:pt>
                <c:pt idx="340">
                  <c:v>-2224382.9966460001</c:v>
                </c:pt>
                <c:pt idx="341">
                  <c:v>180173.431759</c:v>
                </c:pt>
                <c:pt idx="342">
                  <c:v>-5044498.8677740004</c:v>
                </c:pt>
                <c:pt idx="343">
                  <c:v>-1396806.0346560001</c:v>
                </c:pt>
                <c:pt idx="344">
                  <c:v>1753628.2773549999</c:v>
                </c:pt>
                <c:pt idx="345">
                  <c:v>-1437097.024462</c:v>
                </c:pt>
                <c:pt idx="346">
                  <c:v>-9695594.5298200008</c:v>
                </c:pt>
                <c:pt idx="347">
                  <c:v>-4292576.3791800002</c:v>
                </c:pt>
                <c:pt idx="348">
                  <c:v>-1231942.8588709999</c:v>
                </c:pt>
                <c:pt idx="349">
                  <c:v>-2185108.8148920001</c:v>
                </c:pt>
                <c:pt idx="350">
                  <c:v>-1763810.3209160001</c:v>
                </c:pt>
                <c:pt idx="351">
                  <c:v>982787.27161699999</c:v>
                </c:pt>
                <c:pt idx="352">
                  <c:v>-3659670.7865149998</c:v>
                </c:pt>
                <c:pt idx="353">
                  <c:v>-3555155.489234</c:v>
                </c:pt>
                <c:pt idx="354">
                  <c:v>-2772791.7631680002</c:v>
                </c:pt>
                <c:pt idx="355">
                  <c:v>-1556844.525287</c:v>
                </c:pt>
                <c:pt idx="356">
                  <c:v>-6578339.576165</c:v>
                </c:pt>
                <c:pt idx="357">
                  <c:v>-1726241.622588</c:v>
                </c:pt>
                <c:pt idx="358">
                  <c:v>-1387240.144602</c:v>
                </c:pt>
                <c:pt idx="359">
                  <c:v>-4402836.8250780003</c:v>
                </c:pt>
                <c:pt idx="360">
                  <c:v>-3980326.7091489998</c:v>
                </c:pt>
                <c:pt idx="361">
                  <c:v>-495453.82510399999</c:v>
                </c:pt>
                <c:pt idx="362">
                  <c:v>-1067632.6529620001</c:v>
                </c:pt>
                <c:pt idx="363">
                  <c:v>-5438212.1218750002</c:v>
                </c:pt>
                <c:pt idx="364">
                  <c:v>-13635608.797746001</c:v>
                </c:pt>
                <c:pt idx="365">
                  <c:v>-3534742.0278960001</c:v>
                </c:pt>
                <c:pt idx="366">
                  <c:v>289610.18419900001</c:v>
                </c:pt>
                <c:pt idx="367">
                  <c:v>-1028854.922583</c:v>
                </c:pt>
                <c:pt idx="368">
                  <c:v>-5753712.5900959997</c:v>
                </c:pt>
                <c:pt idx="369">
                  <c:v>-4094634.8607740002</c:v>
                </c:pt>
                <c:pt idx="370">
                  <c:v>1035032.753388</c:v>
                </c:pt>
                <c:pt idx="371">
                  <c:v>-1239815.0683329999</c:v>
                </c:pt>
                <c:pt idx="372">
                  <c:v>-6755339.8368880004</c:v>
                </c:pt>
                <c:pt idx="373">
                  <c:v>-1035651.135761</c:v>
                </c:pt>
                <c:pt idx="374">
                  <c:v>-805319.33492199995</c:v>
                </c:pt>
                <c:pt idx="375">
                  <c:v>-3086050.9896789999</c:v>
                </c:pt>
                <c:pt idx="376">
                  <c:v>-3902703.9735519998</c:v>
                </c:pt>
                <c:pt idx="377">
                  <c:v>-2539470.5907419999</c:v>
                </c:pt>
                <c:pt idx="378">
                  <c:v>-10723247.165130001</c:v>
                </c:pt>
                <c:pt idx="379">
                  <c:v>-1831934.828614</c:v>
                </c:pt>
                <c:pt idx="380">
                  <c:v>915332.16905699996</c:v>
                </c:pt>
                <c:pt idx="381">
                  <c:v>-3670696.6656240001</c:v>
                </c:pt>
                <c:pt idx="382">
                  <c:v>-6906159.5082179997</c:v>
                </c:pt>
                <c:pt idx="383">
                  <c:v>1632021.3814000001</c:v>
                </c:pt>
                <c:pt idx="384">
                  <c:v>-383633.91466100002</c:v>
                </c:pt>
                <c:pt idx="385">
                  <c:v>1174727.9172370001</c:v>
                </c:pt>
                <c:pt idx="386">
                  <c:v>1268156.8123319999</c:v>
                </c:pt>
                <c:pt idx="387">
                  <c:v>-1846675.656527</c:v>
                </c:pt>
                <c:pt idx="388">
                  <c:v>-2028232.514771</c:v>
                </c:pt>
                <c:pt idx="389">
                  <c:v>-248327.742275</c:v>
                </c:pt>
                <c:pt idx="390">
                  <c:v>-9702.0832300000002</c:v>
                </c:pt>
                <c:pt idx="391">
                  <c:v>-2889963.4731279998</c:v>
                </c:pt>
                <c:pt idx="392">
                  <c:v>-1226316.993787</c:v>
                </c:pt>
                <c:pt idx="393">
                  <c:v>-329213.638523</c:v>
                </c:pt>
                <c:pt idx="394">
                  <c:v>-266633.31592299999</c:v>
                </c:pt>
                <c:pt idx="395">
                  <c:v>-2767041.6894970001</c:v>
                </c:pt>
                <c:pt idx="396">
                  <c:v>-739381.54085800005</c:v>
                </c:pt>
                <c:pt idx="397">
                  <c:v>116594.025025</c:v>
                </c:pt>
                <c:pt idx="398">
                  <c:v>-817774.98695299996</c:v>
                </c:pt>
                <c:pt idx="399">
                  <c:v>-1104394.19301</c:v>
                </c:pt>
                <c:pt idx="400">
                  <c:v>-1933325.7221349999</c:v>
                </c:pt>
                <c:pt idx="401">
                  <c:v>-2472349.8892430002</c:v>
                </c:pt>
                <c:pt idx="402">
                  <c:v>2764385.1481059999</c:v>
                </c:pt>
                <c:pt idx="403">
                  <c:v>1457682.0182920001</c:v>
                </c:pt>
                <c:pt idx="404">
                  <c:v>4514027.7522130003</c:v>
                </c:pt>
                <c:pt idx="405">
                  <c:v>3944853.7412680001</c:v>
                </c:pt>
                <c:pt idx="406">
                  <c:v>1280938.8410400001</c:v>
                </c:pt>
                <c:pt idx="407">
                  <c:v>-3023546.6410300001</c:v>
                </c:pt>
                <c:pt idx="408">
                  <c:v>-3903690.5767680001</c:v>
                </c:pt>
                <c:pt idx="409">
                  <c:v>-594991.16309699998</c:v>
                </c:pt>
                <c:pt idx="410">
                  <c:v>-1991289.6981190001</c:v>
                </c:pt>
                <c:pt idx="411">
                  <c:v>-2432742.921629</c:v>
                </c:pt>
                <c:pt idx="412">
                  <c:v>-1593178.4779129999</c:v>
                </c:pt>
                <c:pt idx="413">
                  <c:v>877864.35558800003</c:v>
                </c:pt>
                <c:pt idx="414">
                  <c:v>1082442.8865149999</c:v>
                </c:pt>
                <c:pt idx="415">
                  <c:v>-3735372.2464470002</c:v>
                </c:pt>
                <c:pt idx="416">
                  <c:v>-3698590.202604</c:v>
                </c:pt>
                <c:pt idx="417">
                  <c:v>-1542178.4040910001</c:v>
                </c:pt>
                <c:pt idx="418">
                  <c:v>-3011114.3951460002</c:v>
                </c:pt>
                <c:pt idx="419">
                  <c:v>-2136899.692607</c:v>
                </c:pt>
                <c:pt idx="420">
                  <c:v>-4688940.4751570001</c:v>
                </c:pt>
                <c:pt idx="421">
                  <c:v>-1988562.3941329999</c:v>
                </c:pt>
                <c:pt idx="422">
                  <c:v>299174.85702900001</c:v>
                </c:pt>
                <c:pt idx="423">
                  <c:v>-2211079.7650350002</c:v>
                </c:pt>
                <c:pt idx="424">
                  <c:v>-1182511.3254760001</c:v>
                </c:pt>
                <c:pt idx="425">
                  <c:v>-2038901.145216</c:v>
                </c:pt>
                <c:pt idx="426">
                  <c:v>-994642.83846</c:v>
                </c:pt>
                <c:pt idx="427">
                  <c:v>-1654397.912055</c:v>
                </c:pt>
                <c:pt idx="428">
                  <c:v>-471116.679168</c:v>
                </c:pt>
                <c:pt idx="429">
                  <c:v>-836764.15428400005</c:v>
                </c:pt>
                <c:pt idx="430">
                  <c:v>-1109788.5440130001</c:v>
                </c:pt>
                <c:pt idx="431">
                  <c:v>834244.66909700003</c:v>
                </c:pt>
                <c:pt idx="432">
                  <c:v>-468431.909659</c:v>
                </c:pt>
                <c:pt idx="433">
                  <c:v>-395286.100118</c:v>
                </c:pt>
                <c:pt idx="434">
                  <c:v>-2297895.2431760002</c:v>
                </c:pt>
                <c:pt idx="435">
                  <c:v>-3752043.717195</c:v>
                </c:pt>
                <c:pt idx="436">
                  <c:v>-355294.36839800002</c:v>
                </c:pt>
                <c:pt idx="437">
                  <c:v>-8677273.8787980005</c:v>
                </c:pt>
                <c:pt idx="438">
                  <c:v>-5832552.0521360002</c:v>
                </c:pt>
                <c:pt idx="439">
                  <c:v>-4684329.0292339996</c:v>
                </c:pt>
                <c:pt idx="440">
                  <c:v>-8570588.4266989995</c:v>
                </c:pt>
                <c:pt idx="441">
                  <c:v>-825960.42575599998</c:v>
                </c:pt>
                <c:pt idx="442">
                  <c:v>-459231.857043</c:v>
                </c:pt>
                <c:pt idx="443">
                  <c:v>465393.52766800002</c:v>
                </c:pt>
                <c:pt idx="444">
                  <c:v>-3344901.5387619999</c:v>
                </c:pt>
                <c:pt idx="445">
                  <c:v>-3573911.5954749999</c:v>
                </c:pt>
                <c:pt idx="446">
                  <c:v>-1898706.695573</c:v>
                </c:pt>
                <c:pt idx="447">
                  <c:v>1571609.1528779999</c:v>
                </c:pt>
                <c:pt idx="448">
                  <c:v>-487577.97305600002</c:v>
                </c:pt>
                <c:pt idx="449">
                  <c:v>237667.27585100001</c:v>
                </c:pt>
                <c:pt idx="450">
                  <c:v>-837095.13450599997</c:v>
                </c:pt>
                <c:pt idx="451">
                  <c:v>-2462978.6765760002</c:v>
                </c:pt>
                <c:pt idx="452">
                  <c:v>181746.35482499999</c:v>
                </c:pt>
                <c:pt idx="453">
                  <c:v>-2504353.5335309999</c:v>
                </c:pt>
                <c:pt idx="454">
                  <c:v>-1752872.2019090001</c:v>
                </c:pt>
                <c:pt idx="455">
                  <c:v>-1328445.703519</c:v>
                </c:pt>
                <c:pt idx="456">
                  <c:v>-2996458.9518490001</c:v>
                </c:pt>
                <c:pt idx="457">
                  <c:v>-1906686.409678</c:v>
                </c:pt>
                <c:pt idx="458">
                  <c:v>-819603.71267299994</c:v>
                </c:pt>
                <c:pt idx="459">
                  <c:v>-3541068.050121</c:v>
                </c:pt>
                <c:pt idx="460">
                  <c:v>-2082612.377111</c:v>
                </c:pt>
                <c:pt idx="461">
                  <c:v>-2649280.297921</c:v>
                </c:pt>
                <c:pt idx="462">
                  <c:v>-2851058.9882840002</c:v>
                </c:pt>
                <c:pt idx="463">
                  <c:v>-2226307.987468</c:v>
                </c:pt>
                <c:pt idx="464">
                  <c:v>262930.37841599999</c:v>
                </c:pt>
                <c:pt idx="465">
                  <c:v>4653227.0307670003</c:v>
                </c:pt>
                <c:pt idx="466">
                  <c:v>5576367.7344770003</c:v>
                </c:pt>
                <c:pt idx="467">
                  <c:v>-2613103.4049300002</c:v>
                </c:pt>
                <c:pt idx="468">
                  <c:v>4105469.549168</c:v>
                </c:pt>
                <c:pt idx="469">
                  <c:v>-1008700.238248</c:v>
                </c:pt>
                <c:pt idx="470">
                  <c:v>-706532.25138599996</c:v>
                </c:pt>
                <c:pt idx="471">
                  <c:v>-1630107.0058210001</c:v>
                </c:pt>
                <c:pt idx="472">
                  <c:v>251966.749385</c:v>
                </c:pt>
                <c:pt idx="473">
                  <c:v>9750.5122040000006</c:v>
                </c:pt>
                <c:pt idx="474">
                  <c:v>-1533431.233063</c:v>
                </c:pt>
                <c:pt idx="475">
                  <c:v>-1508265.750274</c:v>
                </c:pt>
                <c:pt idx="476">
                  <c:v>926210.15323699999</c:v>
                </c:pt>
                <c:pt idx="477">
                  <c:v>712999.31241599994</c:v>
                </c:pt>
                <c:pt idx="478">
                  <c:v>2524784.1659909999</c:v>
                </c:pt>
                <c:pt idx="479">
                  <c:v>440208.876277</c:v>
                </c:pt>
                <c:pt idx="480">
                  <c:v>-857263.21905900002</c:v>
                </c:pt>
                <c:pt idx="481">
                  <c:v>1189817.0010579999</c:v>
                </c:pt>
                <c:pt idx="482">
                  <c:v>39681.892889000002</c:v>
                </c:pt>
                <c:pt idx="483">
                  <c:v>-5176740.9460829999</c:v>
                </c:pt>
                <c:pt idx="484">
                  <c:v>-2764910.1232019998</c:v>
                </c:pt>
                <c:pt idx="485">
                  <c:v>-10211433.360977</c:v>
                </c:pt>
                <c:pt idx="486">
                  <c:v>-1780374.7901580001</c:v>
                </c:pt>
                <c:pt idx="487">
                  <c:v>165638.207796</c:v>
                </c:pt>
                <c:pt idx="488">
                  <c:v>-3893203.8175249998</c:v>
                </c:pt>
                <c:pt idx="489">
                  <c:v>-17293607.356513001</c:v>
                </c:pt>
                <c:pt idx="490">
                  <c:v>-5463202.3771660002</c:v>
                </c:pt>
                <c:pt idx="491">
                  <c:v>1369463.1954580001</c:v>
                </c:pt>
                <c:pt idx="492">
                  <c:v>-5619615.9732649997</c:v>
                </c:pt>
                <c:pt idx="493">
                  <c:v>-263042.012223</c:v>
                </c:pt>
                <c:pt idx="494">
                  <c:v>7593742.7879480002</c:v>
                </c:pt>
                <c:pt idx="495">
                  <c:v>2743288.7312349998</c:v>
                </c:pt>
                <c:pt idx="496">
                  <c:v>387073.20503299998</c:v>
                </c:pt>
                <c:pt idx="497">
                  <c:v>551911.67433299997</c:v>
                </c:pt>
                <c:pt idx="498">
                  <c:v>1429506.4754600001</c:v>
                </c:pt>
                <c:pt idx="499">
                  <c:v>180671.724116</c:v>
                </c:pt>
                <c:pt idx="500">
                  <c:v>-1091425.2979550001</c:v>
                </c:pt>
                <c:pt idx="501">
                  <c:v>-1176241.137569</c:v>
                </c:pt>
                <c:pt idx="502">
                  <c:v>-2463721.8143150001</c:v>
                </c:pt>
                <c:pt idx="503">
                  <c:v>-2253311.341393</c:v>
                </c:pt>
                <c:pt idx="504">
                  <c:v>-972537.28378499998</c:v>
                </c:pt>
                <c:pt idx="505">
                  <c:v>-2717114.7225600001</c:v>
                </c:pt>
                <c:pt idx="506">
                  <c:v>-1542903.930371</c:v>
                </c:pt>
                <c:pt idx="507">
                  <c:v>-813170.26971400005</c:v>
                </c:pt>
                <c:pt idx="508">
                  <c:v>-2359465.2824479998</c:v>
                </c:pt>
                <c:pt idx="509">
                  <c:v>-1963295.616292</c:v>
                </c:pt>
                <c:pt idx="510">
                  <c:v>-4590652.4085309999</c:v>
                </c:pt>
                <c:pt idx="511">
                  <c:v>-1314836.6040109999</c:v>
                </c:pt>
                <c:pt idx="512">
                  <c:v>-2514970.3891779999</c:v>
                </c:pt>
                <c:pt idx="513">
                  <c:v>85075.318595000004</c:v>
                </c:pt>
                <c:pt idx="514">
                  <c:v>-3395714.6439720001</c:v>
                </c:pt>
                <c:pt idx="515">
                  <c:v>-1854006.026606</c:v>
                </c:pt>
                <c:pt idx="516">
                  <c:v>-5604223.8933720002</c:v>
                </c:pt>
                <c:pt idx="517">
                  <c:v>-6065893.1297890004</c:v>
                </c:pt>
                <c:pt idx="518">
                  <c:v>-3402279.3668829999</c:v>
                </c:pt>
                <c:pt idx="519">
                  <c:v>-444711.38365600002</c:v>
                </c:pt>
                <c:pt idx="520">
                  <c:v>669316.39682400005</c:v>
                </c:pt>
                <c:pt idx="521">
                  <c:v>-1767167.5752010001</c:v>
                </c:pt>
                <c:pt idx="522">
                  <c:v>-2338036.6271779998</c:v>
                </c:pt>
                <c:pt idx="523">
                  <c:v>-2085361.494012</c:v>
                </c:pt>
                <c:pt idx="524">
                  <c:v>-4839535.791487</c:v>
                </c:pt>
                <c:pt idx="525">
                  <c:v>-3794335.1554390001</c:v>
                </c:pt>
                <c:pt idx="526">
                  <c:v>-877255.94011299999</c:v>
                </c:pt>
                <c:pt idx="527">
                  <c:v>-3514503.902799</c:v>
                </c:pt>
                <c:pt idx="528">
                  <c:v>-3813310.8269790001</c:v>
                </c:pt>
                <c:pt idx="529">
                  <c:v>-4818964.8084469996</c:v>
                </c:pt>
                <c:pt idx="530">
                  <c:v>-3990868.4204230001</c:v>
                </c:pt>
                <c:pt idx="531">
                  <c:v>-2872877.6319980002</c:v>
                </c:pt>
                <c:pt idx="532">
                  <c:v>-1674777.152515</c:v>
                </c:pt>
                <c:pt idx="533">
                  <c:v>-1653911.199878</c:v>
                </c:pt>
                <c:pt idx="534">
                  <c:v>-3198356.526817</c:v>
                </c:pt>
                <c:pt idx="535">
                  <c:v>1056801.178723</c:v>
                </c:pt>
                <c:pt idx="536">
                  <c:v>1315847.4947019999</c:v>
                </c:pt>
                <c:pt idx="537">
                  <c:v>-746111.83555600001</c:v>
                </c:pt>
                <c:pt idx="538">
                  <c:v>-7805483.4607180003</c:v>
                </c:pt>
                <c:pt idx="539">
                  <c:v>-3112427.7858799999</c:v>
                </c:pt>
                <c:pt idx="540">
                  <c:v>-1359264.335243</c:v>
                </c:pt>
                <c:pt idx="541">
                  <c:v>-2534664.1447990001</c:v>
                </c:pt>
                <c:pt idx="542">
                  <c:v>4735438.600385</c:v>
                </c:pt>
                <c:pt idx="543">
                  <c:v>-1465110.804127</c:v>
                </c:pt>
                <c:pt idx="544">
                  <c:v>-2927622.3816419998</c:v>
                </c:pt>
                <c:pt idx="545">
                  <c:v>-2975697.8480380001</c:v>
                </c:pt>
                <c:pt idx="546">
                  <c:v>-3932682.9030160001</c:v>
                </c:pt>
                <c:pt idx="547">
                  <c:v>-2794764.4174799998</c:v>
                </c:pt>
                <c:pt idx="548">
                  <c:v>-624551.27266599995</c:v>
                </c:pt>
                <c:pt idx="549">
                  <c:v>-308571.53710199997</c:v>
                </c:pt>
                <c:pt idx="550">
                  <c:v>-2115238.6317449999</c:v>
                </c:pt>
                <c:pt idx="551">
                  <c:v>-2178278.280735</c:v>
                </c:pt>
                <c:pt idx="552">
                  <c:v>-1157342.777063</c:v>
                </c:pt>
                <c:pt idx="553">
                  <c:v>-83028.702197000006</c:v>
                </c:pt>
                <c:pt idx="554">
                  <c:v>-1364193.506814</c:v>
                </c:pt>
                <c:pt idx="555">
                  <c:v>-1940627.938109</c:v>
                </c:pt>
                <c:pt idx="556">
                  <c:v>-3545196.6789310002</c:v>
                </c:pt>
                <c:pt idx="557">
                  <c:v>-1822593.081371</c:v>
                </c:pt>
                <c:pt idx="558">
                  <c:v>-12218433.271614</c:v>
                </c:pt>
                <c:pt idx="559">
                  <c:v>-10594266.919258</c:v>
                </c:pt>
                <c:pt idx="560">
                  <c:v>-1535727.4403250001</c:v>
                </c:pt>
                <c:pt idx="561">
                  <c:v>-3825823.4463829999</c:v>
                </c:pt>
                <c:pt idx="562">
                  <c:v>-3634345.053322</c:v>
                </c:pt>
                <c:pt idx="563">
                  <c:v>-1671652.191721</c:v>
                </c:pt>
                <c:pt idx="564">
                  <c:v>-1000184.0047929999</c:v>
                </c:pt>
                <c:pt idx="565">
                  <c:v>-3231380.1311699999</c:v>
                </c:pt>
                <c:pt idx="566">
                  <c:v>-3418625.9137149998</c:v>
                </c:pt>
                <c:pt idx="567">
                  <c:v>494995.68554600002</c:v>
                </c:pt>
                <c:pt idx="568">
                  <c:v>1656261.4246</c:v>
                </c:pt>
                <c:pt idx="569">
                  <c:v>2305023.1361469999</c:v>
                </c:pt>
                <c:pt idx="570">
                  <c:v>-664137.39010800002</c:v>
                </c:pt>
                <c:pt idx="571">
                  <c:v>-1232224.996367</c:v>
                </c:pt>
                <c:pt idx="572">
                  <c:v>-138322.45609699999</c:v>
                </c:pt>
                <c:pt idx="573">
                  <c:v>560577.29791299999</c:v>
                </c:pt>
                <c:pt idx="574">
                  <c:v>-1883465.255599</c:v>
                </c:pt>
                <c:pt idx="575">
                  <c:v>-1293226.4182480001</c:v>
                </c:pt>
                <c:pt idx="576">
                  <c:v>940806.97122199996</c:v>
                </c:pt>
                <c:pt idx="577">
                  <c:v>3426318.2385220001</c:v>
                </c:pt>
                <c:pt idx="578">
                  <c:v>-462527.10391100001</c:v>
                </c:pt>
                <c:pt idx="579">
                  <c:v>-2458141.8235889999</c:v>
                </c:pt>
                <c:pt idx="580">
                  <c:v>-473028.11279300001</c:v>
                </c:pt>
                <c:pt idx="581">
                  <c:v>-2147918.4863280002</c:v>
                </c:pt>
                <c:pt idx="582">
                  <c:v>2877891.187655</c:v>
                </c:pt>
                <c:pt idx="583">
                  <c:v>254520.523969</c:v>
                </c:pt>
                <c:pt idx="584">
                  <c:v>1404566.713311</c:v>
                </c:pt>
                <c:pt idx="585">
                  <c:v>-573721.869939</c:v>
                </c:pt>
                <c:pt idx="586">
                  <c:v>-2162381.0205700002</c:v>
                </c:pt>
                <c:pt idx="587">
                  <c:v>-1209609.774156</c:v>
                </c:pt>
                <c:pt idx="588">
                  <c:v>2008040.7040049999</c:v>
                </c:pt>
                <c:pt idx="589">
                  <c:v>725828.37210100004</c:v>
                </c:pt>
                <c:pt idx="590">
                  <c:v>-1607983.0418680001</c:v>
                </c:pt>
                <c:pt idx="591">
                  <c:v>2217886.0036209999</c:v>
                </c:pt>
                <c:pt idx="592">
                  <c:v>4100183.1454940001</c:v>
                </c:pt>
                <c:pt idx="593">
                  <c:v>-955995.00435800001</c:v>
                </c:pt>
                <c:pt idx="594">
                  <c:v>-6350639.699643</c:v>
                </c:pt>
                <c:pt idx="595">
                  <c:v>-8400177.8383300006</c:v>
                </c:pt>
                <c:pt idx="596">
                  <c:v>-6658104.8115050001</c:v>
                </c:pt>
                <c:pt idx="597">
                  <c:v>-3984310.2405679999</c:v>
                </c:pt>
                <c:pt idx="598">
                  <c:v>-6339586.2682149997</c:v>
                </c:pt>
                <c:pt idx="599">
                  <c:v>-2011914.3311389999</c:v>
                </c:pt>
                <c:pt idx="600">
                  <c:v>-1505256.702938</c:v>
                </c:pt>
                <c:pt idx="601">
                  <c:v>-6149369.3611730002</c:v>
                </c:pt>
                <c:pt idx="602">
                  <c:v>-1510690.9818790001</c:v>
                </c:pt>
                <c:pt idx="603">
                  <c:v>-869871.96931299998</c:v>
                </c:pt>
                <c:pt idx="604">
                  <c:v>256625.54210399999</c:v>
                </c:pt>
                <c:pt idx="605">
                  <c:v>-2281254.2188400002</c:v>
                </c:pt>
                <c:pt idx="606">
                  <c:v>-3916709.2517169998</c:v>
                </c:pt>
                <c:pt idx="607">
                  <c:v>-3074590.2200620002</c:v>
                </c:pt>
                <c:pt idx="608">
                  <c:v>-2005520.133708</c:v>
                </c:pt>
                <c:pt idx="609">
                  <c:v>-3117956.0256719999</c:v>
                </c:pt>
                <c:pt idx="610">
                  <c:v>-2473973.263303</c:v>
                </c:pt>
                <c:pt idx="611">
                  <c:v>-1213902.0508739999</c:v>
                </c:pt>
                <c:pt idx="612">
                  <c:v>-1618804.234769</c:v>
                </c:pt>
                <c:pt idx="613">
                  <c:v>-3302720.990491</c:v>
                </c:pt>
                <c:pt idx="614">
                  <c:v>1866740.392707</c:v>
                </c:pt>
                <c:pt idx="615">
                  <c:v>5443707.2412630003</c:v>
                </c:pt>
                <c:pt idx="616">
                  <c:v>1318130.3329409999</c:v>
                </c:pt>
                <c:pt idx="617">
                  <c:v>-1267887.4762909999</c:v>
                </c:pt>
                <c:pt idx="618">
                  <c:v>-39791.393080000002</c:v>
                </c:pt>
                <c:pt idx="619">
                  <c:v>-1125877.7175380001</c:v>
                </c:pt>
                <c:pt idx="620">
                  <c:v>-4673323.5538229998</c:v>
                </c:pt>
                <c:pt idx="621">
                  <c:v>-1933717.768804</c:v>
                </c:pt>
                <c:pt idx="622">
                  <c:v>-237912.96345499999</c:v>
                </c:pt>
                <c:pt idx="623">
                  <c:v>-1275267.8056979999</c:v>
                </c:pt>
                <c:pt idx="624">
                  <c:v>4304881.5355660003</c:v>
                </c:pt>
                <c:pt idx="625">
                  <c:v>6136914.0505710002</c:v>
                </c:pt>
                <c:pt idx="626">
                  <c:v>1954578.4043169999</c:v>
                </c:pt>
                <c:pt idx="627">
                  <c:v>-1385564.6667480001</c:v>
                </c:pt>
                <c:pt idx="628">
                  <c:v>901351.025899</c:v>
                </c:pt>
                <c:pt idx="629">
                  <c:v>9643210.8280539997</c:v>
                </c:pt>
                <c:pt idx="630">
                  <c:v>-1045674.515137</c:v>
                </c:pt>
                <c:pt idx="631">
                  <c:v>5699136.1701680003</c:v>
                </c:pt>
                <c:pt idx="632">
                  <c:v>315934.158428</c:v>
                </c:pt>
                <c:pt idx="633">
                  <c:v>-2895143.7057980001</c:v>
                </c:pt>
                <c:pt idx="634">
                  <c:v>3480723.420899</c:v>
                </c:pt>
                <c:pt idx="635">
                  <c:v>5782442.1359999999</c:v>
                </c:pt>
                <c:pt idx="636">
                  <c:v>8523756.5135830007</c:v>
                </c:pt>
                <c:pt idx="637">
                  <c:v>110023.37233899999</c:v>
                </c:pt>
                <c:pt idx="638">
                  <c:v>975564.11463800003</c:v>
                </c:pt>
                <c:pt idx="639">
                  <c:v>-5155964.6872469997</c:v>
                </c:pt>
                <c:pt idx="640">
                  <c:v>-1186161.1970210001</c:v>
                </c:pt>
                <c:pt idx="641">
                  <c:v>11620185.672504</c:v>
                </c:pt>
                <c:pt idx="642">
                  <c:v>1269665.5257339999</c:v>
                </c:pt>
                <c:pt idx="643">
                  <c:v>4489367.3904130002</c:v>
                </c:pt>
                <c:pt idx="644">
                  <c:v>-11626385.653365999</c:v>
                </c:pt>
                <c:pt idx="645">
                  <c:v>-2773311.336631</c:v>
                </c:pt>
                <c:pt idx="646">
                  <c:v>18469912.862126</c:v>
                </c:pt>
                <c:pt idx="647">
                  <c:v>1009998.8967639999</c:v>
                </c:pt>
                <c:pt idx="648">
                  <c:v>-101272.01876399999</c:v>
                </c:pt>
                <c:pt idx="649">
                  <c:v>12718943.472158</c:v>
                </c:pt>
                <c:pt idx="650">
                  <c:v>2153269.1685759998</c:v>
                </c:pt>
                <c:pt idx="651">
                  <c:v>-953505.95001000003</c:v>
                </c:pt>
                <c:pt idx="652">
                  <c:v>-13923401.386910001</c:v>
                </c:pt>
                <c:pt idx="653">
                  <c:v>-6012857.9749969998</c:v>
                </c:pt>
                <c:pt idx="654">
                  <c:v>11865549.257282</c:v>
                </c:pt>
                <c:pt idx="655">
                  <c:v>-2171071.7721299999</c:v>
                </c:pt>
                <c:pt idx="656">
                  <c:v>2996318.8481160002</c:v>
                </c:pt>
                <c:pt idx="657">
                  <c:v>5264913.2565540001</c:v>
                </c:pt>
                <c:pt idx="658">
                  <c:v>2823814.5007290002</c:v>
                </c:pt>
                <c:pt idx="659">
                  <c:v>-1742081.2626410001</c:v>
                </c:pt>
                <c:pt idx="660">
                  <c:v>-13726716.707551001</c:v>
                </c:pt>
                <c:pt idx="661">
                  <c:v>-11650688.033121999</c:v>
                </c:pt>
                <c:pt idx="662">
                  <c:v>-427894.42314600002</c:v>
                </c:pt>
                <c:pt idx="663">
                  <c:v>1083320.7638369999</c:v>
                </c:pt>
                <c:pt idx="664">
                  <c:v>9625709.8056439999</c:v>
                </c:pt>
                <c:pt idx="665">
                  <c:v>-593990.73656300001</c:v>
                </c:pt>
                <c:pt idx="666">
                  <c:v>639186.09924899996</c:v>
                </c:pt>
                <c:pt idx="667">
                  <c:v>7199936.7973659998</c:v>
                </c:pt>
                <c:pt idx="668">
                  <c:v>3243550.566569</c:v>
                </c:pt>
                <c:pt idx="669">
                  <c:v>-12283232.36169</c:v>
                </c:pt>
                <c:pt idx="670">
                  <c:v>-19853191.038479999</c:v>
                </c:pt>
                <c:pt idx="671">
                  <c:v>1622130.902065</c:v>
                </c:pt>
                <c:pt idx="672">
                  <c:v>-905414.228733</c:v>
                </c:pt>
                <c:pt idx="673">
                  <c:v>-14025267.225028001</c:v>
                </c:pt>
                <c:pt idx="674">
                  <c:v>-693226.82608999999</c:v>
                </c:pt>
                <c:pt idx="675">
                  <c:v>-8497436.2204609998</c:v>
                </c:pt>
                <c:pt idx="676">
                  <c:v>-1860175.8162159999</c:v>
                </c:pt>
                <c:pt idx="677">
                  <c:v>7583181.4016479999</c:v>
                </c:pt>
                <c:pt idx="678">
                  <c:v>1628967.8047569999</c:v>
                </c:pt>
                <c:pt idx="679">
                  <c:v>-5527841.1801739996</c:v>
                </c:pt>
                <c:pt idx="680">
                  <c:v>-1607705.7731089999</c:v>
                </c:pt>
                <c:pt idx="681">
                  <c:v>-1945110.1387499999</c:v>
                </c:pt>
                <c:pt idx="682">
                  <c:v>-12085593.808437999</c:v>
                </c:pt>
                <c:pt idx="683">
                  <c:v>-2709342.797429</c:v>
                </c:pt>
                <c:pt idx="684">
                  <c:v>-1867908.9942660001</c:v>
                </c:pt>
                <c:pt idx="685">
                  <c:v>7229051.2588010002</c:v>
                </c:pt>
                <c:pt idx="686">
                  <c:v>-5204625.8824340003</c:v>
                </c:pt>
                <c:pt idx="687">
                  <c:v>-8988308.1748239994</c:v>
                </c:pt>
                <c:pt idx="688">
                  <c:v>-20483969.421213999</c:v>
                </c:pt>
                <c:pt idx="689">
                  <c:v>-20108594.542192999</c:v>
                </c:pt>
                <c:pt idx="690">
                  <c:v>-13445007.055202</c:v>
                </c:pt>
                <c:pt idx="691">
                  <c:v>-863021.89046400005</c:v>
                </c:pt>
                <c:pt idx="692">
                  <c:v>1634183.105678</c:v>
                </c:pt>
                <c:pt idx="693">
                  <c:v>-2928537.2951500001</c:v>
                </c:pt>
                <c:pt idx="694">
                  <c:v>-7689710.4918219997</c:v>
                </c:pt>
                <c:pt idx="695">
                  <c:v>1758885.2264</c:v>
                </c:pt>
                <c:pt idx="696">
                  <c:v>10596268.452336</c:v>
                </c:pt>
                <c:pt idx="697">
                  <c:v>5197461.5506199999</c:v>
                </c:pt>
                <c:pt idx="698">
                  <c:v>-2208721.4773960002</c:v>
                </c:pt>
                <c:pt idx="699">
                  <c:v>-2208721.4773960002</c:v>
                </c:pt>
                <c:pt idx="700">
                  <c:v>-992791.84244000004</c:v>
                </c:pt>
                <c:pt idx="701">
                  <c:v>3917615.8124810001</c:v>
                </c:pt>
                <c:pt idx="702">
                  <c:v>-10473648.866141001</c:v>
                </c:pt>
                <c:pt idx="703">
                  <c:v>1006642.276624</c:v>
                </c:pt>
                <c:pt idx="704">
                  <c:v>-933761.90269400005</c:v>
                </c:pt>
                <c:pt idx="705">
                  <c:v>-13068687.300631</c:v>
                </c:pt>
                <c:pt idx="706">
                  <c:v>-13928047.064234</c:v>
                </c:pt>
                <c:pt idx="707">
                  <c:v>-1115759.0594269999</c:v>
                </c:pt>
                <c:pt idx="708">
                  <c:v>-4893596.3417689996</c:v>
                </c:pt>
                <c:pt idx="709">
                  <c:v>-820990.908994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8-4197-920C-72B1135D2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9939712"/>
        <c:axId val="367184928"/>
      </c:barChart>
      <c:lineChart>
        <c:grouping val="standard"/>
        <c:varyColors val="0"/>
        <c:ser>
          <c:idx val="1"/>
          <c:order val="1"/>
          <c:tx>
            <c:strRef>
              <c:f>'  بورس-خالص ورود حقیقی ارزش-بور'!$F$2</c:f>
              <c:strCache>
                <c:ptCount val="1"/>
                <c:pt idx="0">
                  <c:v> ورود و خروج پول حقیقی - تجمعی 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  بورس-خالص ورود حقیقی ارزش-بور'!$B$3:$B$707</c:f>
              <c:strCache>
                <c:ptCount val="705"/>
                <c:pt idx="0">
                  <c:v> 1401-01-06 </c:v>
                </c:pt>
                <c:pt idx="1">
                  <c:v> 1401-01-07 </c:v>
                </c:pt>
                <c:pt idx="2">
                  <c:v> 1401-01-08 </c:v>
                </c:pt>
                <c:pt idx="3">
                  <c:v> 1401-01-09 </c:v>
                </c:pt>
                <c:pt idx="4">
                  <c:v> 1401-01-10 </c:v>
                </c:pt>
                <c:pt idx="5">
                  <c:v> 1401-01-14 </c:v>
                </c:pt>
                <c:pt idx="6">
                  <c:v> 1401-01-15 </c:v>
                </c:pt>
                <c:pt idx="7">
                  <c:v> 1401-01-16 </c:v>
                </c:pt>
                <c:pt idx="8">
                  <c:v> 1401-01-17 </c:v>
                </c:pt>
                <c:pt idx="9">
                  <c:v> 1401-01-20 </c:v>
                </c:pt>
                <c:pt idx="10">
                  <c:v> 1401-01-21 </c:v>
                </c:pt>
                <c:pt idx="11">
                  <c:v> 1401-01-22 </c:v>
                </c:pt>
                <c:pt idx="12">
                  <c:v> 1401-01-23 </c:v>
                </c:pt>
                <c:pt idx="13">
                  <c:v> 1401-01-24 </c:v>
                </c:pt>
                <c:pt idx="14">
                  <c:v> 1401-01-27 </c:v>
                </c:pt>
                <c:pt idx="15">
                  <c:v> 1401-01-28 </c:v>
                </c:pt>
                <c:pt idx="16">
                  <c:v> 1401-01-29 </c:v>
                </c:pt>
                <c:pt idx="17">
                  <c:v> 1401-01-30 </c:v>
                </c:pt>
                <c:pt idx="18">
                  <c:v> 1401-01-31 </c:v>
                </c:pt>
                <c:pt idx="19">
                  <c:v> 1401-02-04 </c:v>
                </c:pt>
                <c:pt idx="20">
                  <c:v> 1401-02-05 </c:v>
                </c:pt>
                <c:pt idx="21">
                  <c:v> 1401-02-06 </c:v>
                </c:pt>
                <c:pt idx="22">
                  <c:v> 1401-02-07 </c:v>
                </c:pt>
                <c:pt idx="23">
                  <c:v> 1401-02-10 </c:v>
                </c:pt>
                <c:pt idx="24">
                  <c:v> 1401-02-11 </c:v>
                </c:pt>
                <c:pt idx="25">
                  <c:v> 1401-02-12 </c:v>
                </c:pt>
                <c:pt idx="26">
                  <c:v> 1401-02-17 </c:v>
                </c:pt>
                <c:pt idx="27">
                  <c:v> 1401-02-18 </c:v>
                </c:pt>
                <c:pt idx="28">
                  <c:v> 1401-02-19 </c:v>
                </c:pt>
                <c:pt idx="29">
                  <c:v> 1401-02-20 </c:v>
                </c:pt>
                <c:pt idx="30">
                  <c:v> 1401-02-21 </c:v>
                </c:pt>
                <c:pt idx="31">
                  <c:v> 1401-02-24 </c:v>
                </c:pt>
                <c:pt idx="32">
                  <c:v> 1401-02-25 </c:v>
                </c:pt>
                <c:pt idx="33">
                  <c:v> 1401-02-26 </c:v>
                </c:pt>
                <c:pt idx="34">
                  <c:v> 1401-02-27 </c:v>
                </c:pt>
                <c:pt idx="35">
                  <c:v> 1401-02-28 </c:v>
                </c:pt>
                <c:pt idx="36">
                  <c:v> 1401-02-31 </c:v>
                </c:pt>
                <c:pt idx="37">
                  <c:v> 1401-03-01 </c:v>
                </c:pt>
                <c:pt idx="38">
                  <c:v> 1401-03-02 </c:v>
                </c:pt>
                <c:pt idx="39">
                  <c:v> 1401-03-03 </c:v>
                </c:pt>
                <c:pt idx="40">
                  <c:v> 1401-03-04 </c:v>
                </c:pt>
                <c:pt idx="41">
                  <c:v> 1401-03-07 </c:v>
                </c:pt>
                <c:pt idx="42">
                  <c:v> 1401-03-08 </c:v>
                </c:pt>
                <c:pt idx="43">
                  <c:v> 1401-03-09 </c:v>
                </c:pt>
                <c:pt idx="44">
                  <c:v> 1401-03-10 </c:v>
                </c:pt>
                <c:pt idx="45">
                  <c:v> 1401-03-11 </c:v>
                </c:pt>
                <c:pt idx="46">
                  <c:v> 1401-03-16 </c:v>
                </c:pt>
                <c:pt idx="47">
                  <c:v> 1401-03-17 </c:v>
                </c:pt>
                <c:pt idx="48">
                  <c:v> 1401-03-18 </c:v>
                </c:pt>
                <c:pt idx="49">
                  <c:v> 1401-03-21 </c:v>
                </c:pt>
                <c:pt idx="50">
                  <c:v> 1401-03-22 </c:v>
                </c:pt>
                <c:pt idx="51">
                  <c:v> 1401-03-23 </c:v>
                </c:pt>
                <c:pt idx="52">
                  <c:v> 1401-03-24 </c:v>
                </c:pt>
                <c:pt idx="53">
                  <c:v> 1401-03-25 </c:v>
                </c:pt>
                <c:pt idx="54">
                  <c:v> 1401-03-28 </c:v>
                </c:pt>
                <c:pt idx="55">
                  <c:v> 1401-03-29 </c:v>
                </c:pt>
                <c:pt idx="56">
                  <c:v> 1401-03-30 </c:v>
                </c:pt>
                <c:pt idx="57">
                  <c:v> 1401-03-31 </c:v>
                </c:pt>
                <c:pt idx="58">
                  <c:v> 1401-04-01 </c:v>
                </c:pt>
                <c:pt idx="59">
                  <c:v> 1401-04-04 </c:v>
                </c:pt>
                <c:pt idx="60">
                  <c:v> 1401-04-05 </c:v>
                </c:pt>
                <c:pt idx="61">
                  <c:v> 1401-04-06 </c:v>
                </c:pt>
                <c:pt idx="62">
                  <c:v> 1401-04-07 </c:v>
                </c:pt>
                <c:pt idx="63">
                  <c:v> 1401-04-08 </c:v>
                </c:pt>
                <c:pt idx="64">
                  <c:v> 1401-04-11 </c:v>
                </c:pt>
                <c:pt idx="65">
                  <c:v> 1401-04-12 </c:v>
                </c:pt>
                <c:pt idx="66">
                  <c:v> 1401-04-13 </c:v>
                </c:pt>
                <c:pt idx="67">
                  <c:v> 1401-04-14 </c:v>
                </c:pt>
                <c:pt idx="68">
                  <c:v> 1401-04-15 </c:v>
                </c:pt>
                <c:pt idx="69">
                  <c:v> 1401-04-20 </c:v>
                </c:pt>
                <c:pt idx="70">
                  <c:v> 1401-04-21 </c:v>
                </c:pt>
                <c:pt idx="71">
                  <c:v> 1401-04-22 </c:v>
                </c:pt>
                <c:pt idx="72">
                  <c:v> 1401-04-25 </c:v>
                </c:pt>
                <c:pt idx="73">
                  <c:v> 1401-04-26 </c:v>
                </c:pt>
                <c:pt idx="74">
                  <c:v> 1401-04-28 </c:v>
                </c:pt>
                <c:pt idx="75">
                  <c:v> 1401-04-29 </c:v>
                </c:pt>
                <c:pt idx="76">
                  <c:v> 1401-05-01 </c:v>
                </c:pt>
                <c:pt idx="77">
                  <c:v> 1401-05-02 </c:v>
                </c:pt>
                <c:pt idx="78">
                  <c:v> 1401-05-03 </c:v>
                </c:pt>
                <c:pt idx="79">
                  <c:v> 1401-05-04 </c:v>
                </c:pt>
                <c:pt idx="80">
                  <c:v> 1401-05-05 </c:v>
                </c:pt>
                <c:pt idx="81">
                  <c:v> 1401-05-08 </c:v>
                </c:pt>
                <c:pt idx="82">
                  <c:v> 1401-05-09 </c:v>
                </c:pt>
                <c:pt idx="83">
                  <c:v> 1401-05-10 </c:v>
                </c:pt>
                <c:pt idx="84">
                  <c:v> 1401-05-11 </c:v>
                </c:pt>
                <c:pt idx="85">
                  <c:v> 1401-05-12 </c:v>
                </c:pt>
                <c:pt idx="86">
                  <c:v> 1401-05-15 </c:v>
                </c:pt>
                <c:pt idx="87">
                  <c:v> 1401-05-18 </c:v>
                </c:pt>
                <c:pt idx="88">
                  <c:v> 1401-05-19 </c:v>
                </c:pt>
                <c:pt idx="89">
                  <c:v> 1401-05-22 </c:v>
                </c:pt>
                <c:pt idx="90">
                  <c:v> 1401-05-23 </c:v>
                </c:pt>
                <c:pt idx="91">
                  <c:v> 1401-05-24 </c:v>
                </c:pt>
                <c:pt idx="92">
                  <c:v> 1401-05-25 </c:v>
                </c:pt>
                <c:pt idx="93">
                  <c:v> 1401-05-26 </c:v>
                </c:pt>
                <c:pt idx="94">
                  <c:v> 1401-05-29 </c:v>
                </c:pt>
                <c:pt idx="95">
                  <c:v> 1401-05-30 </c:v>
                </c:pt>
                <c:pt idx="96">
                  <c:v> 1401-05-31 </c:v>
                </c:pt>
                <c:pt idx="97">
                  <c:v> 1401-06-01 </c:v>
                </c:pt>
                <c:pt idx="98">
                  <c:v> 1401-06-02 </c:v>
                </c:pt>
                <c:pt idx="99">
                  <c:v> 1401-06-05 </c:v>
                </c:pt>
                <c:pt idx="100">
                  <c:v> 1401-06-06 </c:v>
                </c:pt>
                <c:pt idx="101">
                  <c:v> 1401-06-07 </c:v>
                </c:pt>
                <c:pt idx="102">
                  <c:v> 1401-06-08 </c:v>
                </c:pt>
                <c:pt idx="103">
                  <c:v> 1401-06-09 </c:v>
                </c:pt>
                <c:pt idx="104">
                  <c:v> 1401-06-12 </c:v>
                </c:pt>
                <c:pt idx="105">
                  <c:v> 1401-06-13 </c:v>
                </c:pt>
                <c:pt idx="106">
                  <c:v> 1401-06-14 </c:v>
                </c:pt>
                <c:pt idx="107">
                  <c:v> 1401-06-15 </c:v>
                </c:pt>
                <c:pt idx="108">
                  <c:v> 1401-06-16 </c:v>
                </c:pt>
                <c:pt idx="109">
                  <c:v> 1401-06-19 </c:v>
                </c:pt>
                <c:pt idx="110">
                  <c:v> 1401-06-20 </c:v>
                </c:pt>
                <c:pt idx="111">
                  <c:v> 1401-06-21 </c:v>
                </c:pt>
                <c:pt idx="112">
                  <c:v> 1401-06-22 </c:v>
                </c:pt>
                <c:pt idx="113">
                  <c:v> 1401-06-23 </c:v>
                </c:pt>
                <c:pt idx="114">
                  <c:v> 1401-06-27 </c:v>
                </c:pt>
                <c:pt idx="115">
                  <c:v> 1401-06-28 </c:v>
                </c:pt>
                <c:pt idx="116">
                  <c:v> 1401-06-29 </c:v>
                </c:pt>
                <c:pt idx="117">
                  <c:v> 1401-06-30 </c:v>
                </c:pt>
                <c:pt idx="118">
                  <c:v> 1401-07-02 </c:v>
                </c:pt>
                <c:pt idx="119">
                  <c:v> 1401-07-04 </c:v>
                </c:pt>
                <c:pt idx="120">
                  <c:v> 1401-07-06 </c:v>
                </c:pt>
                <c:pt idx="121">
                  <c:v> 1401-07-09 </c:v>
                </c:pt>
                <c:pt idx="122">
                  <c:v> 1401-07-10 </c:v>
                </c:pt>
                <c:pt idx="123">
                  <c:v> 1401-07-11 </c:v>
                </c:pt>
                <c:pt idx="124">
                  <c:v> 1401-07-12 </c:v>
                </c:pt>
                <c:pt idx="125">
                  <c:v> 1401-07-16 </c:v>
                </c:pt>
                <c:pt idx="126">
                  <c:v> 1401-07-17 </c:v>
                </c:pt>
                <c:pt idx="127">
                  <c:v> 1401-07-18 </c:v>
                </c:pt>
                <c:pt idx="128">
                  <c:v> 1401-07-19 </c:v>
                </c:pt>
                <c:pt idx="129">
                  <c:v> 1401-07-20 </c:v>
                </c:pt>
                <c:pt idx="130">
                  <c:v> 1401-07-23 </c:v>
                </c:pt>
                <c:pt idx="131">
                  <c:v> 1401-07-24 </c:v>
                </c:pt>
                <c:pt idx="132">
                  <c:v> 1401-07-25 </c:v>
                </c:pt>
                <c:pt idx="133">
                  <c:v> 1401-07-26 </c:v>
                </c:pt>
                <c:pt idx="134">
                  <c:v> 1401-07-27 </c:v>
                </c:pt>
                <c:pt idx="135">
                  <c:v> 1401-07-30 </c:v>
                </c:pt>
                <c:pt idx="136">
                  <c:v> 1401-08-01 </c:v>
                </c:pt>
                <c:pt idx="137">
                  <c:v> 1401-08-02 </c:v>
                </c:pt>
                <c:pt idx="138">
                  <c:v> 1401-08-03 </c:v>
                </c:pt>
                <c:pt idx="139">
                  <c:v> 1401-08-04 </c:v>
                </c:pt>
                <c:pt idx="140">
                  <c:v> 1401-08-07 </c:v>
                </c:pt>
                <c:pt idx="141">
                  <c:v> 1401-08-08 </c:v>
                </c:pt>
                <c:pt idx="142">
                  <c:v> 1401-08-09 </c:v>
                </c:pt>
                <c:pt idx="143">
                  <c:v> 1401-08-10 </c:v>
                </c:pt>
                <c:pt idx="144">
                  <c:v> 1401-08-11 </c:v>
                </c:pt>
                <c:pt idx="145">
                  <c:v> 1401-08-14 </c:v>
                </c:pt>
                <c:pt idx="146">
                  <c:v> 1401-08-15 </c:v>
                </c:pt>
                <c:pt idx="147">
                  <c:v> 1401-08-16 </c:v>
                </c:pt>
                <c:pt idx="148">
                  <c:v> 1401-08-17 </c:v>
                </c:pt>
                <c:pt idx="149">
                  <c:v> 1401-08-18 </c:v>
                </c:pt>
                <c:pt idx="150">
                  <c:v> 1401-08-21 </c:v>
                </c:pt>
                <c:pt idx="151">
                  <c:v> 1401-08-22 </c:v>
                </c:pt>
                <c:pt idx="152">
                  <c:v> 1401-08-23 </c:v>
                </c:pt>
                <c:pt idx="153">
                  <c:v> 1401-08-24 </c:v>
                </c:pt>
                <c:pt idx="154">
                  <c:v> 1401-08-25 </c:v>
                </c:pt>
                <c:pt idx="155">
                  <c:v> 1401-08-28 </c:v>
                </c:pt>
                <c:pt idx="156">
                  <c:v> 1401-08-29 </c:v>
                </c:pt>
                <c:pt idx="157">
                  <c:v> 1401-08-30 </c:v>
                </c:pt>
                <c:pt idx="158">
                  <c:v> 1401-09-01 </c:v>
                </c:pt>
                <c:pt idx="159">
                  <c:v> 1401-09-02 </c:v>
                </c:pt>
                <c:pt idx="160">
                  <c:v> 1401-09-05 </c:v>
                </c:pt>
                <c:pt idx="161">
                  <c:v> 1401-09-06 </c:v>
                </c:pt>
                <c:pt idx="162">
                  <c:v> 1401-09-07 </c:v>
                </c:pt>
                <c:pt idx="163">
                  <c:v> 1401-09-08 </c:v>
                </c:pt>
                <c:pt idx="164">
                  <c:v> 1401-09-09 </c:v>
                </c:pt>
                <c:pt idx="165">
                  <c:v> 1401-09-12 </c:v>
                </c:pt>
                <c:pt idx="166">
                  <c:v> 1401-09-13 </c:v>
                </c:pt>
                <c:pt idx="167">
                  <c:v> 1401-09-14 </c:v>
                </c:pt>
                <c:pt idx="168">
                  <c:v> 1401-09-15 </c:v>
                </c:pt>
                <c:pt idx="169">
                  <c:v> 1401-09-16 </c:v>
                </c:pt>
                <c:pt idx="170">
                  <c:v> 1401-09-19 </c:v>
                </c:pt>
                <c:pt idx="171">
                  <c:v> 1401-09-20 </c:v>
                </c:pt>
                <c:pt idx="172">
                  <c:v> 1401-09-21 </c:v>
                </c:pt>
                <c:pt idx="173">
                  <c:v> 1401-09-22 </c:v>
                </c:pt>
                <c:pt idx="174">
                  <c:v> 1401-09-23 </c:v>
                </c:pt>
                <c:pt idx="175">
                  <c:v> 1401-09-26 </c:v>
                </c:pt>
                <c:pt idx="176">
                  <c:v> 1401-09-27 </c:v>
                </c:pt>
                <c:pt idx="177">
                  <c:v> 1401-09-28 </c:v>
                </c:pt>
                <c:pt idx="178">
                  <c:v> 1401-09-29 </c:v>
                </c:pt>
                <c:pt idx="179">
                  <c:v> 1401-09-30 </c:v>
                </c:pt>
                <c:pt idx="180">
                  <c:v> 1401-10-03 </c:v>
                </c:pt>
                <c:pt idx="181">
                  <c:v> 1401-10-04 </c:v>
                </c:pt>
                <c:pt idx="182">
                  <c:v> 1401-10-05 </c:v>
                </c:pt>
                <c:pt idx="183">
                  <c:v> 1401-10-07 </c:v>
                </c:pt>
                <c:pt idx="184">
                  <c:v> 1401-10-10 </c:v>
                </c:pt>
                <c:pt idx="185">
                  <c:v> 1401-10-11 </c:v>
                </c:pt>
                <c:pt idx="186">
                  <c:v> 1401-10-12 </c:v>
                </c:pt>
                <c:pt idx="187">
                  <c:v> 1401-10-13 </c:v>
                </c:pt>
                <c:pt idx="188">
                  <c:v> 1401-10-14 </c:v>
                </c:pt>
                <c:pt idx="189">
                  <c:v> 1401-10-17 </c:v>
                </c:pt>
                <c:pt idx="190">
                  <c:v> 1401-10-18 </c:v>
                </c:pt>
                <c:pt idx="191">
                  <c:v> 1401-10-19 </c:v>
                </c:pt>
                <c:pt idx="192">
                  <c:v> 1401-10-20 </c:v>
                </c:pt>
                <c:pt idx="193">
                  <c:v> 1401-10-21 </c:v>
                </c:pt>
                <c:pt idx="194">
                  <c:v> 1401-10-24 </c:v>
                </c:pt>
                <c:pt idx="195">
                  <c:v> 1401-10-26 </c:v>
                </c:pt>
                <c:pt idx="196">
                  <c:v> 1401-10-27 </c:v>
                </c:pt>
                <c:pt idx="197">
                  <c:v> 1401-10-28 </c:v>
                </c:pt>
                <c:pt idx="198">
                  <c:v> 1401-11-01 </c:v>
                </c:pt>
                <c:pt idx="199">
                  <c:v> 1401-11-02 </c:v>
                </c:pt>
                <c:pt idx="200">
                  <c:v> 1401-11-03 </c:v>
                </c:pt>
                <c:pt idx="201">
                  <c:v> 1401-11-04 </c:v>
                </c:pt>
                <c:pt idx="202">
                  <c:v> 1401-11-05 </c:v>
                </c:pt>
                <c:pt idx="203">
                  <c:v> 1401-11-08 </c:v>
                </c:pt>
                <c:pt idx="204">
                  <c:v> 1401-11-09 </c:v>
                </c:pt>
                <c:pt idx="205">
                  <c:v> 1401-11-10 </c:v>
                </c:pt>
                <c:pt idx="206">
                  <c:v> 1401-11-11 </c:v>
                </c:pt>
                <c:pt idx="207">
                  <c:v> 1401-11-12 </c:v>
                </c:pt>
                <c:pt idx="208">
                  <c:v> 1401-11-16 </c:v>
                </c:pt>
                <c:pt idx="209">
                  <c:v> 1401-11-17 </c:v>
                </c:pt>
                <c:pt idx="210">
                  <c:v> 1401-11-18 </c:v>
                </c:pt>
                <c:pt idx="211">
                  <c:v> 1401-11-19 </c:v>
                </c:pt>
                <c:pt idx="212">
                  <c:v> 1401-11-23 </c:v>
                </c:pt>
                <c:pt idx="213">
                  <c:v> 1401-11-24 </c:v>
                </c:pt>
                <c:pt idx="214">
                  <c:v> 1401-11-25 </c:v>
                </c:pt>
                <c:pt idx="215">
                  <c:v> 1401-11-26 </c:v>
                </c:pt>
                <c:pt idx="216">
                  <c:v> 1401-11-30 </c:v>
                </c:pt>
                <c:pt idx="217">
                  <c:v> 1401-12-01 </c:v>
                </c:pt>
                <c:pt idx="218">
                  <c:v> 1401-12-02 </c:v>
                </c:pt>
                <c:pt idx="219">
                  <c:v> 1401-12-03 </c:v>
                </c:pt>
                <c:pt idx="220">
                  <c:v> 1401-12-06 </c:v>
                </c:pt>
                <c:pt idx="221">
                  <c:v> 1401-12-07 </c:v>
                </c:pt>
                <c:pt idx="222">
                  <c:v> 1401-12-08 </c:v>
                </c:pt>
                <c:pt idx="223">
                  <c:v> 1401-12-09 </c:v>
                </c:pt>
                <c:pt idx="224">
                  <c:v> 1401-12-10 </c:v>
                </c:pt>
                <c:pt idx="225">
                  <c:v> 1401-12-13 </c:v>
                </c:pt>
                <c:pt idx="226">
                  <c:v> 1401-12-14 </c:v>
                </c:pt>
                <c:pt idx="227">
                  <c:v> 1401-12-15 </c:v>
                </c:pt>
                <c:pt idx="228">
                  <c:v> 1401-12-16 </c:v>
                </c:pt>
                <c:pt idx="229">
                  <c:v> 1401-12-20 </c:v>
                </c:pt>
                <c:pt idx="230">
                  <c:v> 1401-12-21 </c:v>
                </c:pt>
                <c:pt idx="231">
                  <c:v> 1401-12-22 </c:v>
                </c:pt>
                <c:pt idx="232">
                  <c:v> 1401-12-23 </c:v>
                </c:pt>
                <c:pt idx="233">
                  <c:v> 1401-12-24 </c:v>
                </c:pt>
                <c:pt idx="234">
                  <c:v> 1401-12-27 </c:v>
                </c:pt>
                <c:pt idx="235">
                  <c:v> 1401-12-28 </c:v>
                </c:pt>
                <c:pt idx="236">
                  <c:v> 1402-01-05 </c:v>
                </c:pt>
                <c:pt idx="237">
                  <c:v> 1402-01-06 </c:v>
                </c:pt>
                <c:pt idx="238">
                  <c:v> 1402-01-07 </c:v>
                </c:pt>
                <c:pt idx="239">
                  <c:v> 1402-01-08 </c:v>
                </c:pt>
                <c:pt idx="240">
                  <c:v> 1402-01-09 </c:v>
                </c:pt>
                <c:pt idx="241">
                  <c:v> 1402-01-14 </c:v>
                </c:pt>
                <c:pt idx="242">
                  <c:v> 1402-01-15 </c:v>
                </c:pt>
                <c:pt idx="243">
                  <c:v> 1402-01-16 </c:v>
                </c:pt>
                <c:pt idx="244">
                  <c:v> 1402-01-19 </c:v>
                </c:pt>
                <c:pt idx="245">
                  <c:v> 1402-01-20 </c:v>
                </c:pt>
                <c:pt idx="246">
                  <c:v> 1402-01-21 </c:v>
                </c:pt>
                <c:pt idx="247">
                  <c:v> 1402-01-22 </c:v>
                </c:pt>
                <c:pt idx="248">
                  <c:v> 1402-01-26 </c:v>
                </c:pt>
                <c:pt idx="249">
                  <c:v> 1402-01-27 </c:v>
                </c:pt>
                <c:pt idx="250">
                  <c:v> 1402-01-28 </c:v>
                </c:pt>
                <c:pt idx="251">
                  <c:v> 1402-01-29 </c:v>
                </c:pt>
                <c:pt idx="252">
                  <c:v> 1402-01-30 </c:v>
                </c:pt>
                <c:pt idx="253">
                  <c:v> 1402-02-04 </c:v>
                </c:pt>
                <c:pt idx="254">
                  <c:v> 1402-02-05 </c:v>
                </c:pt>
                <c:pt idx="255">
                  <c:v> 1402-02-06 </c:v>
                </c:pt>
                <c:pt idx="256">
                  <c:v> 1402-02-09 </c:v>
                </c:pt>
                <c:pt idx="257">
                  <c:v> 1402-02-10 </c:v>
                </c:pt>
                <c:pt idx="258">
                  <c:v> 1402-02-11 </c:v>
                </c:pt>
                <c:pt idx="259">
                  <c:v> 1402-02-12 </c:v>
                </c:pt>
                <c:pt idx="260">
                  <c:v> 1402-02-13 </c:v>
                </c:pt>
                <c:pt idx="261">
                  <c:v> 1402-02-16 </c:v>
                </c:pt>
                <c:pt idx="262">
                  <c:v> 1402-02-17 </c:v>
                </c:pt>
                <c:pt idx="263">
                  <c:v> 1402-02-18 </c:v>
                </c:pt>
                <c:pt idx="264">
                  <c:v> 1402-02-19 </c:v>
                </c:pt>
                <c:pt idx="265">
                  <c:v> 1402-02-20 </c:v>
                </c:pt>
                <c:pt idx="266">
                  <c:v> 1402-02-23 </c:v>
                </c:pt>
                <c:pt idx="267">
                  <c:v> 1402-02-24 </c:v>
                </c:pt>
                <c:pt idx="268">
                  <c:v> 1402-02-25 </c:v>
                </c:pt>
                <c:pt idx="269">
                  <c:v> 1402-02-27 </c:v>
                </c:pt>
                <c:pt idx="270">
                  <c:v> 1402-02-30 </c:v>
                </c:pt>
                <c:pt idx="271">
                  <c:v> 1402-02-31 </c:v>
                </c:pt>
                <c:pt idx="272">
                  <c:v> 1402-03-01 </c:v>
                </c:pt>
                <c:pt idx="273">
                  <c:v> 1402-03-02 </c:v>
                </c:pt>
                <c:pt idx="274">
                  <c:v> 1402-03-03 </c:v>
                </c:pt>
                <c:pt idx="275">
                  <c:v> 1402-03-06 </c:v>
                </c:pt>
                <c:pt idx="276">
                  <c:v> 1402-03-07 </c:v>
                </c:pt>
                <c:pt idx="277">
                  <c:v> 1402-03-08 </c:v>
                </c:pt>
                <c:pt idx="278">
                  <c:v> 1402-03-09 </c:v>
                </c:pt>
                <c:pt idx="279">
                  <c:v> 1402-03-10 </c:v>
                </c:pt>
                <c:pt idx="280">
                  <c:v> 1402-03-13 </c:v>
                </c:pt>
                <c:pt idx="281">
                  <c:v> 1402-03-16 </c:v>
                </c:pt>
                <c:pt idx="282">
                  <c:v> 1402-03-17 </c:v>
                </c:pt>
                <c:pt idx="283">
                  <c:v> 1402-03-20 </c:v>
                </c:pt>
                <c:pt idx="284">
                  <c:v> 1402-03-21 </c:v>
                </c:pt>
                <c:pt idx="285">
                  <c:v> 1402-03-22 </c:v>
                </c:pt>
                <c:pt idx="286">
                  <c:v> 1402-03-23 </c:v>
                </c:pt>
                <c:pt idx="287">
                  <c:v> 1402-03-24 </c:v>
                </c:pt>
                <c:pt idx="288">
                  <c:v> 1402-03-27 </c:v>
                </c:pt>
                <c:pt idx="289">
                  <c:v> 1402-03-28 </c:v>
                </c:pt>
                <c:pt idx="290">
                  <c:v> 1402-03-29 </c:v>
                </c:pt>
                <c:pt idx="291">
                  <c:v> 1402-03-30 </c:v>
                </c:pt>
                <c:pt idx="292">
                  <c:v> 1402-03-31 </c:v>
                </c:pt>
                <c:pt idx="293">
                  <c:v> 1402-04-03 </c:v>
                </c:pt>
                <c:pt idx="294">
                  <c:v> 1402-04-04 </c:v>
                </c:pt>
                <c:pt idx="295">
                  <c:v> 1402-04-05 </c:v>
                </c:pt>
                <c:pt idx="296">
                  <c:v> 1402-04-06 </c:v>
                </c:pt>
                <c:pt idx="297">
                  <c:v> 1402-04-07 </c:v>
                </c:pt>
                <c:pt idx="298">
                  <c:v> 1402-04-10 </c:v>
                </c:pt>
                <c:pt idx="299">
                  <c:v> 1402-04-11 </c:v>
                </c:pt>
                <c:pt idx="300">
                  <c:v> 1402-04-12 </c:v>
                </c:pt>
                <c:pt idx="301">
                  <c:v> 1402-04-13 </c:v>
                </c:pt>
                <c:pt idx="302">
                  <c:v> 1402-04-14 </c:v>
                </c:pt>
                <c:pt idx="303">
                  <c:v> 1402-04-17 </c:v>
                </c:pt>
                <c:pt idx="304">
                  <c:v> 1402-04-18 </c:v>
                </c:pt>
                <c:pt idx="305">
                  <c:v> 1402-04-19 </c:v>
                </c:pt>
                <c:pt idx="306">
                  <c:v> 1402-04-20 </c:v>
                </c:pt>
                <c:pt idx="307">
                  <c:v> 1402-04-21 </c:v>
                </c:pt>
                <c:pt idx="308">
                  <c:v> 1402-04-24 </c:v>
                </c:pt>
                <c:pt idx="309">
                  <c:v> 1402-04-25 </c:v>
                </c:pt>
                <c:pt idx="310">
                  <c:v> 1402-04-26 </c:v>
                </c:pt>
                <c:pt idx="311">
                  <c:v> 1402-04-27 </c:v>
                </c:pt>
                <c:pt idx="312">
                  <c:v> 1402-04-28 </c:v>
                </c:pt>
                <c:pt idx="313">
                  <c:v> 1402-04-31 </c:v>
                </c:pt>
                <c:pt idx="314">
                  <c:v> 1402-05-01 </c:v>
                </c:pt>
                <c:pt idx="315">
                  <c:v> 1402-05-02 </c:v>
                </c:pt>
                <c:pt idx="316">
                  <c:v> 1402-05-03 </c:v>
                </c:pt>
                <c:pt idx="317">
                  <c:v> 1402-05-04 </c:v>
                </c:pt>
                <c:pt idx="318">
                  <c:v> 1402-05-07 </c:v>
                </c:pt>
                <c:pt idx="319">
                  <c:v> 1402-05-08 </c:v>
                </c:pt>
                <c:pt idx="320">
                  <c:v> 1402-05-09 </c:v>
                </c:pt>
                <c:pt idx="321">
                  <c:v> 1402-05-10 </c:v>
                </c:pt>
                <c:pt idx="322">
                  <c:v> 1402-05-14 </c:v>
                </c:pt>
                <c:pt idx="323">
                  <c:v> 1402-05-15 </c:v>
                </c:pt>
                <c:pt idx="324">
                  <c:v> 1402-05-16 </c:v>
                </c:pt>
                <c:pt idx="325">
                  <c:v> 1402-05-17 </c:v>
                </c:pt>
                <c:pt idx="326">
                  <c:v> 1402-05-18 </c:v>
                </c:pt>
                <c:pt idx="327">
                  <c:v> 1402-05-21 </c:v>
                </c:pt>
                <c:pt idx="328">
                  <c:v> 1402-05-22 </c:v>
                </c:pt>
                <c:pt idx="329">
                  <c:v> 1402-05-23 </c:v>
                </c:pt>
                <c:pt idx="330">
                  <c:v> 1402-05-24 </c:v>
                </c:pt>
                <c:pt idx="331">
                  <c:v> 1402-05-25 </c:v>
                </c:pt>
                <c:pt idx="332">
                  <c:v> 1402-05-28 </c:v>
                </c:pt>
                <c:pt idx="333">
                  <c:v> 1402-05-29 </c:v>
                </c:pt>
                <c:pt idx="334">
                  <c:v> 1402-05-30 </c:v>
                </c:pt>
                <c:pt idx="335">
                  <c:v> 1402-05-31 </c:v>
                </c:pt>
                <c:pt idx="336">
                  <c:v> 1402-06-01 </c:v>
                </c:pt>
                <c:pt idx="337">
                  <c:v> 1402-06-04 </c:v>
                </c:pt>
                <c:pt idx="338">
                  <c:v> 1402-06-05 </c:v>
                </c:pt>
                <c:pt idx="339">
                  <c:v> 1402-06-06 </c:v>
                </c:pt>
                <c:pt idx="340">
                  <c:v> 1402-06-07 </c:v>
                </c:pt>
                <c:pt idx="341">
                  <c:v> 1402-06-08 </c:v>
                </c:pt>
                <c:pt idx="342">
                  <c:v> 1402-06-11 </c:v>
                </c:pt>
                <c:pt idx="343">
                  <c:v> 1402-06-12 </c:v>
                </c:pt>
                <c:pt idx="344">
                  <c:v> 1402-06-13 </c:v>
                </c:pt>
                <c:pt idx="345">
                  <c:v> 1402-06-14 </c:v>
                </c:pt>
                <c:pt idx="346">
                  <c:v> 1402-06-18 </c:v>
                </c:pt>
                <c:pt idx="347">
                  <c:v> 1402-06-19 </c:v>
                </c:pt>
                <c:pt idx="348">
                  <c:v> 1402-06-20 </c:v>
                </c:pt>
                <c:pt idx="349">
                  <c:v> 1402-06-21 </c:v>
                </c:pt>
                <c:pt idx="350">
                  <c:v> 1402-06-22 </c:v>
                </c:pt>
                <c:pt idx="351">
                  <c:v> 1402-06-26 </c:v>
                </c:pt>
                <c:pt idx="352">
                  <c:v> 1402-06-27 </c:v>
                </c:pt>
                <c:pt idx="353">
                  <c:v> 1402-06-28 </c:v>
                </c:pt>
                <c:pt idx="354">
                  <c:v> 1402-06-29 </c:v>
                </c:pt>
                <c:pt idx="355">
                  <c:v> 1402-07-01 </c:v>
                </c:pt>
                <c:pt idx="356">
                  <c:v> 1402-07-03 </c:v>
                </c:pt>
                <c:pt idx="357">
                  <c:v> 1402-07-04 </c:v>
                </c:pt>
                <c:pt idx="358">
                  <c:v> 1402-07-05 </c:v>
                </c:pt>
                <c:pt idx="359">
                  <c:v> 1402-07-08 </c:v>
                </c:pt>
                <c:pt idx="360">
                  <c:v> 1402-07-09 </c:v>
                </c:pt>
                <c:pt idx="361">
                  <c:v> 1402-07-10 </c:v>
                </c:pt>
                <c:pt idx="362">
                  <c:v> 1402-07-12 </c:v>
                </c:pt>
                <c:pt idx="363">
                  <c:v> 1402-07-15 </c:v>
                </c:pt>
                <c:pt idx="364">
                  <c:v> 1402-07-16 </c:v>
                </c:pt>
                <c:pt idx="365">
                  <c:v> 1402-07-17 </c:v>
                </c:pt>
                <c:pt idx="366">
                  <c:v> 1402-07-18 </c:v>
                </c:pt>
                <c:pt idx="367">
                  <c:v> 1402-07-19 </c:v>
                </c:pt>
                <c:pt idx="368">
                  <c:v> 1402-07-22 </c:v>
                </c:pt>
                <c:pt idx="369">
                  <c:v> 1402-07-23 </c:v>
                </c:pt>
                <c:pt idx="370">
                  <c:v> 1402-07-24 </c:v>
                </c:pt>
                <c:pt idx="371">
                  <c:v> 1402-07-25 </c:v>
                </c:pt>
                <c:pt idx="372">
                  <c:v> 1402-07-26 </c:v>
                </c:pt>
                <c:pt idx="373">
                  <c:v> 1402-07-29 </c:v>
                </c:pt>
                <c:pt idx="374">
                  <c:v> 1402-07-30 </c:v>
                </c:pt>
                <c:pt idx="375">
                  <c:v> 1402-08-01 </c:v>
                </c:pt>
                <c:pt idx="376">
                  <c:v> 1402-08-02 </c:v>
                </c:pt>
                <c:pt idx="377">
                  <c:v> 1402-08-03 </c:v>
                </c:pt>
                <c:pt idx="378">
                  <c:v> 1402-08-06 </c:v>
                </c:pt>
                <c:pt idx="379">
                  <c:v> 1402-08-07 </c:v>
                </c:pt>
                <c:pt idx="380">
                  <c:v> 1402-08-08 </c:v>
                </c:pt>
                <c:pt idx="381">
                  <c:v> 1402-08-09 </c:v>
                </c:pt>
                <c:pt idx="382">
                  <c:v> 1402-08-10 </c:v>
                </c:pt>
                <c:pt idx="383">
                  <c:v> 1402-08-13 </c:v>
                </c:pt>
                <c:pt idx="384">
                  <c:v> 1402-08-14 </c:v>
                </c:pt>
                <c:pt idx="385">
                  <c:v> 1402-08-15 </c:v>
                </c:pt>
                <c:pt idx="386">
                  <c:v> 1402-08-16 </c:v>
                </c:pt>
                <c:pt idx="387">
                  <c:v> 1402-08-17 </c:v>
                </c:pt>
                <c:pt idx="388">
                  <c:v> 1402-08-20 </c:v>
                </c:pt>
                <c:pt idx="389">
                  <c:v> 1402-08-21 </c:v>
                </c:pt>
                <c:pt idx="390">
                  <c:v> 1402-08-22 </c:v>
                </c:pt>
                <c:pt idx="391">
                  <c:v> 1402-08-23 </c:v>
                </c:pt>
                <c:pt idx="392">
                  <c:v> 1402-08-24 </c:v>
                </c:pt>
                <c:pt idx="393">
                  <c:v> 1402-08-27 </c:v>
                </c:pt>
                <c:pt idx="394">
                  <c:v> 1402-08-28 </c:v>
                </c:pt>
                <c:pt idx="395">
                  <c:v> 1402-08-29 </c:v>
                </c:pt>
                <c:pt idx="396">
                  <c:v> 1402-08-30 </c:v>
                </c:pt>
                <c:pt idx="397">
                  <c:v> 1402-09-01 </c:v>
                </c:pt>
                <c:pt idx="398">
                  <c:v> 1402-09-04 </c:v>
                </c:pt>
                <c:pt idx="399">
                  <c:v> 1402-09-05 </c:v>
                </c:pt>
                <c:pt idx="400">
                  <c:v> 1402-09-06 </c:v>
                </c:pt>
                <c:pt idx="401">
                  <c:v> 1402-09-07 </c:v>
                </c:pt>
                <c:pt idx="402">
                  <c:v> 1402-09-08 </c:v>
                </c:pt>
                <c:pt idx="403">
                  <c:v> 1402-09-11 </c:v>
                </c:pt>
                <c:pt idx="404">
                  <c:v> 1402-09-12 </c:v>
                </c:pt>
                <c:pt idx="405">
                  <c:v> 1402-09-13 </c:v>
                </c:pt>
                <c:pt idx="406">
                  <c:v> 1402-09-14 </c:v>
                </c:pt>
                <c:pt idx="407">
                  <c:v> 1402-09-15 </c:v>
                </c:pt>
                <c:pt idx="408">
                  <c:v> 1402-09-18 </c:v>
                </c:pt>
                <c:pt idx="409">
                  <c:v> 1402-09-19 </c:v>
                </c:pt>
                <c:pt idx="410">
                  <c:v> 1402-09-20 </c:v>
                </c:pt>
                <c:pt idx="411">
                  <c:v> 1402-09-21 </c:v>
                </c:pt>
                <c:pt idx="412">
                  <c:v> 1402-09-22 </c:v>
                </c:pt>
                <c:pt idx="413">
                  <c:v> 1402-09-25 </c:v>
                </c:pt>
                <c:pt idx="414">
                  <c:v> 1402-09-27 </c:v>
                </c:pt>
                <c:pt idx="415">
                  <c:v> 1402-09-28 </c:v>
                </c:pt>
                <c:pt idx="416">
                  <c:v> 1402-09-29 </c:v>
                </c:pt>
                <c:pt idx="417">
                  <c:v> 1402-10-02 </c:v>
                </c:pt>
                <c:pt idx="418">
                  <c:v> 1402-10-03 </c:v>
                </c:pt>
                <c:pt idx="419">
                  <c:v> 1402-10-04 </c:v>
                </c:pt>
                <c:pt idx="420">
                  <c:v> 1402-10-05 </c:v>
                </c:pt>
                <c:pt idx="421">
                  <c:v> 1402-10-06 </c:v>
                </c:pt>
                <c:pt idx="422">
                  <c:v> 1402-10-09 </c:v>
                </c:pt>
                <c:pt idx="423">
                  <c:v> 1402-10-10 </c:v>
                </c:pt>
                <c:pt idx="424">
                  <c:v> 1402-10-11 </c:v>
                </c:pt>
                <c:pt idx="425">
                  <c:v> 1402-10-12 </c:v>
                </c:pt>
                <c:pt idx="426">
                  <c:v> 1402-10-13 </c:v>
                </c:pt>
                <c:pt idx="427">
                  <c:v> 1402-10-16 </c:v>
                </c:pt>
                <c:pt idx="428">
                  <c:v> 1402-10-17 </c:v>
                </c:pt>
                <c:pt idx="429">
                  <c:v> 1402-10-18 </c:v>
                </c:pt>
                <c:pt idx="430">
                  <c:v> 1402-10-19 </c:v>
                </c:pt>
                <c:pt idx="431">
                  <c:v> 1402-10-20 </c:v>
                </c:pt>
                <c:pt idx="432">
                  <c:v> 1402-10-23 </c:v>
                </c:pt>
                <c:pt idx="433">
                  <c:v> 1402-10-24 </c:v>
                </c:pt>
                <c:pt idx="434">
                  <c:v> 1402-10-25 </c:v>
                </c:pt>
                <c:pt idx="435">
                  <c:v> 1402-10-26 </c:v>
                </c:pt>
                <c:pt idx="436">
                  <c:v> 1402-10-27 </c:v>
                </c:pt>
                <c:pt idx="437">
                  <c:v> 1402-10-30 </c:v>
                </c:pt>
                <c:pt idx="438">
                  <c:v> 1402-11-01 </c:v>
                </c:pt>
                <c:pt idx="439">
                  <c:v> 1402-11-02 </c:v>
                </c:pt>
                <c:pt idx="440">
                  <c:v> 1402-11-03 </c:v>
                </c:pt>
                <c:pt idx="441">
                  <c:v> 1402-11-04 </c:v>
                </c:pt>
                <c:pt idx="442">
                  <c:v> 1402-11-07 </c:v>
                </c:pt>
                <c:pt idx="443">
                  <c:v> 1402-11-08 </c:v>
                </c:pt>
                <c:pt idx="444">
                  <c:v> 1402-11-09 </c:v>
                </c:pt>
                <c:pt idx="445">
                  <c:v> 1402-11-10 </c:v>
                </c:pt>
                <c:pt idx="446">
                  <c:v> 1402-11-11 </c:v>
                </c:pt>
                <c:pt idx="447">
                  <c:v> 1402-11-14 </c:v>
                </c:pt>
                <c:pt idx="448">
                  <c:v> 1402-11-15 </c:v>
                </c:pt>
                <c:pt idx="449">
                  <c:v> 1402-11-16 </c:v>
                </c:pt>
                <c:pt idx="450">
                  <c:v> 1402-11-17 </c:v>
                </c:pt>
                <c:pt idx="451">
                  <c:v> 1402-11-18 </c:v>
                </c:pt>
                <c:pt idx="452">
                  <c:v> 1402-11-21 </c:v>
                </c:pt>
                <c:pt idx="453">
                  <c:v> 1402-11-23 </c:v>
                </c:pt>
                <c:pt idx="454">
                  <c:v> 1402-11-24 </c:v>
                </c:pt>
                <c:pt idx="455">
                  <c:v> 1402-11-25 </c:v>
                </c:pt>
                <c:pt idx="456">
                  <c:v> 1402-11-28 </c:v>
                </c:pt>
                <c:pt idx="457">
                  <c:v> 1402-11-29 </c:v>
                </c:pt>
                <c:pt idx="458">
                  <c:v> 1402-11-30 </c:v>
                </c:pt>
                <c:pt idx="459">
                  <c:v> 1402-12-01 </c:v>
                </c:pt>
                <c:pt idx="460">
                  <c:v> 1402-12-02 </c:v>
                </c:pt>
                <c:pt idx="461">
                  <c:v> 1402-12-05 </c:v>
                </c:pt>
                <c:pt idx="462">
                  <c:v> 1402-12-07 </c:v>
                </c:pt>
                <c:pt idx="463">
                  <c:v> 1402-12-08 </c:v>
                </c:pt>
                <c:pt idx="464">
                  <c:v> 1402-12-09 </c:v>
                </c:pt>
                <c:pt idx="465">
                  <c:v> 1402-12-12 </c:v>
                </c:pt>
                <c:pt idx="466">
                  <c:v> 1402-12-13 </c:v>
                </c:pt>
                <c:pt idx="467">
                  <c:v> 1402-12-14 </c:v>
                </c:pt>
                <c:pt idx="468">
                  <c:v> 1402-12-15 </c:v>
                </c:pt>
                <c:pt idx="469">
                  <c:v> 1402-12-16 </c:v>
                </c:pt>
                <c:pt idx="470">
                  <c:v> 1402-12-19 </c:v>
                </c:pt>
                <c:pt idx="471">
                  <c:v> 1402-12-20 </c:v>
                </c:pt>
                <c:pt idx="472">
                  <c:v> 1402-12-21 </c:v>
                </c:pt>
                <c:pt idx="473">
                  <c:v> 1402-12-22 </c:v>
                </c:pt>
                <c:pt idx="474">
                  <c:v> 1402-12-23 </c:v>
                </c:pt>
                <c:pt idx="475">
                  <c:v> 1402-12-26 </c:v>
                </c:pt>
                <c:pt idx="476">
                  <c:v> 1402-12-27 </c:v>
                </c:pt>
                <c:pt idx="477">
                  <c:v> 1402-12-28 </c:v>
                </c:pt>
                <c:pt idx="478">
                  <c:v> 1403-01-05 </c:v>
                </c:pt>
                <c:pt idx="479">
                  <c:v> 1403-01-06 </c:v>
                </c:pt>
                <c:pt idx="480">
                  <c:v> 1403-01-07 </c:v>
                </c:pt>
                <c:pt idx="481">
                  <c:v> 1403-01-08 </c:v>
                </c:pt>
                <c:pt idx="482">
                  <c:v> 1403-01-11 </c:v>
                </c:pt>
                <c:pt idx="483">
                  <c:v> 1403-01-14 </c:v>
                </c:pt>
                <c:pt idx="484">
                  <c:v> 1403-01-15 </c:v>
                </c:pt>
                <c:pt idx="485">
                  <c:v> 1403-01-18 </c:v>
                </c:pt>
                <c:pt idx="486">
                  <c:v> 1403-01-19 </c:v>
                </c:pt>
                <c:pt idx="487">
                  <c:v> 1403-01-20 </c:v>
                </c:pt>
                <c:pt idx="488">
                  <c:v> 1403-01-21 </c:v>
                </c:pt>
                <c:pt idx="489">
                  <c:v> 1403-01-25 </c:v>
                </c:pt>
                <c:pt idx="490">
                  <c:v> 1403-01-26 </c:v>
                </c:pt>
                <c:pt idx="491">
                  <c:v> 1403-01-27 </c:v>
                </c:pt>
                <c:pt idx="492">
                  <c:v> 1403-01-28 </c:v>
                </c:pt>
                <c:pt idx="493">
                  <c:v> 1403-01-29 </c:v>
                </c:pt>
                <c:pt idx="494">
                  <c:v> 1403-02-01 </c:v>
                </c:pt>
                <c:pt idx="495">
                  <c:v> 1403-02-02 </c:v>
                </c:pt>
                <c:pt idx="496">
                  <c:v> 1403-02-03 </c:v>
                </c:pt>
                <c:pt idx="497">
                  <c:v> 1403-02-04 </c:v>
                </c:pt>
                <c:pt idx="498">
                  <c:v> 1403-02-05 </c:v>
                </c:pt>
                <c:pt idx="499">
                  <c:v> 1403-02-08 </c:v>
                </c:pt>
                <c:pt idx="500">
                  <c:v> 1403-02-09 </c:v>
                </c:pt>
                <c:pt idx="501">
                  <c:v> 1403-02-10 </c:v>
                </c:pt>
                <c:pt idx="502">
                  <c:v> 1403-02-11 </c:v>
                </c:pt>
                <c:pt idx="503">
                  <c:v> 1403-02-12 </c:v>
                </c:pt>
                <c:pt idx="504">
                  <c:v> 1403-02-16 </c:v>
                </c:pt>
                <c:pt idx="505">
                  <c:v> 1403-02-17 </c:v>
                </c:pt>
                <c:pt idx="506">
                  <c:v> 1403-02-18 </c:v>
                </c:pt>
                <c:pt idx="507">
                  <c:v> 1403-02-19 </c:v>
                </c:pt>
                <c:pt idx="508">
                  <c:v> 1403-02-22 </c:v>
                </c:pt>
                <c:pt idx="509">
                  <c:v> 1403-02-23 </c:v>
                </c:pt>
                <c:pt idx="510">
                  <c:v> 1403-02-24 </c:v>
                </c:pt>
                <c:pt idx="511">
                  <c:v> 1403-02-25 </c:v>
                </c:pt>
                <c:pt idx="512">
                  <c:v> 1403-02-26 </c:v>
                </c:pt>
                <c:pt idx="513">
                  <c:v> 1403-02-29 </c:v>
                </c:pt>
                <c:pt idx="514">
                  <c:v> 1403-02-30 </c:v>
                </c:pt>
                <c:pt idx="515">
                  <c:v> 1403-03-01 </c:v>
                </c:pt>
                <c:pt idx="516">
                  <c:v> 1403-03-05 </c:v>
                </c:pt>
                <c:pt idx="517">
                  <c:v> 1403-03-06 </c:v>
                </c:pt>
                <c:pt idx="518">
                  <c:v> 1403-03-07 </c:v>
                </c:pt>
                <c:pt idx="519">
                  <c:v> 1403-03-08 </c:v>
                </c:pt>
                <c:pt idx="520">
                  <c:v> 1403-03-09 </c:v>
                </c:pt>
                <c:pt idx="521">
                  <c:v> 1403-03-12 </c:v>
                </c:pt>
                <c:pt idx="522">
                  <c:v> 1403-03-13 </c:v>
                </c:pt>
                <c:pt idx="523">
                  <c:v> 1403-03-16 </c:v>
                </c:pt>
                <c:pt idx="524">
                  <c:v> 1403-03-19 </c:v>
                </c:pt>
                <c:pt idx="525">
                  <c:v> 1403-03-20 </c:v>
                </c:pt>
                <c:pt idx="526">
                  <c:v> 1403-03-21 </c:v>
                </c:pt>
                <c:pt idx="527">
                  <c:v> 1403-03-22 </c:v>
                </c:pt>
                <c:pt idx="528">
                  <c:v> 1403-03-23 </c:v>
                </c:pt>
                <c:pt idx="529">
                  <c:v> 1403-03-26 </c:v>
                </c:pt>
                <c:pt idx="530">
                  <c:v> 1403-03-27 </c:v>
                </c:pt>
                <c:pt idx="531">
                  <c:v> 1403-03-29 </c:v>
                </c:pt>
                <c:pt idx="532">
                  <c:v> 1403-03-30 </c:v>
                </c:pt>
                <c:pt idx="533">
                  <c:v> 1403-04-02 </c:v>
                </c:pt>
                <c:pt idx="534">
                  <c:v> 1403-04-03 </c:v>
                </c:pt>
                <c:pt idx="535">
                  <c:v> 1403-04-04 </c:v>
                </c:pt>
                <c:pt idx="536">
                  <c:v> 1403-04-06 </c:v>
                </c:pt>
                <c:pt idx="537">
                  <c:v> 1403-04-09 </c:v>
                </c:pt>
                <c:pt idx="538">
                  <c:v> 1403-04-10 </c:v>
                </c:pt>
                <c:pt idx="539">
                  <c:v> 1403-04-11 </c:v>
                </c:pt>
                <c:pt idx="540">
                  <c:v> 1403-04-12 </c:v>
                </c:pt>
                <c:pt idx="541">
                  <c:v> 1403-04-13 </c:v>
                </c:pt>
                <c:pt idx="542">
                  <c:v> 1403-04-16 </c:v>
                </c:pt>
                <c:pt idx="543">
                  <c:v> 1403-04-17 </c:v>
                </c:pt>
                <c:pt idx="544">
                  <c:v> 1403-04-18 </c:v>
                </c:pt>
                <c:pt idx="545">
                  <c:v> 1403-04-19 </c:v>
                </c:pt>
                <c:pt idx="546">
                  <c:v> 1403-04-20 </c:v>
                </c:pt>
                <c:pt idx="547">
                  <c:v> 1403-04-23 </c:v>
                </c:pt>
                <c:pt idx="548">
                  <c:v> 1403-04-24 </c:v>
                </c:pt>
                <c:pt idx="549">
                  <c:v> 1403-04-27 </c:v>
                </c:pt>
                <c:pt idx="550">
                  <c:v> 1403-04-30 </c:v>
                </c:pt>
                <c:pt idx="551">
                  <c:v> 1403-04-31 </c:v>
                </c:pt>
                <c:pt idx="552">
                  <c:v> 1403-05-01 </c:v>
                </c:pt>
                <c:pt idx="553">
                  <c:v> 1403-05-02 </c:v>
                </c:pt>
                <c:pt idx="554">
                  <c:v> 1403-05-03 </c:v>
                </c:pt>
                <c:pt idx="555">
                  <c:v> 1403-05-06 </c:v>
                </c:pt>
                <c:pt idx="556">
                  <c:v> 1403-05-08 </c:v>
                </c:pt>
                <c:pt idx="557">
                  <c:v> 1403-05-09 </c:v>
                </c:pt>
                <c:pt idx="558">
                  <c:v> 1403-05-10 </c:v>
                </c:pt>
                <c:pt idx="559">
                  <c:v> 1403-05-13 </c:v>
                </c:pt>
                <c:pt idx="560">
                  <c:v> 1403-05-14 </c:v>
                </c:pt>
                <c:pt idx="561">
                  <c:v> 1403-05-15 </c:v>
                </c:pt>
                <c:pt idx="562">
                  <c:v> 1403-05-16 </c:v>
                </c:pt>
                <c:pt idx="563">
                  <c:v> 1403-05-20 </c:v>
                </c:pt>
                <c:pt idx="564">
                  <c:v> 1403-05-21 </c:v>
                </c:pt>
                <c:pt idx="565">
                  <c:v> 1403-05-22 </c:v>
                </c:pt>
                <c:pt idx="566">
                  <c:v> 1403-05-23 </c:v>
                </c:pt>
                <c:pt idx="567">
                  <c:v> 1403-05-24 </c:v>
                </c:pt>
                <c:pt idx="568">
                  <c:v> 1403-05-27 </c:v>
                </c:pt>
                <c:pt idx="569">
                  <c:v> 1403-05-28 </c:v>
                </c:pt>
                <c:pt idx="570">
                  <c:v> 1403-05-29 </c:v>
                </c:pt>
                <c:pt idx="571">
                  <c:v> 1403-05-30 </c:v>
                </c:pt>
                <c:pt idx="572">
                  <c:v> 1403-05-31 </c:v>
                </c:pt>
                <c:pt idx="573">
                  <c:v> 1403-06-03 </c:v>
                </c:pt>
                <c:pt idx="574">
                  <c:v> 1403-06-05 </c:v>
                </c:pt>
                <c:pt idx="575">
                  <c:v> 1403-06-06 </c:v>
                </c:pt>
                <c:pt idx="576">
                  <c:v> 1403-06-07 </c:v>
                </c:pt>
                <c:pt idx="577">
                  <c:v> 1403-06-10 </c:v>
                </c:pt>
                <c:pt idx="578">
                  <c:v> 1403-06-11 </c:v>
                </c:pt>
                <c:pt idx="579">
                  <c:v> 1403-06-13 </c:v>
                </c:pt>
                <c:pt idx="580">
                  <c:v> 1403-06-17 </c:v>
                </c:pt>
                <c:pt idx="581">
                  <c:v> 1403-06-18 </c:v>
                </c:pt>
                <c:pt idx="582">
                  <c:v> 1403-06-19 </c:v>
                </c:pt>
                <c:pt idx="583">
                  <c:v> 1403-06-20 </c:v>
                </c:pt>
                <c:pt idx="584">
                  <c:v> 1403-06-21 </c:v>
                </c:pt>
                <c:pt idx="585">
                  <c:v> 1403-06-24 </c:v>
                </c:pt>
                <c:pt idx="586">
                  <c:v> 1403-06-25 </c:v>
                </c:pt>
                <c:pt idx="587">
                  <c:v> 1403-06-26 </c:v>
                </c:pt>
                <c:pt idx="588">
                  <c:v> 1403-06-27 </c:v>
                </c:pt>
                <c:pt idx="589">
                  <c:v> 1403-06-28 </c:v>
                </c:pt>
                <c:pt idx="590">
                  <c:v> 1403-07-01 </c:v>
                </c:pt>
                <c:pt idx="591">
                  <c:v> 1403-07-02 </c:v>
                </c:pt>
                <c:pt idx="592">
                  <c:v> 1403-07-03 </c:v>
                </c:pt>
                <c:pt idx="593">
                  <c:v> 1403-07-04 </c:v>
                </c:pt>
                <c:pt idx="594">
                  <c:v> 1403-07-07 </c:v>
                </c:pt>
                <c:pt idx="595">
                  <c:v> 1403-07-08 </c:v>
                </c:pt>
                <c:pt idx="596">
                  <c:v> 1403-07-09 </c:v>
                </c:pt>
                <c:pt idx="597">
                  <c:v> 1403-07-10 </c:v>
                </c:pt>
                <c:pt idx="598">
                  <c:v> 1403-07-11 </c:v>
                </c:pt>
                <c:pt idx="599">
                  <c:v> 1403-07-14 </c:v>
                </c:pt>
                <c:pt idx="600">
                  <c:v> 1403-07-15 </c:v>
                </c:pt>
                <c:pt idx="601">
                  <c:v> 1403-07-16 </c:v>
                </c:pt>
                <c:pt idx="602">
                  <c:v> 1403-07-17 </c:v>
                </c:pt>
                <c:pt idx="603">
                  <c:v> 1403-07-18 </c:v>
                </c:pt>
                <c:pt idx="604">
                  <c:v> 1403-07-21 </c:v>
                </c:pt>
                <c:pt idx="605">
                  <c:v> 1403-07-22 </c:v>
                </c:pt>
                <c:pt idx="606">
                  <c:v> 1403-07-23 </c:v>
                </c:pt>
                <c:pt idx="607">
                  <c:v> 1403-07-24 </c:v>
                </c:pt>
                <c:pt idx="608">
                  <c:v> 1403-07-25 </c:v>
                </c:pt>
                <c:pt idx="609">
                  <c:v> 1403-07-28 </c:v>
                </c:pt>
                <c:pt idx="610">
                  <c:v> 1403-07-29 </c:v>
                </c:pt>
                <c:pt idx="611">
                  <c:v> 1403-07-30 </c:v>
                </c:pt>
                <c:pt idx="612">
                  <c:v> 1403-08-01 </c:v>
                </c:pt>
                <c:pt idx="613">
                  <c:v> 1403-08-02 </c:v>
                </c:pt>
                <c:pt idx="614">
                  <c:v> 1403-08-05 </c:v>
                </c:pt>
                <c:pt idx="615">
                  <c:v> 1403-08-06 </c:v>
                </c:pt>
                <c:pt idx="616">
                  <c:v> 1403-08-07 </c:v>
                </c:pt>
                <c:pt idx="617">
                  <c:v> 1403-08-08 </c:v>
                </c:pt>
                <c:pt idx="618">
                  <c:v> 1403-08-09 </c:v>
                </c:pt>
                <c:pt idx="619">
                  <c:v> 1403-08-12 </c:v>
                </c:pt>
                <c:pt idx="620">
                  <c:v> 1403-08-13 </c:v>
                </c:pt>
                <c:pt idx="621">
                  <c:v> 1403-08-14 </c:v>
                </c:pt>
                <c:pt idx="622">
                  <c:v> 1403-08-15 </c:v>
                </c:pt>
                <c:pt idx="623">
                  <c:v> 1403-08-16 </c:v>
                </c:pt>
                <c:pt idx="624">
                  <c:v> 1403-08-19 </c:v>
                </c:pt>
                <c:pt idx="625">
                  <c:v> 1403-08-20 </c:v>
                </c:pt>
                <c:pt idx="626">
                  <c:v> 1403-08-21 </c:v>
                </c:pt>
                <c:pt idx="627">
                  <c:v> 1403-08-22 </c:v>
                </c:pt>
                <c:pt idx="628">
                  <c:v> 1403-08-23 </c:v>
                </c:pt>
                <c:pt idx="629">
                  <c:v> 1403-08-26 </c:v>
                </c:pt>
                <c:pt idx="630">
                  <c:v> 1403-08-27 </c:v>
                </c:pt>
                <c:pt idx="631">
                  <c:v> 1403-08-28 </c:v>
                </c:pt>
                <c:pt idx="632">
                  <c:v> 1403-08-29 </c:v>
                </c:pt>
                <c:pt idx="633">
                  <c:v> 1403-08-30 </c:v>
                </c:pt>
                <c:pt idx="634">
                  <c:v> 1403-09-03 </c:v>
                </c:pt>
                <c:pt idx="635">
                  <c:v> 1403-09-04 </c:v>
                </c:pt>
                <c:pt idx="636">
                  <c:v> 1403-09-05 </c:v>
                </c:pt>
                <c:pt idx="637">
                  <c:v> 1403-09-06 </c:v>
                </c:pt>
                <c:pt idx="638">
                  <c:v> 1403-09-07 </c:v>
                </c:pt>
                <c:pt idx="639">
                  <c:v> 1403-09-10 </c:v>
                </c:pt>
                <c:pt idx="640">
                  <c:v> 1403-09-11 </c:v>
                </c:pt>
                <c:pt idx="641">
                  <c:v> 1403-09-12 </c:v>
                </c:pt>
                <c:pt idx="642">
                  <c:v> 1403-09-13 </c:v>
                </c:pt>
                <c:pt idx="643">
                  <c:v> 1403-09-14 </c:v>
                </c:pt>
                <c:pt idx="644">
                  <c:v> 1403-09-17 </c:v>
                </c:pt>
                <c:pt idx="645">
                  <c:v> 1403-09-18 </c:v>
                </c:pt>
                <c:pt idx="646">
                  <c:v> 1403-09-19 </c:v>
                </c:pt>
                <c:pt idx="647">
                  <c:v> 1403-09-20 </c:v>
                </c:pt>
                <c:pt idx="648">
                  <c:v> 1403-09-21 </c:v>
                </c:pt>
                <c:pt idx="649">
                  <c:v> 1403-09-24 </c:v>
                </c:pt>
                <c:pt idx="650">
                  <c:v> 1403-09-25 </c:v>
                </c:pt>
                <c:pt idx="651">
                  <c:v> 1403-09-26 </c:v>
                </c:pt>
                <c:pt idx="652">
                  <c:v> 1403-09-27 </c:v>
                </c:pt>
                <c:pt idx="653">
                  <c:v> 1403-09-28 </c:v>
                </c:pt>
                <c:pt idx="654">
                  <c:v> 1403-10-01 </c:v>
                </c:pt>
                <c:pt idx="655">
                  <c:v> 1403-10-02 </c:v>
                </c:pt>
                <c:pt idx="656">
                  <c:v> 1403-10-03 </c:v>
                </c:pt>
                <c:pt idx="657">
                  <c:v> 1403-10-04 </c:v>
                </c:pt>
                <c:pt idx="658">
                  <c:v> 1403-10-05 </c:v>
                </c:pt>
                <c:pt idx="659">
                  <c:v> 1403-10-08 </c:v>
                </c:pt>
                <c:pt idx="660">
                  <c:v> 1403-10-09 </c:v>
                </c:pt>
                <c:pt idx="661">
                  <c:v> 1403-10-10 </c:v>
                </c:pt>
                <c:pt idx="662">
                  <c:v> 1403-10-11 </c:v>
                </c:pt>
                <c:pt idx="663">
                  <c:v> 1403-10-12 </c:v>
                </c:pt>
                <c:pt idx="664">
                  <c:v> 1403-10-15 </c:v>
                </c:pt>
                <c:pt idx="665">
                  <c:v> 1403-10-16 </c:v>
                </c:pt>
                <c:pt idx="666">
                  <c:v> 1403-10-17 </c:v>
                </c:pt>
                <c:pt idx="667">
                  <c:v> 1403-10-18 </c:v>
                </c:pt>
                <c:pt idx="668">
                  <c:v> 1403-10-19 </c:v>
                </c:pt>
                <c:pt idx="669">
                  <c:v> 1403-10-22 </c:v>
                </c:pt>
                <c:pt idx="670">
                  <c:v> 1403-10-23 </c:v>
                </c:pt>
                <c:pt idx="671">
                  <c:v> 1403-10-24 </c:v>
                </c:pt>
                <c:pt idx="672">
                  <c:v> 1403-10-26 </c:v>
                </c:pt>
                <c:pt idx="673">
                  <c:v> 1403-10-29 </c:v>
                </c:pt>
                <c:pt idx="674">
                  <c:v> 1403-10-30 </c:v>
                </c:pt>
                <c:pt idx="675">
                  <c:v> 1403-11-01 </c:v>
                </c:pt>
                <c:pt idx="676">
                  <c:v> 1403-11-02 </c:v>
                </c:pt>
                <c:pt idx="677">
                  <c:v> 1403-11-03 </c:v>
                </c:pt>
                <c:pt idx="678">
                  <c:v> 1403-11-06 </c:v>
                </c:pt>
                <c:pt idx="679">
                  <c:v> 1403-11-07 </c:v>
                </c:pt>
                <c:pt idx="680">
                  <c:v> 1403-11-08 </c:v>
                </c:pt>
                <c:pt idx="681">
                  <c:v> 1403-11-10 </c:v>
                </c:pt>
                <c:pt idx="682">
                  <c:v> 1403-11-13 </c:v>
                </c:pt>
                <c:pt idx="683">
                  <c:v> 1403-11-14 </c:v>
                </c:pt>
                <c:pt idx="684">
                  <c:v> 1403-11-15 </c:v>
                </c:pt>
                <c:pt idx="685">
                  <c:v> 1403-11-16 </c:v>
                </c:pt>
                <c:pt idx="686">
                  <c:v> 1403-11-17 </c:v>
                </c:pt>
                <c:pt idx="687">
                  <c:v> 1403-11-21 </c:v>
                </c:pt>
                <c:pt idx="688">
                  <c:v> 1403-11-23 </c:v>
                </c:pt>
                <c:pt idx="689">
                  <c:v> 1403-11-27 </c:v>
                </c:pt>
                <c:pt idx="690">
                  <c:v> 1403-11-28 </c:v>
                </c:pt>
                <c:pt idx="691">
                  <c:v> 1403-11-29 </c:v>
                </c:pt>
                <c:pt idx="692">
                  <c:v> 1403-11-30 </c:v>
                </c:pt>
                <c:pt idx="693">
                  <c:v> 1403-12-01 </c:v>
                </c:pt>
                <c:pt idx="694">
                  <c:v> 1403-12-04 </c:v>
                </c:pt>
                <c:pt idx="695">
                  <c:v> 1403-12-05 </c:v>
                </c:pt>
                <c:pt idx="696">
                  <c:v> 1403-12-06 </c:v>
                </c:pt>
                <c:pt idx="697">
                  <c:v> 1403-12-07 </c:v>
                </c:pt>
                <c:pt idx="698">
                  <c:v> 1403-12-08 </c:v>
                </c:pt>
                <c:pt idx="699">
                  <c:v> 1403-12-08 </c:v>
                </c:pt>
                <c:pt idx="700">
                  <c:v> 1403-12-11 </c:v>
                </c:pt>
                <c:pt idx="701">
                  <c:v> 1403-12-12 </c:v>
                </c:pt>
                <c:pt idx="702">
                  <c:v> 1403-12-13 </c:v>
                </c:pt>
                <c:pt idx="703">
                  <c:v> 1403-12-14 </c:v>
                </c:pt>
                <c:pt idx="704">
                  <c:v> 1403-12-15 </c:v>
                </c:pt>
              </c:strCache>
            </c:strRef>
          </c:cat>
          <c:val>
            <c:numRef>
              <c:f>'  بورس-خالص ورود حقیقی ارزش-بور'!$F$3:$F$707</c:f>
              <c:numCache>
                <c:formatCode>_(* #,##0_);_(* \(#,##0\);_(* "-"??_);_(@_)</c:formatCode>
                <c:ptCount val="705"/>
                <c:pt idx="0">
                  <c:v>1983296.6404899999</c:v>
                </c:pt>
                <c:pt idx="1">
                  <c:v>2130199.9692299999</c:v>
                </c:pt>
                <c:pt idx="2">
                  <c:v>6440971.2080760002</c:v>
                </c:pt>
                <c:pt idx="3">
                  <c:v>3711993.9281740002</c:v>
                </c:pt>
                <c:pt idx="4">
                  <c:v>4639759.9801930003</c:v>
                </c:pt>
                <c:pt idx="5">
                  <c:v>9977999.9115910009</c:v>
                </c:pt>
                <c:pt idx="6">
                  <c:v>7638351.0642770007</c:v>
                </c:pt>
                <c:pt idx="7">
                  <c:v>7673899.0046220003</c:v>
                </c:pt>
                <c:pt idx="8">
                  <c:v>5569619.5994290002</c:v>
                </c:pt>
                <c:pt idx="9">
                  <c:v>3745301.5651719999</c:v>
                </c:pt>
                <c:pt idx="10">
                  <c:v>5537902.2474140003</c:v>
                </c:pt>
                <c:pt idx="11">
                  <c:v>4297213.9030809999</c:v>
                </c:pt>
                <c:pt idx="12">
                  <c:v>-4635464.0032270011</c:v>
                </c:pt>
                <c:pt idx="13">
                  <c:v>-4276256.8593820008</c:v>
                </c:pt>
                <c:pt idx="14">
                  <c:v>-2470105.6406450011</c:v>
                </c:pt>
                <c:pt idx="15">
                  <c:v>-1053355.634822001</c:v>
                </c:pt>
                <c:pt idx="16">
                  <c:v>-9062.2046180010075</c:v>
                </c:pt>
                <c:pt idx="17">
                  <c:v>-202149.43970500102</c:v>
                </c:pt>
                <c:pt idx="18">
                  <c:v>-1266767.5563540009</c:v>
                </c:pt>
                <c:pt idx="19">
                  <c:v>-3652324.8164910013</c:v>
                </c:pt>
                <c:pt idx="20">
                  <c:v>-4016420.0346450014</c:v>
                </c:pt>
                <c:pt idx="21">
                  <c:v>-2508933.1833010013</c:v>
                </c:pt>
                <c:pt idx="22">
                  <c:v>-4337942.3820940014</c:v>
                </c:pt>
                <c:pt idx="23">
                  <c:v>-4471308.7617300013</c:v>
                </c:pt>
                <c:pt idx="24">
                  <c:v>-5072218.3889860008</c:v>
                </c:pt>
                <c:pt idx="25">
                  <c:v>-4752862.1439490011</c:v>
                </c:pt>
                <c:pt idx="26">
                  <c:v>-3273106.6028890014</c:v>
                </c:pt>
                <c:pt idx="27">
                  <c:v>-3643915.0204920014</c:v>
                </c:pt>
                <c:pt idx="28">
                  <c:v>-7669450.035197001</c:v>
                </c:pt>
                <c:pt idx="29">
                  <c:v>-8251668.4970200006</c:v>
                </c:pt>
                <c:pt idx="30">
                  <c:v>-5625160.2013580007</c:v>
                </c:pt>
                <c:pt idx="31">
                  <c:v>-4612641.5249360008</c:v>
                </c:pt>
                <c:pt idx="32">
                  <c:v>-7703466.6108530015</c:v>
                </c:pt>
                <c:pt idx="33">
                  <c:v>-6852507.5646430012</c:v>
                </c:pt>
                <c:pt idx="34">
                  <c:v>-10402742.274995001</c:v>
                </c:pt>
                <c:pt idx="35">
                  <c:v>-13818079.738339001</c:v>
                </c:pt>
                <c:pt idx="36">
                  <c:v>-18987108.807398003</c:v>
                </c:pt>
                <c:pt idx="37">
                  <c:v>-21827943.413208004</c:v>
                </c:pt>
                <c:pt idx="38">
                  <c:v>-35308512.191128001</c:v>
                </c:pt>
                <c:pt idx="39">
                  <c:v>-39650509.870089002</c:v>
                </c:pt>
                <c:pt idx="40">
                  <c:v>-38996952.043492004</c:v>
                </c:pt>
                <c:pt idx="41">
                  <c:v>-43738166.032282002</c:v>
                </c:pt>
                <c:pt idx="42">
                  <c:v>-50557188.408219002</c:v>
                </c:pt>
                <c:pt idx="43">
                  <c:v>-53020276.229189999</c:v>
                </c:pt>
                <c:pt idx="44">
                  <c:v>-54772653.203935996</c:v>
                </c:pt>
                <c:pt idx="45">
                  <c:v>-56502537.024714999</c:v>
                </c:pt>
                <c:pt idx="46">
                  <c:v>-66859740.685916997</c:v>
                </c:pt>
                <c:pt idx="47">
                  <c:v>-71135810.866889</c:v>
                </c:pt>
                <c:pt idx="48">
                  <c:v>-73933615.240962997</c:v>
                </c:pt>
                <c:pt idx="49">
                  <c:v>-78618670.043007001</c:v>
                </c:pt>
                <c:pt idx="50">
                  <c:v>-79184011.722056001</c:v>
                </c:pt>
                <c:pt idx="51">
                  <c:v>-77243301.284419999</c:v>
                </c:pt>
                <c:pt idx="52">
                  <c:v>-79923101.624135002</c:v>
                </c:pt>
                <c:pt idx="53">
                  <c:v>-82955656.380033001</c:v>
                </c:pt>
                <c:pt idx="54">
                  <c:v>-89488389.906500995</c:v>
                </c:pt>
                <c:pt idx="55">
                  <c:v>-93370177.762180999</c:v>
                </c:pt>
                <c:pt idx="56">
                  <c:v>-95174745.266623005</c:v>
                </c:pt>
                <c:pt idx="57">
                  <c:v>-98727012.116471007</c:v>
                </c:pt>
                <c:pt idx="58">
                  <c:v>-101669526.18185</c:v>
                </c:pt>
                <c:pt idx="59">
                  <c:v>-104383266.553811</c:v>
                </c:pt>
                <c:pt idx="60">
                  <c:v>-109104751.175184</c:v>
                </c:pt>
                <c:pt idx="61">
                  <c:v>-112554291.65802899</c:v>
                </c:pt>
                <c:pt idx="62">
                  <c:v>-114513890.49503799</c:v>
                </c:pt>
                <c:pt idx="63">
                  <c:v>-118482964.81552599</c:v>
                </c:pt>
                <c:pt idx="64">
                  <c:v>-124158968.021522</c:v>
                </c:pt>
                <c:pt idx="65">
                  <c:v>-126654634.706697</c:v>
                </c:pt>
                <c:pt idx="66">
                  <c:v>-129343756.530826</c:v>
                </c:pt>
                <c:pt idx="67">
                  <c:v>-131554468.479623</c:v>
                </c:pt>
                <c:pt idx="68">
                  <c:v>-135138563.89301202</c:v>
                </c:pt>
                <c:pt idx="69">
                  <c:v>-141883275.789442</c:v>
                </c:pt>
                <c:pt idx="70">
                  <c:v>-145465079.95117599</c:v>
                </c:pt>
                <c:pt idx="71">
                  <c:v>-147315988.87105998</c:v>
                </c:pt>
                <c:pt idx="72">
                  <c:v>-149826659.63505599</c:v>
                </c:pt>
                <c:pt idx="73">
                  <c:v>-153981198.80888399</c:v>
                </c:pt>
                <c:pt idx="74">
                  <c:v>-156054339.46630201</c:v>
                </c:pt>
                <c:pt idx="75">
                  <c:v>-156487811.19845301</c:v>
                </c:pt>
                <c:pt idx="76">
                  <c:v>-157215154.87406802</c:v>
                </c:pt>
                <c:pt idx="77">
                  <c:v>-160392912.75782502</c:v>
                </c:pt>
                <c:pt idx="78">
                  <c:v>-165737177.60140702</c:v>
                </c:pt>
                <c:pt idx="79">
                  <c:v>-169079490.86249003</c:v>
                </c:pt>
                <c:pt idx="80">
                  <c:v>-169955574.40863404</c:v>
                </c:pt>
                <c:pt idx="81">
                  <c:v>-172516238.27202904</c:v>
                </c:pt>
                <c:pt idx="82">
                  <c:v>-177199486.68875504</c:v>
                </c:pt>
                <c:pt idx="83">
                  <c:v>-179818586.04074103</c:v>
                </c:pt>
                <c:pt idx="84">
                  <c:v>-182622334.34876904</c:v>
                </c:pt>
                <c:pt idx="85">
                  <c:v>-183365031.05896005</c:v>
                </c:pt>
                <c:pt idx="86">
                  <c:v>-182201015.65875906</c:v>
                </c:pt>
                <c:pt idx="87">
                  <c:v>-184538775.27300707</c:v>
                </c:pt>
                <c:pt idx="88">
                  <c:v>-186357992.46705106</c:v>
                </c:pt>
                <c:pt idx="89">
                  <c:v>-184639227.17191607</c:v>
                </c:pt>
                <c:pt idx="90">
                  <c:v>-186179487.76176107</c:v>
                </c:pt>
                <c:pt idx="91">
                  <c:v>-186733511.70356506</c:v>
                </c:pt>
                <c:pt idx="92">
                  <c:v>-187900319.11662406</c:v>
                </c:pt>
                <c:pt idx="93">
                  <c:v>-189507267.10696006</c:v>
                </c:pt>
                <c:pt idx="94">
                  <c:v>-191943237.63345706</c:v>
                </c:pt>
                <c:pt idx="95">
                  <c:v>-194294580.25554106</c:v>
                </c:pt>
                <c:pt idx="96">
                  <c:v>-196751826.65331405</c:v>
                </c:pt>
                <c:pt idx="97">
                  <c:v>-195984804.26250106</c:v>
                </c:pt>
                <c:pt idx="98">
                  <c:v>-195762365.15024006</c:v>
                </c:pt>
                <c:pt idx="99">
                  <c:v>-197113541.53548408</c:v>
                </c:pt>
                <c:pt idx="100">
                  <c:v>-199338016.38334706</c:v>
                </c:pt>
                <c:pt idx="101">
                  <c:v>-199311831.76515105</c:v>
                </c:pt>
                <c:pt idx="102">
                  <c:v>-200477647.59519005</c:v>
                </c:pt>
                <c:pt idx="103">
                  <c:v>-202556499.76586005</c:v>
                </c:pt>
                <c:pt idx="104">
                  <c:v>-206201847.07533005</c:v>
                </c:pt>
                <c:pt idx="105">
                  <c:v>-207767604.42463905</c:v>
                </c:pt>
                <c:pt idx="106">
                  <c:v>-209307034.99862704</c:v>
                </c:pt>
                <c:pt idx="107">
                  <c:v>-210033351.01716405</c:v>
                </c:pt>
                <c:pt idx="108">
                  <c:v>-211439987.64963004</c:v>
                </c:pt>
                <c:pt idx="109">
                  <c:v>-215258807.63436505</c:v>
                </c:pt>
                <c:pt idx="110">
                  <c:v>-217236800.53951105</c:v>
                </c:pt>
                <c:pt idx="111">
                  <c:v>-219269637.55286604</c:v>
                </c:pt>
                <c:pt idx="112">
                  <c:v>-219234619.54997104</c:v>
                </c:pt>
                <c:pt idx="113">
                  <c:v>-220311337.29192105</c:v>
                </c:pt>
                <c:pt idx="114">
                  <c:v>-222555657.43055305</c:v>
                </c:pt>
                <c:pt idx="115">
                  <c:v>-224180845.94977805</c:v>
                </c:pt>
                <c:pt idx="116">
                  <c:v>-226213602.70403904</c:v>
                </c:pt>
                <c:pt idx="117">
                  <c:v>-228558808.08784103</c:v>
                </c:pt>
                <c:pt idx="118">
                  <c:v>-234117468.90267304</c:v>
                </c:pt>
                <c:pt idx="119">
                  <c:v>-235540236.19493705</c:v>
                </c:pt>
                <c:pt idx="120">
                  <c:v>-235218260.88546306</c:v>
                </c:pt>
                <c:pt idx="121">
                  <c:v>-240257251.70880705</c:v>
                </c:pt>
                <c:pt idx="122">
                  <c:v>-244060847.13363105</c:v>
                </c:pt>
                <c:pt idx="123">
                  <c:v>-247142093.80124706</c:v>
                </c:pt>
                <c:pt idx="124">
                  <c:v>-248682052.01819706</c:v>
                </c:pt>
                <c:pt idx="125">
                  <c:v>-248774991.67577907</c:v>
                </c:pt>
                <c:pt idx="126">
                  <c:v>-254190983.02805007</c:v>
                </c:pt>
                <c:pt idx="127">
                  <c:v>-256680222.70992306</c:v>
                </c:pt>
                <c:pt idx="128">
                  <c:v>-257922839.23929307</c:v>
                </c:pt>
                <c:pt idx="129">
                  <c:v>-259258849.48193708</c:v>
                </c:pt>
                <c:pt idx="130">
                  <c:v>-261443353.51418307</c:v>
                </c:pt>
                <c:pt idx="131">
                  <c:v>-264693913.28866908</c:v>
                </c:pt>
                <c:pt idx="132">
                  <c:v>-266128113.88573208</c:v>
                </c:pt>
                <c:pt idx="133">
                  <c:v>-266999657.8922551</c:v>
                </c:pt>
                <c:pt idx="134">
                  <c:v>-268161642.3822701</c:v>
                </c:pt>
                <c:pt idx="135">
                  <c:v>-269264641.42367411</c:v>
                </c:pt>
                <c:pt idx="136">
                  <c:v>-271272217.32409811</c:v>
                </c:pt>
                <c:pt idx="137">
                  <c:v>-273682753.41270113</c:v>
                </c:pt>
                <c:pt idx="138">
                  <c:v>-277246214.05713612</c:v>
                </c:pt>
                <c:pt idx="139">
                  <c:v>-283295672.01057011</c:v>
                </c:pt>
                <c:pt idx="140">
                  <c:v>-292032729.4381941</c:v>
                </c:pt>
                <c:pt idx="141">
                  <c:v>-296535111.20780307</c:v>
                </c:pt>
                <c:pt idx="142">
                  <c:v>-297275589.12225205</c:v>
                </c:pt>
                <c:pt idx="143">
                  <c:v>-299394242.65615904</c:v>
                </c:pt>
                <c:pt idx="144">
                  <c:v>-302019419.21296102</c:v>
                </c:pt>
                <c:pt idx="145">
                  <c:v>-299200711.533871</c:v>
                </c:pt>
                <c:pt idx="146">
                  <c:v>-300286334.69474697</c:v>
                </c:pt>
                <c:pt idx="147">
                  <c:v>-295105930.31333399</c:v>
                </c:pt>
                <c:pt idx="148">
                  <c:v>-299280763.51888198</c:v>
                </c:pt>
                <c:pt idx="149">
                  <c:v>-302197899.01713496</c:v>
                </c:pt>
                <c:pt idx="150">
                  <c:v>-302468923.98355794</c:v>
                </c:pt>
                <c:pt idx="151">
                  <c:v>-305585751.92155492</c:v>
                </c:pt>
                <c:pt idx="152">
                  <c:v>-312115367.53804493</c:v>
                </c:pt>
                <c:pt idx="153">
                  <c:v>-314706821.55345595</c:v>
                </c:pt>
                <c:pt idx="154">
                  <c:v>-316719242.81091493</c:v>
                </c:pt>
                <c:pt idx="155">
                  <c:v>-323389197.11025292</c:v>
                </c:pt>
                <c:pt idx="156">
                  <c:v>-321905028.26874495</c:v>
                </c:pt>
                <c:pt idx="157">
                  <c:v>-324302638.89200294</c:v>
                </c:pt>
                <c:pt idx="158">
                  <c:v>-324188069.67236292</c:v>
                </c:pt>
                <c:pt idx="159">
                  <c:v>-324755110.41824895</c:v>
                </c:pt>
                <c:pt idx="160">
                  <c:v>-326101552.24553692</c:v>
                </c:pt>
                <c:pt idx="161">
                  <c:v>-327287307.88349992</c:v>
                </c:pt>
                <c:pt idx="162">
                  <c:v>-327830015.78243893</c:v>
                </c:pt>
                <c:pt idx="163">
                  <c:v>-328496974.09152895</c:v>
                </c:pt>
                <c:pt idx="164">
                  <c:v>-328824519.40374696</c:v>
                </c:pt>
                <c:pt idx="165">
                  <c:v>-330392542.02755296</c:v>
                </c:pt>
                <c:pt idx="166">
                  <c:v>-331958825.15047395</c:v>
                </c:pt>
                <c:pt idx="167">
                  <c:v>-334380993.10334295</c:v>
                </c:pt>
                <c:pt idx="168">
                  <c:v>-335179214.30484396</c:v>
                </c:pt>
                <c:pt idx="169">
                  <c:v>-336281933.35296094</c:v>
                </c:pt>
                <c:pt idx="170">
                  <c:v>-340094505.86354595</c:v>
                </c:pt>
                <c:pt idx="171">
                  <c:v>-340439031.12538898</c:v>
                </c:pt>
                <c:pt idx="172">
                  <c:v>-338618796.87339896</c:v>
                </c:pt>
                <c:pt idx="173">
                  <c:v>-335819834.50452697</c:v>
                </c:pt>
                <c:pt idx="174">
                  <c:v>-337550418.64231497</c:v>
                </c:pt>
                <c:pt idx="175">
                  <c:v>-337593953.37412</c:v>
                </c:pt>
                <c:pt idx="176">
                  <c:v>-336016959.310314</c:v>
                </c:pt>
                <c:pt idx="177">
                  <c:v>-337844581.26364303</c:v>
                </c:pt>
                <c:pt idx="178">
                  <c:v>-339052036.83349705</c:v>
                </c:pt>
                <c:pt idx="179">
                  <c:v>-339142517.64558303</c:v>
                </c:pt>
                <c:pt idx="180">
                  <c:v>-336276532.42108202</c:v>
                </c:pt>
                <c:pt idx="181">
                  <c:v>-334335232.91859901</c:v>
                </c:pt>
                <c:pt idx="182">
                  <c:v>-332797220.43294799</c:v>
                </c:pt>
                <c:pt idx="183">
                  <c:v>-325727158.52550602</c:v>
                </c:pt>
                <c:pt idx="184">
                  <c:v>-333740483.06767905</c:v>
                </c:pt>
                <c:pt idx="185">
                  <c:v>-341249185.64119506</c:v>
                </c:pt>
                <c:pt idx="186">
                  <c:v>-336152488.17196804</c:v>
                </c:pt>
                <c:pt idx="187">
                  <c:v>-338710559.22615606</c:v>
                </c:pt>
                <c:pt idx="188">
                  <c:v>-338236306.95921308</c:v>
                </c:pt>
                <c:pt idx="189">
                  <c:v>-331819455.88550305</c:v>
                </c:pt>
                <c:pt idx="190">
                  <c:v>-326991940.31473005</c:v>
                </c:pt>
                <c:pt idx="191">
                  <c:v>-324690192.71145505</c:v>
                </c:pt>
                <c:pt idx="192">
                  <c:v>-324403860.63890404</c:v>
                </c:pt>
                <c:pt idx="193">
                  <c:v>-328942986.94908905</c:v>
                </c:pt>
                <c:pt idx="194">
                  <c:v>-330748220.18159807</c:v>
                </c:pt>
                <c:pt idx="195">
                  <c:v>-320535026.69948304</c:v>
                </c:pt>
                <c:pt idx="196">
                  <c:v>-322351853.62500906</c:v>
                </c:pt>
                <c:pt idx="197">
                  <c:v>-320946119.00584906</c:v>
                </c:pt>
                <c:pt idx="198">
                  <c:v>-328857992.50626808</c:v>
                </c:pt>
                <c:pt idx="199">
                  <c:v>-332706813.98501509</c:v>
                </c:pt>
                <c:pt idx="200">
                  <c:v>-336873577.37571812</c:v>
                </c:pt>
                <c:pt idx="201">
                  <c:v>-337971531.74415112</c:v>
                </c:pt>
                <c:pt idx="202">
                  <c:v>-350849521.63662112</c:v>
                </c:pt>
                <c:pt idx="203">
                  <c:v>-362103572.6462211</c:v>
                </c:pt>
                <c:pt idx="204">
                  <c:v>-380747382.06016308</c:v>
                </c:pt>
                <c:pt idx="205">
                  <c:v>-386606471.96010607</c:v>
                </c:pt>
                <c:pt idx="206">
                  <c:v>-387359495.28474909</c:v>
                </c:pt>
                <c:pt idx="207">
                  <c:v>-389541701.50236809</c:v>
                </c:pt>
                <c:pt idx="208">
                  <c:v>-399013167.46302807</c:v>
                </c:pt>
                <c:pt idx="209">
                  <c:v>-404398280.94850808</c:v>
                </c:pt>
                <c:pt idx="210">
                  <c:v>-406524801.68790811</c:v>
                </c:pt>
                <c:pt idx="211">
                  <c:v>-409160381.26343209</c:v>
                </c:pt>
                <c:pt idx="212">
                  <c:v>-412643680.28258908</c:v>
                </c:pt>
                <c:pt idx="213">
                  <c:v>-414696712.35592705</c:v>
                </c:pt>
                <c:pt idx="214">
                  <c:v>-419307659.56090707</c:v>
                </c:pt>
                <c:pt idx="215">
                  <c:v>-423045296.51679307</c:v>
                </c:pt>
                <c:pt idx="216">
                  <c:v>-425770510.93971008</c:v>
                </c:pt>
                <c:pt idx="217">
                  <c:v>-416262624.25193208</c:v>
                </c:pt>
                <c:pt idx="218">
                  <c:v>-411441118.34724706</c:v>
                </c:pt>
                <c:pt idx="219">
                  <c:v>-414546972.16103303</c:v>
                </c:pt>
                <c:pt idx="220">
                  <c:v>-400576456.80860204</c:v>
                </c:pt>
                <c:pt idx="221">
                  <c:v>-403273813.28909606</c:v>
                </c:pt>
                <c:pt idx="222">
                  <c:v>-409345997.98121709</c:v>
                </c:pt>
                <c:pt idx="223">
                  <c:v>-410258644.9921481</c:v>
                </c:pt>
                <c:pt idx="224">
                  <c:v>-419191853.47165012</c:v>
                </c:pt>
                <c:pt idx="225">
                  <c:v>-427739565.45281512</c:v>
                </c:pt>
                <c:pt idx="226">
                  <c:v>-429453829.75055814</c:v>
                </c:pt>
                <c:pt idx="227">
                  <c:v>-432382319.01384115</c:v>
                </c:pt>
                <c:pt idx="228">
                  <c:v>-430753066.65068418</c:v>
                </c:pt>
                <c:pt idx="229">
                  <c:v>-435646268.82142317</c:v>
                </c:pt>
                <c:pt idx="230">
                  <c:v>-443569635.0225932</c:v>
                </c:pt>
                <c:pt idx="231">
                  <c:v>-445240297.71159917</c:v>
                </c:pt>
                <c:pt idx="232">
                  <c:v>-445278696.74974215</c:v>
                </c:pt>
                <c:pt idx="233">
                  <c:v>-441322727.27615613</c:v>
                </c:pt>
                <c:pt idx="234">
                  <c:v>-431802136.35121012</c:v>
                </c:pt>
                <c:pt idx="235">
                  <c:v>-427939167.04260111</c:v>
                </c:pt>
                <c:pt idx="236">
                  <c:v>-426536426.5026691</c:v>
                </c:pt>
                <c:pt idx="237">
                  <c:v>-426687507.46305007</c:v>
                </c:pt>
                <c:pt idx="238">
                  <c:v>-424471924.05337906</c:v>
                </c:pt>
                <c:pt idx="239">
                  <c:v>-419134076.55695307</c:v>
                </c:pt>
                <c:pt idx="240">
                  <c:v>-414138116.03496706</c:v>
                </c:pt>
                <c:pt idx="241">
                  <c:v>-411760751.13549507</c:v>
                </c:pt>
                <c:pt idx="242">
                  <c:v>-414955663.70155007</c:v>
                </c:pt>
                <c:pt idx="243">
                  <c:v>-409002613.74938709</c:v>
                </c:pt>
                <c:pt idx="244">
                  <c:v>-396960652.44111907</c:v>
                </c:pt>
                <c:pt idx="245">
                  <c:v>-386861415.12609208</c:v>
                </c:pt>
                <c:pt idx="246">
                  <c:v>-397306238.57098109</c:v>
                </c:pt>
                <c:pt idx="247">
                  <c:v>-392013085.80274808</c:v>
                </c:pt>
                <c:pt idx="248">
                  <c:v>-370782340.11927009</c:v>
                </c:pt>
                <c:pt idx="249">
                  <c:v>-364935878.56522107</c:v>
                </c:pt>
                <c:pt idx="250">
                  <c:v>-358141030.83910006</c:v>
                </c:pt>
                <c:pt idx="251">
                  <c:v>-344669485.72457206</c:v>
                </c:pt>
                <c:pt idx="252">
                  <c:v>-338187449.31497705</c:v>
                </c:pt>
                <c:pt idx="253">
                  <c:v>-333506525.01170605</c:v>
                </c:pt>
                <c:pt idx="254">
                  <c:v>-323818173.63476306</c:v>
                </c:pt>
                <c:pt idx="255">
                  <c:v>-317776519.49290508</c:v>
                </c:pt>
                <c:pt idx="256">
                  <c:v>-294062844.88311809</c:v>
                </c:pt>
                <c:pt idx="257">
                  <c:v>-281719480.3621791</c:v>
                </c:pt>
                <c:pt idx="258">
                  <c:v>-275525388.55660212</c:v>
                </c:pt>
                <c:pt idx="259">
                  <c:v>-262235693.76291013</c:v>
                </c:pt>
                <c:pt idx="260">
                  <c:v>-244375874.98857713</c:v>
                </c:pt>
                <c:pt idx="261">
                  <c:v>-221156577.47099411</c:v>
                </c:pt>
                <c:pt idx="262">
                  <c:v>-258351477.35472012</c:v>
                </c:pt>
                <c:pt idx="263">
                  <c:v>-292311778.9133811</c:v>
                </c:pt>
                <c:pt idx="264">
                  <c:v>-307228687.4211551</c:v>
                </c:pt>
                <c:pt idx="265">
                  <c:v>-333269035.44121808</c:v>
                </c:pt>
                <c:pt idx="266">
                  <c:v>-365929302.52881205</c:v>
                </c:pt>
                <c:pt idx="267">
                  <c:v>-355289821.39936203</c:v>
                </c:pt>
                <c:pt idx="268">
                  <c:v>-357625124.50127405</c:v>
                </c:pt>
                <c:pt idx="269">
                  <c:v>-354623583.52798605</c:v>
                </c:pt>
                <c:pt idx="270">
                  <c:v>-361468538.42506707</c:v>
                </c:pt>
                <c:pt idx="271">
                  <c:v>-361012305.42762005</c:v>
                </c:pt>
                <c:pt idx="272">
                  <c:v>-352472923.36772203</c:v>
                </c:pt>
                <c:pt idx="273">
                  <c:v>-350284035.13971406</c:v>
                </c:pt>
                <c:pt idx="274">
                  <c:v>-351647871.58762807</c:v>
                </c:pt>
                <c:pt idx="275">
                  <c:v>-363340301.23486006</c:v>
                </c:pt>
                <c:pt idx="276">
                  <c:v>-382196282.14666605</c:v>
                </c:pt>
                <c:pt idx="277">
                  <c:v>-380768578.97895002</c:v>
                </c:pt>
                <c:pt idx="278">
                  <c:v>-380185481.15641803</c:v>
                </c:pt>
                <c:pt idx="279">
                  <c:v>-387932032.90800601</c:v>
                </c:pt>
                <c:pt idx="280">
                  <c:v>-388294562.25092798</c:v>
                </c:pt>
                <c:pt idx="281">
                  <c:v>-387195788.76221997</c:v>
                </c:pt>
                <c:pt idx="282">
                  <c:v>-390531812.90519094</c:v>
                </c:pt>
                <c:pt idx="283">
                  <c:v>-405339290.87118995</c:v>
                </c:pt>
                <c:pt idx="284">
                  <c:v>-408982142.31552392</c:v>
                </c:pt>
                <c:pt idx="285">
                  <c:v>-419603903.44077492</c:v>
                </c:pt>
                <c:pt idx="286">
                  <c:v>-421198725.40067095</c:v>
                </c:pt>
                <c:pt idx="287">
                  <c:v>-419490152.88011092</c:v>
                </c:pt>
                <c:pt idx="288">
                  <c:v>-419274467.66346592</c:v>
                </c:pt>
                <c:pt idx="289">
                  <c:v>-425729858.02338392</c:v>
                </c:pt>
                <c:pt idx="290">
                  <c:v>-430221450.63639593</c:v>
                </c:pt>
                <c:pt idx="291">
                  <c:v>-431092117.88831794</c:v>
                </c:pt>
                <c:pt idx="292">
                  <c:v>-431864419.85463196</c:v>
                </c:pt>
                <c:pt idx="293">
                  <c:v>-434875347.95033795</c:v>
                </c:pt>
                <c:pt idx="294">
                  <c:v>-435869435.09749997</c:v>
                </c:pt>
                <c:pt idx="295">
                  <c:v>-438293970.45919794</c:v>
                </c:pt>
                <c:pt idx="296">
                  <c:v>-442556721.80013394</c:v>
                </c:pt>
                <c:pt idx="297">
                  <c:v>-444346316.93401194</c:v>
                </c:pt>
                <c:pt idx="298">
                  <c:v>-447235573.30150294</c:v>
                </c:pt>
                <c:pt idx="299">
                  <c:v>-447664253.68859297</c:v>
                </c:pt>
                <c:pt idx="300">
                  <c:v>-447219411.74872196</c:v>
                </c:pt>
                <c:pt idx="301">
                  <c:v>-447835564.62194794</c:v>
                </c:pt>
                <c:pt idx="302">
                  <c:v>-448406284.75630397</c:v>
                </c:pt>
                <c:pt idx="303">
                  <c:v>-449581046.57193696</c:v>
                </c:pt>
                <c:pt idx="304">
                  <c:v>-455135162.92824697</c:v>
                </c:pt>
                <c:pt idx="305">
                  <c:v>-462715961.11462998</c:v>
                </c:pt>
                <c:pt idx="306">
                  <c:v>-476092892.45860898</c:v>
                </c:pt>
                <c:pt idx="307">
                  <c:v>-486552200.10487401</c:v>
                </c:pt>
                <c:pt idx="308">
                  <c:v>-488594932.29958504</c:v>
                </c:pt>
                <c:pt idx="309">
                  <c:v>-496091488.18924302</c:v>
                </c:pt>
                <c:pt idx="310">
                  <c:v>-505378038.787525</c:v>
                </c:pt>
                <c:pt idx="311">
                  <c:v>-497627631.79901701</c:v>
                </c:pt>
                <c:pt idx="312">
                  <c:v>-496040090.46407598</c:v>
                </c:pt>
                <c:pt idx="313">
                  <c:v>-502255897.76531398</c:v>
                </c:pt>
                <c:pt idx="314">
                  <c:v>-503168996.664599</c:v>
                </c:pt>
                <c:pt idx="315">
                  <c:v>-502054757.72037601</c:v>
                </c:pt>
                <c:pt idx="316">
                  <c:v>-503842811.67629302</c:v>
                </c:pt>
                <c:pt idx="317">
                  <c:v>-504359998.27170199</c:v>
                </c:pt>
                <c:pt idx="318">
                  <c:v>-506215365.43435901</c:v>
                </c:pt>
                <c:pt idx="319">
                  <c:v>-515104562.436948</c:v>
                </c:pt>
                <c:pt idx="320">
                  <c:v>-517240086.30891901</c:v>
                </c:pt>
                <c:pt idx="321">
                  <c:v>-517042190.39018303</c:v>
                </c:pt>
                <c:pt idx="322">
                  <c:v>-514162738.16141605</c:v>
                </c:pt>
                <c:pt idx="323">
                  <c:v>-517508054.90721005</c:v>
                </c:pt>
                <c:pt idx="324">
                  <c:v>-518933095.51765704</c:v>
                </c:pt>
                <c:pt idx="325">
                  <c:v>-524266355.49614906</c:v>
                </c:pt>
                <c:pt idx="326">
                  <c:v>-525135633.19743806</c:v>
                </c:pt>
                <c:pt idx="327">
                  <c:v>-535359741.96070606</c:v>
                </c:pt>
                <c:pt idx="328">
                  <c:v>-535722635.86596805</c:v>
                </c:pt>
                <c:pt idx="329">
                  <c:v>-535604724.45282507</c:v>
                </c:pt>
                <c:pt idx="330">
                  <c:v>-539767360.63083112</c:v>
                </c:pt>
                <c:pt idx="331">
                  <c:v>-541407650.04233015</c:v>
                </c:pt>
                <c:pt idx="332">
                  <c:v>-546354707.70667517</c:v>
                </c:pt>
                <c:pt idx="333">
                  <c:v>-550577614.99486816</c:v>
                </c:pt>
                <c:pt idx="334">
                  <c:v>-553085799.65728116</c:v>
                </c:pt>
                <c:pt idx="335">
                  <c:v>-559383131.66149914</c:v>
                </c:pt>
                <c:pt idx="336">
                  <c:v>-560860294.65722716</c:v>
                </c:pt>
                <c:pt idx="337">
                  <c:v>-556150676.29102111</c:v>
                </c:pt>
                <c:pt idx="338">
                  <c:v>-551867142.21974015</c:v>
                </c:pt>
                <c:pt idx="339">
                  <c:v>-553465623.24109912</c:v>
                </c:pt>
                <c:pt idx="340">
                  <c:v>-555690006.23774517</c:v>
                </c:pt>
                <c:pt idx="341">
                  <c:v>-555509832.80598617</c:v>
                </c:pt>
                <c:pt idx="342">
                  <c:v>-560554331.67376018</c:v>
                </c:pt>
                <c:pt idx="343">
                  <c:v>-561951137.70841622</c:v>
                </c:pt>
                <c:pt idx="344">
                  <c:v>-560197509.43106127</c:v>
                </c:pt>
                <c:pt idx="345">
                  <c:v>-561634606.45552325</c:v>
                </c:pt>
                <c:pt idx="346">
                  <c:v>-571330200.98534322</c:v>
                </c:pt>
                <c:pt idx="347">
                  <c:v>-575622777.36452317</c:v>
                </c:pt>
                <c:pt idx="348">
                  <c:v>-576854720.22339416</c:v>
                </c:pt>
                <c:pt idx="349">
                  <c:v>-579039829.03828621</c:v>
                </c:pt>
                <c:pt idx="350">
                  <c:v>-580803639.35920227</c:v>
                </c:pt>
                <c:pt idx="351">
                  <c:v>-579820852.08758521</c:v>
                </c:pt>
                <c:pt idx="352">
                  <c:v>-583480522.87410021</c:v>
                </c:pt>
                <c:pt idx="353">
                  <c:v>-587035678.36333418</c:v>
                </c:pt>
                <c:pt idx="354">
                  <c:v>-589808470.12650216</c:v>
                </c:pt>
                <c:pt idx="355">
                  <c:v>-591365314.65178919</c:v>
                </c:pt>
                <c:pt idx="356">
                  <c:v>-597943654.22795415</c:v>
                </c:pt>
                <c:pt idx="357">
                  <c:v>-599669895.85054219</c:v>
                </c:pt>
                <c:pt idx="358">
                  <c:v>-601057135.99514413</c:v>
                </c:pt>
                <c:pt idx="359">
                  <c:v>-605459972.82022214</c:v>
                </c:pt>
                <c:pt idx="360">
                  <c:v>-609440299.52937114</c:v>
                </c:pt>
                <c:pt idx="361">
                  <c:v>-609935753.35447514</c:v>
                </c:pt>
                <c:pt idx="362">
                  <c:v>-611003386.00743711</c:v>
                </c:pt>
                <c:pt idx="363">
                  <c:v>-616441598.12931216</c:v>
                </c:pt>
                <c:pt idx="364">
                  <c:v>-630077206.9270581</c:v>
                </c:pt>
                <c:pt idx="365">
                  <c:v>-633611948.95495415</c:v>
                </c:pt>
                <c:pt idx="366">
                  <c:v>-633322338.77075517</c:v>
                </c:pt>
                <c:pt idx="367">
                  <c:v>-634351193.69333816</c:v>
                </c:pt>
                <c:pt idx="368">
                  <c:v>-640104906.28343415</c:v>
                </c:pt>
                <c:pt idx="369">
                  <c:v>-644199541.14420819</c:v>
                </c:pt>
                <c:pt idx="370">
                  <c:v>-643164508.39082015</c:v>
                </c:pt>
                <c:pt idx="371">
                  <c:v>-644404323.45915318</c:v>
                </c:pt>
                <c:pt idx="372">
                  <c:v>-651159663.29604113</c:v>
                </c:pt>
                <c:pt idx="373">
                  <c:v>-652195314.43180215</c:v>
                </c:pt>
                <c:pt idx="374">
                  <c:v>-653000633.76672411</c:v>
                </c:pt>
                <c:pt idx="375">
                  <c:v>-656086684.75640309</c:v>
                </c:pt>
                <c:pt idx="376">
                  <c:v>-659989388.72995508</c:v>
                </c:pt>
                <c:pt idx="377">
                  <c:v>-662528859.32069707</c:v>
                </c:pt>
                <c:pt idx="378">
                  <c:v>-673252106.48582709</c:v>
                </c:pt>
                <c:pt idx="379">
                  <c:v>-675084041.31444108</c:v>
                </c:pt>
                <c:pt idx="380">
                  <c:v>-674168709.14538407</c:v>
                </c:pt>
                <c:pt idx="381">
                  <c:v>-677839405.8110081</c:v>
                </c:pt>
                <c:pt idx="382">
                  <c:v>-684745565.31922615</c:v>
                </c:pt>
                <c:pt idx="383">
                  <c:v>-683113543.93782616</c:v>
                </c:pt>
                <c:pt idx="384">
                  <c:v>-683497177.85248721</c:v>
                </c:pt>
                <c:pt idx="385">
                  <c:v>-682322449.93525016</c:v>
                </c:pt>
                <c:pt idx="386">
                  <c:v>-681054293.12291813</c:v>
                </c:pt>
                <c:pt idx="387">
                  <c:v>-682900968.77944517</c:v>
                </c:pt>
                <c:pt idx="388">
                  <c:v>-684929201.29421616</c:v>
                </c:pt>
                <c:pt idx="389">
                  <c:v>-685177529.03649116</c:v>
                </c:pt>
                <c:pt idx="390">
                  <c:v>-685187231.11972117</c:v>
                </c:pt>
                <c:pt idx="391">
                  <c:v>-688077194.59284914</c:v>
                </c:pt>
                <c:pt idx="392">
                  <c:v>-689303511.58663619</c:v>
                </c:pt>
                <c:pt idx="393">
                  <c:v>-689632725.22515917</c:v>
                </c:pt>
                <c:pt idx="394">
                  <c:v>-689899358.54108214</c:v>
                </c:pt>
                <c:pt idx="395">
                  <c:v>-692666400.23057914</c:v>
                </c:pt>
                <c:pt idx="396">
                  <c:v>-693405781.77143717</c:v>
                </c:pt>
                <c:pt idx="397">
                  <c:v>-693289187.74641216</c:v>
                </c:pt>
                <c:pt idx="398">
                  <c:v>-694106962.73336518</c:v>
                </c:pt>
                <c:pt idx="399">
                  <c:v>-695211356.92637515</c:v>
                </c:pt>
                <c:pt idx="400">
                  <c:v>-697144682.6485101</c:v>
                </c:pt>
                <c:pt idx="401">
                  <c:v>-699617032.53775311</c:v>
                </c:pt>
                <c:pt idx="402">
                  <c:v>-696852647.38964713</c:v>
                </c:pt>
                <c:pt idx="403">
                  <c:v>-695394965.37135518</c:v>
                </c:pt>
                <c:pt idx="404">
                  <c:v>-690880937.61914217</c:v>
                </c:pt>
                <c:pt idx="405">
                  <c:v>-686936083.87787414</c:v>
                </c:pt>
                <c:pt idx="406">
                  <c:v>-685655145.03683412</c:v>
                </c:pt>
                <c:pt idx="407">
                  <c:v>-688678691.67786407</c:v>
                </c:pt>
                <c:pt idx="408">
                  <c:v>-692582382.25463212</c:v>
                </c:pt>
                <c:pt idx="409">
                  <c:v>-693177373.41772914</c:v>
                </c:pt>
                <c:pt idx="410">
                  <c:v>-695168663.11584818</c:v>
                </c:pt>
                <c:pt idx="411">
                  <c:v>-697601406.03747714</c:v>
                </c:pt>
                <c:pt idx="412">
                  <c:v>-699194584.51539016</c:v>
                </c:pt>
                <c:pt idx="413">
                  <c:v>-698316720.1598022</c:v>
                </c:pt>
                <c:pt idx="414">
                  <c:v>-697234277.27328718</c:v>
                </c:pt>
                <c:pt idx="415">
                  <c:v>-700969649.51973414</c:v>
                </c:pt>
                <c:pt idx="416">
                  <c:v>-704668239.7223382</c:v>
                </c:pt>
                <c:pt idx="417">
                  <c:v>-706210418.1264292</c:v>
                </c:pt>
                <c:pt idx="418">
                  <c:v>-709221532.52157521</c:v>
                </c:pt>
                <c:pt idx="419">
                  <c:v>-711358432.21418226</c:v>
                </c:pt>
                <c:pt idx="420">
                  <c:v>-716047372.68933928</c:v>
                </c:pt>
                <c:pt idx="421">
                  <c:v>-718035935.08347225</c:v>
                </c:pt>
                <c:pt idx="422">
                  <c:v>-717736760.22644329</c:v>
                </c:pt>
                <c:pt idx="423">
                  <c:v>-719947839.99147832</c:v>
                </c:pt>
                <c:pt idx="424">
                  <c:v>-721130351.31695437</c:v>
                </c:pt>
                <c:pt idx="425">
                  <c:v>-723169252.46217036</c:v>
                </c:pt>
                <c:pt idx="426">
                  <c:v>-724163895.30063033</c:v>
                </c:pt>
                <c:pt idx="427">
                  <c:v>-725818293.21268535</c:v>
                </c:pt>
                <c:pt idx="428">
                  <c:v>-726289409.89185333</c:v>
                </c:pt>
                <c:pt idx="429">
                  <c:v>-727126174.04613733</c:v>
                </c:pt>
                <c:pt idx="430">
                  <c:v>-728235962.59015036</c:v>
                </c:pt>
                <c:pt idx="431">
                  <c:v>-727401717.92105341</c:v>
                </c:pt>
                <c:pt idx="432">
                  <c:v>-727870149.83071244</c:v>
                </c:pt>
                <c:pt idx="433">
                  <c:v>-728265435.93083048</c:v>
                </c:pt>
                <c:pt idx="434">
                  <c:v>-730563331.17400646</c:v>
                </c:pt>
                <c:pt idx="435">
                  <c:v>-734315374.8912015</c:v>
                </c:pt>
                <c:pt idx="436">
                  <c:v>-734670669.25959945</c:v>
                </c:pt>
                <c:pt idx="437">
                  <c:v>-743347943.13839746</c:v>
                </c:pt>
                <c:pt idx="438">
                  <c:v>-749180495.1905334</c:v>
                </c:pt>
                <c:pt idx="439">
                  <c:v>-753864824.21976745</c:v>
                </c:pt>
                <c:pt idx="440">
                  <c:v>-762435412.64646649</c:v>
                </c:pt>
                <c:pt idx="441">
                  <c:v>-763261373.07222247</c:v>
                </c:pt>
                <c:pt idx="442">
                  <c:v>-763720604.9292655</c:v>
                </c:pt>
                <c:pt idx="443">
                  <c:v>-763255211.4015975</c:v>
                </c:pt>
                <c:pt idx="444">
                  <c:v>-766600112.94035947</c:v>
                </c:pt>
                <c:pt idx="445">
                  <c:v>-770174024.53583443</c:v>
                </c:pt>
                <c:pt idx="446">
                  <c:v>-772072731.2314074</c:v>
                </c:pt>
                <c:pt idx="447">
                  <c:v>-770501122.07852936</c:v>
                </c:pt>
                <c:pt idx="448">
                  <c:v>-770988700.05158532</c:v>
                </c:pt>
                <c:pt idx="449">
                  <c:v>-770751032.77573431</c:v>
                </c:pt>
                <c:pt idx="450">
                  <c:v>-771588127.91024029</c:v>
                </c:pt>
                <c:pt idx="451">
                  <c:v>-774051106.58681631</c:v>
                </c:pt>
                <c:pt idx="452">
                  <c:v>-773869360.23199129</c:v>
                </c:pt>
                <c:pt idx="453">
                  <c:v>-776373713.76552224</c:v>
                </c:pt>
                <c:pt idx="454">
                  <c:v>-778126585.96743119</c:v>
                </c:pt>
                <c:pt idx="455">
                  <c:v>-779455031.67095017</c:v>
                </c:pt>
                <c:pt idx="456">
                  <c:v>-782451490.62279916</c:v>
                </c:pt>
                <c:pt idx="457">
                  <c:v>-784358177.03247714</c:v>
                </c:pt>
                <c:pt idx="458">
                  <c:v>-785177780.74515009</c:v>
                </c:pt>
                <c:pt idx="459">
                  <c:v>-788718848.79527104</c:v>
                </c:pt>
                <c:pt idx="460">
                  <c:v>-790801461.172382</c:v>
                </c:pt>
                <c:pt idx="461">
                  <c:v>-793450741.47030294</c:v>
                </c:pt>
                <c:pt idx="462">
                  <c:v>-796301800.45858693</c:v>
                </c:pt>
                <c:pt idx="463">
                  <c:v>-798528108.44605494</c:v>
                </c:pt>
                <c:pt idx="464">
                  <c:v>-798265178.06763899</c:v>
                </c:pt>
                <c:pt idx="465">
                  <c:v>-793611951.03687203</c:v>
                </c:pt>
                <c:pt idx="466">
                  <c:v>-788035583.30239499</c:v>
                </c:pt>
                <c:pt idx="467">
                  <c:v>-790648686.70732498</c:v>
                </c:pt>
                <c:pt idx="468">
                  <c:v>-786543217.15815699</c:v>
                </c:pt>
                <c:pt idx="469">
                  <c:v>-787551917.39640498</c:v>
                </c:pt>
                <c:pt idx="470">
                  <c:v>-788258449.64779103</c:v>
                </c:pt>
                <c:pt idx="471">
                  <c:v>-789888556.65361202</c:v>
                </c:pt>
                <c:pt idx="472">
                  <c:v>-789636589.90422702</c:v>
                </c:pt>
                <c:pt idx="473">
                  <c:v>-789626839.39202297</c:v>
                </c:pt>
                <c:pt idx="474">
                  <c:v>-791160270.62508595</c:v>
                </c:pt>
                <c:pt idx="475">
                  <c:v>-792668536.37535989</c:v>
                </c:pt>
                <c:pt idx="476">
                  <c:v>-791742326.22212291</c:v>
                </c:pt>
                <c:pt idx="477">
                  <c:v>-791029326.90970695</c:v>
                </c:pt>
                <c:pt idx="478">
                  <c:v>-788504542.743716</c:v>
                </c:pt>
                <c:pt idx="479">
                  <c:v>-788064333.86743903</c:v>
                </c:pt>
                <c:pt idx="480">
                  <c:v>-788921597.08649802</c:v>
                </c:pt>
                <c:pt idx="481">
                  <c:v>-787731780.08544004</c:v>
                </c:pt>
                <c:pt idx="482">
                  <c:v>-787692098.19255102</c:v>
                </c:pt>
                <c:pt idx="483">
                  <c:v>-792868839.13863397</c:v>
                </c:pt>
                <c:pt idx="484">
                  <c:v>-795633749.26183593</c:v>
                </c:pt>
                <c:pt idx="485">
                  <c:v>-805845182.62281299</c:v>
                </c:pt>
                <c:pt idx="486">
                  <c:v>-807625557.41297102</c:v>
                </c:pt>
                <c:pt idx="487">
                  <c:v>-807459919.20517504</c:v>
                </c:pt>
                <c:pt idx="488">
                  <c:v>-811353123.02270007</c:v>
                </c:pt>
                <c:pt idx="489">
                  <c:v>-828646730.37921309</c:v>
                </c:pt>
                <c:pt idx="490">
                  <c:v>-834109932.75637913</c:v>
                </c:pt>
                <c:pt idx="491">
                  <c:v>-832740469.56092107</c:v>
                </c:pt>
                <c:pt idx="492">
                  <c:v>-838360085.53418612</c:v>
                </c:pt>
                <c:pt idx="493">
                  <c:v>-838623127.54640913</c:v>
                </c:pt>
                <c:pt idx="494">
                  <c:v>-831029384.75846112</c:v>
                </c:pt>
                <c:pt idx="495">
                  <c:v>-828286096.02722609</c:v>
                </c:pt>
                <c:pt idx="496">
                  <c:v>-827899022.82219315</c:v>
                </c:pt>
                <c:pt idx="497">
                  <c:v>-827347111.14786017</c:v>
                </c:pt>
                <c:pt idx="498">
                  <c:v>-825917604.67240012</c:v>
                </c:pt>
                <c:pt idx="499">
                  <c:v>-825736932.94828415</c:v>
                </c:pt>
                <c:pt idx="500">
                  <c:v>-826828358.24623919</c:v>
                </c:pt>
                <c:pt idx="501">
                  <c:v>-828004599.38380814</c:v>
                </c:pt>
                <c:pt idx="502">
                  <c:v>-830468321.1981231</c:v>
                </c:pt>
                <c:pt idx="503">
                  <c:v>-832721632.53951609</c:v>
                </c:pt>
                <c:pt idx="504">
                  <c:v>-833694169.82330108</c:v>
                </c:pt>
                <c:pt idx="505">
                  <c:v>-836411284.54586112</c:v>
                </c:pt>
                <c:pt idx="506">
                  <c:v>-837954188.47623217</c:v>
                </c:pt>
                <c:pt idx="507">
                  <c:v>-838767358.74594617</c:v>
                </c:pt>
                <c:pt idx="508">
                  <c:v>-841126824.02839422</c:v>
                </c:pt>
                <c:pt idx="509">
                  <c:v>-843090119.64468622</c:v>
                </c:pt>
                <c:pt idx="510">
                  <c:v>-847680772.05321717</c:v>
                </c:pt>
                <c:pt idx="511">
                  <c:v>-848995608.65722823</c:v>
                </c:pt>
                <c:pt idx="512">
                  <c:v>-851510579.04640627</c:v>
                </c:pt>
                <c:pt idx="513">
                  <c:v>-851425503.72781122</c:v>
                </c:pt>
                <c:pt idx="514">
                  <c:v>-854821218.37178326</c:v>
                </c:pt>
                <c:pt idx="515">
                  <c:v>-856675224.39838922</c:v>
                </c:pt>
                <c:pt idx="516">
                  <c:v>-862279448.29176128</c:v>
                </c:pt>
                <c:pt idx="517">
                  <c:v>-868345341.42155027</c:v>
                </c:pt>
                <c:pt idx="518">
                  <c:v>-871747620.78843331</c:v>
                </c:pt>
                <c:pt idx="519">
                  <c:v>-872192332.17208934</c:v>
                </c:pt>
                <c:pt idx="520">
                  <c:v>-871523015.77526534</c:v>
                </c:pt>
                <c:pt idx="521">
                  <c:v>-873290183.35046637</c:v>
                </c:pt>
                <c:pt idx="522">
                  <c:v>-875628219.97764432</c:v>
                </c:pt>
                <c:pt idx="523">
                  <c:v>-877713581.47165632</c:v>
                </c:pt>
                <c:pt idx="524">
                  <c:v>-882553117.2631433</c:v>
                </c:pt>
                <c:pt idx="525">
                  <c:v>-886347452.41858232</c:v>
                </c:pt>
                <c:pt idx="526">
                  <c:v>-887224708.35869527</c:v>
                </c:pt>
                <c:pt idx="527">
                  <c:v>-890739212.26149428</c:v>
                </c:pt>
                <c:pt idx="528">
                  <c:v>-894552523.08847332</c:v>
                </c:pt>
                <c:pt idx="529">
                  <c:v>-899371487.89692032</c:v>
                </c:pt>
                <c:pt idx="530">
                  <c:v>-903362356.31734335</c:v>
                </c:pt>
                <c:pt idx="531">
                  <c:v>-906235233.9493413</c:v>
                </c:pt>
                <c:pt idx="532">
                  <c:v>-907910011.10185635</c:v>
                </c:pt>
                <c:pt idx="533">
                  <c:v>-909563922.30173433</c:v>
                </c:pt>
                <c:pt idx="534">
                  <c:v>-912762278.82855129</c:v>
                </c:pt>
                <c:pt idx="535">
                  <c:v>-911705477.64982831</c:v>
                </c:pt>
                <c:pt idx="536">
                  <c:v>-910389630.15512633</c:v>
                </c:pt>
                <c:pt idx="537">
                  <c:v>-911135741.99068236</c:v>
                </c:pt>
                <c:pt idx="538">
                  <c:v>-918941225.4514004</c:v>
                </c:pt>
                <c:pt idx="539">
                  <c:v>-922053653.23728037</c:v>
                </c:pt>
                <c:pt idx="540">
                  <c:v>-923412917.57252336</c:v>
                </c:pt>
                <c:pt idx="541">
                  <c:v>-925947581.71732235</c:v>
                </c:pt>
                <c:pt idx="542">
                  <c:v>-921212143.1169374</c:v>
                </c:pt>
                <c:pt idx="543">
                  <c:v>-922677253.92106438</c:v>
                </c:pt>
                <c:pt idx="544">
                  <c:v>-925604876.30270636</c:v>
                </c:pt>
                <c:pt idx="545">
                  <c:v>-928580574.15074432</c:v>
                </c:pt>
                <c:pt idx="546">
                  <c:v>-932513257.05376029</c:v>
                </c:pt>
                <c:pt idx="547">
                  <c:v>-935308021.47124028</c:v>
                </c:pt>
                <c:pt idx="548">
                  <c:v>-935932572.74390626</c:v>
                </c:pt>
                <c:pt idx="549">
                  <c:v>-936241144.28100824</c:v>
                </c:pt>
                <c:pt idx="550">
                  <c:v>-938356382.91275322</c:v>
                </c:pt>
                <c:pt idx="551">
                  <c:v>-940534661.19348824</c:v>
                </c:pt>
                <c:pt idx="552">
                  <c:v>-941692003.97055125</c:v>
                </c:pt>
                <c:pt idx="553">
                  <c:v>-941775032.67274821</c:v>
                </c:pt>
                <c:pt idx="554">
                  <c:v>-943139226.17956221</c:v>
                </c:pt>
                <c:pt idx="555">
                  <c:v>-945079854.11767125</c:v>
                </c:pt>
                <c:pt idx="556">
                  <c:v>-948625050.79660225</c:v>
                </c:pt>
                <c:pt idx="557">
                  <c:v>-950447643.8779732</c:v>
                </c:pt>
                <c:pt idx="558">
                  <c:v>-962666077.14958715</c:v>
                </c:pt>
                <c:pt idx="559">
                  <c:v>-973260344.06884515</c:v>
                </c:pt>
                <c:pt idx="560">
                  <c:v>-974796071.50917017</c:v>
                </c:pt>
                <c:pt idx="561">
                  <c:v>-978621894.95555317</c:v>
                </c:pt>
                <c:pt idx="562">
                  <c:v>-982256240.00887513</c:v>
                </c:pt>
                <c:pt idx="563">
                  <c:v>-983927892.20059609</c:v>
                </c:pt>
                <c:pt idx="564">
                  <c:v>-984928076.20538914</c:v>
                </c:pt>
                <c:pt idx="565">
                  <c:v>-988159456.33655918</c:v>
                </c:pt>
                <c:pt idx="566">
                  <c:v>-991578082.25027418</c:v>
                </c:pt>
                <c:pt idx="567">
                  <c:v>-991083086.56472814</c:v>
                </c:pt>
                <c:pt idx="568">
                  <c:v>-989426825.14012814</c:v>
                </c:pt>
                <c:pt idx="569">
                  <c:v>-987121802.00398111</c:v>
                </c:pt>
                <c:pt idx="570">
                  <c:v>-987785939.3940891</c:v>
                </c:pt>
                <c:pt idx="571">
                  <c:v>-989018164.39045608</c:v>
                </c:pt>
                <c:pt idx="572">
                  <c:v>-989156486.84655309</c:v>
                </c:pt>
                <c:pt idx="573">
                  <c:v>-988595909.54864013</c:v>
                </c:pt>
                <c:pt idx="574">
                  <c:v>-990479374.80423915</c:v>
                </c:pt>
                <c:pt idx="575">
                  <c:v>-991772601.22248721</c:v>
                </c:pt>
                <c:pt idx="576">
                  <c:v>-990831794.25126517</c:v>
                </c:pt>
                <c:pt idx="577">
                  <c:v>-987405476.01274312</c:v>
                </c:pt>
                <c:pt idx="578">
                  <c:v>-987868003.11665416</c:v>
                </c:pt>
                <c:pt idx="579">
                  <c:v>-990326144.94024312</c:v>
                </c:pt>
                <c:pt idx="580">
                  <c:v>-990799173.05303609</c:v>
                </c:pt>
                <c:pt idx="581">
                  <c:v>-992947091.5393641</c:v>
                </c:pt>
                <c:pt idx="582">
                  <c:v>-990069200.35170913</c:v>
                </c:pt>
                <c:pt idx="583">
                  <c:v>-989814679.82774007</c:v>
                </c:pt>
                <c:pt idx="584">
                  <c:v>-988410113.11442912</c:v>
                </c:pt>
                <c:pt idx="585">
                  <c:v>-988983834.98436809</c:v>
                </c:pt>
                <c:pt idx="586">
                  <c:v>-991146216.00493813</c:v>
                </c:pt>
                <c:pt idx="587">
                  <c:v>-992355825.7790941</c:v>
                </c:pt>
                <c:pt idx="588">
                  <c:v>-990347785.0750891</c:v>
                </c:pt>
                <c:pt idx="589">
                  <c:v>-989621956.70298815</c:v>
                </c:pt>
                <c:pt idx="590">
                  <c:v>-991229939.74485612</c:v>
                </c:pt>
                <c:pt idx="591">
                  <c:v>-989012053.74123514</c:v>
                </c:pt>
                <c:pt idx="592">
                  <c:v>-984911870.59574115</c:v>
                </c:pt>
                <c:pt idx="593">
                  <c:v>-985867865.60009921</c:v>
                </c:pt>
                <c:pt idx="594">
                  <c:v>-992218505.29974222</c:v>
                </c:pt>
                <c:pt idx="595">
                  <c:v>-1000618683.1380723</c:v>
                </c:pt>
                <c:pt idx="596">
                  <c:v>-1007276787.9495772</c:v>
                </c:pt>
                <c:pt idx="597">
                  <c:v>-1011261098.1901453</c:v>
                </c:pt>
                <c:pt idx="598">
                  <c:v>-1017600684.4583602</c:v>
                </c:pt>
                <c:pt idx="599">
                  <c:v>-1019612598.7894992</c:v>
                </c:pt>
                <c:pt idx="600">
                  <c:v>-1021117855.4924371</c:v>
                </c:pt>
                <c:pt idx="601">
                  <c:v>-1027267224.8536102</c:v>
                </c:pt>
                <c:pt idx="602">
                  <c:v>-1028777915.8354892</c:v>
                </c:pt>
                <c:pt idx="603">
                  <c:v>-1029647787.8048022</c:v>
                </c:pt>
                <c:pt idx="604">
                  <c:v>-1029391162.2626982</c:v>
                </c:pt>
                <c:pt idx="605">
                  <c:v>-1031672416.4815382</c:v>
                </c:pt>
                <c:pt idx="606">
                  <c:v>-1035589125.7332551</c:v>
                </c:pt>
                <c:pt idx="607">
                  <c:v>-1038663715.9533172</c:v>
                </c:pt>
                <c:pt idx="608">
                  <c:v>-1040669236.0870252</c:v>
                </c:pt>
                <c:pt idx="609">
                  <c:v>-1043787192.1126971</c:v>
                </c:pt>
                <c:pt idx="610">
                  <c:v>-1046261165.3760002</c:v>
                </c:pt>
                <c:pt idx="611">
                  <c:v>-1047475067.4268742</c:v>
                </c:pt>
                <c:pt idx="612">
                  <c:v>-1049093871.6616431</c:v>
                </c:pt>
                <c:pt idx="613">
                  <c:v>-1052396592.6521342</c:v>
                </c:pt>
                <c:pt idx="614">
                  <c:v>-1050529852.2594272</c:v>
                </c:pt>
                <c:pt idx="615">
                  <c:v>-1045086145.0181642</c:v>
                </c:pt>
                <c:pt idx="616">
                  <c:v>-1043768014.6852231</c:v>
                </c:pt>
                <c:pt idx="617">
                  <c:v>-1045035902.161514</c:v>
                </c:pt>
                <c:pt idx="618">
                  <c:v>-1045075693.554594</c:v>
                </c:pt>
                <c:pt idx="619">
                  <c:v>-1046201571.272132</c:v>
                </c:pt>
                <c:pt idx="620">
                  <c:v>-1050874894.825955</c:v>
                </c:pt>
                <c:pt idx="621">
                  <c:v>-1052808612.594759</c:v>
                </c:pt>
                <c:pt idx="622">
                  <c:v>-1053046525.5582139</c:v>
                </c:pt>
                <c:pt idx="623">
                  <c:v>-1054321793.363912</c:v>
                </c:pt>
                <c:pt idx="624">
                  <c:v>-1050016911.828346</c:v>
                </c:pt>
                <c:pt idx="625">
                  <c:v>-1043879997.777775</c:v>
                </c:pt>
                <c:pt idx="626">
                  <c:v>-1041925419.373458</c:v>
                </c:pt>
                <c:pt idx="627">
                  <c:v>-1043310984.0402061</c:v>
                </c:pt>
                <c:pt idx="628">
                  <c:v>-1042409633.014307</c:v>
                </c:pt>
                <c:pt idx="629">
                  <c:v>-1032766422.1862531</c:v>
                </c:pt>
                <c:pt idx="630">
                  <c:v>-1033812096.70139</c:v>
                </c:pt>
                <c:pt idx="631">
                  <c:v>-1028112960.531222</c:v>
                </c:pt>
                <c:pt idx="632">
                  <c:v>-1027797026.372794</c:v>
                </c:pt>
                <c:pt idx="633">
                  <c:v>-1030692170.0785921</c:v>
                </c:pt>
                <c:pt idx="634">
                  <c:v>-1027211446.657693</c:v>
                </c:pt>
                <c:pt idx="635">
                  <c:v>-1021429004.521693</c:v>
                </c:pt>
                <c:pt idx="636">
                  <c:v>-1012905248.00811</c:v>
                </c:pt>
                <c:pt idx="637">
                  <c:v>-1012795224.635771</c:v>
                </c:pt>
                <c:pt idx="638">
                  <c:v>-1011819660.5211331</c:v>
                </c:pt>
                <c:pt idx="639">
                  <c:v>-1016975625.2083801</c:v>
                </c:pt>
                <c:pt idx="640">
                  <c:v>-1018161786.4054011</c:v>
                </c:pt>
                <c:pt idx="641">
                  <c:v>-1006541600.7328972</c:v>
                </c:pt>
                <c:pt idx="642">
                  <c:v>-1005271935.2071632</c:v>
                </c:pt>
                <c:pt idx="643">
                  <c:v>-1000782567.8167502</c:v>
                </c:pt>
                <c:pt idx="644">
                  <c:v>-1012408953.4701161</c:v>
                </c:pt>
                <c:pt idx="645">
                  <c:v>-1015182264.8067472</c:v>
                </c:pt>
                <c:pt idx="646">
                  <c:v>-996712351.94462121</c:v>
                </c:pt>
                <c:pt idx="647">
                  <c:v>-995702353.04785717</c:v>
                </c:pt>
                <c:pt idx="648">
                  <c:v>-995803625.06662118</c:v>
                </c:pt>
                <c:pt idx="649">
                  <c:v>-983084681.59446323</c:v>
                </c:pt>
                <c:pt idx="650">
                  <c:v>-980931412.42588723</c:v>
                </c:pt>
                <c:pt idx="651">
                  <c:v>-981884918.37589717</c:v>
                </c:pt>
                <c:pt idx="652">
                  <c:v>-995808319.76280713</c:v>
                </c:pt>
                <c:pt idx="653">
                  <c:v>-1001821177.7378042</c:v>
                </c:pt>
                <c:pt idx="654">
                  <c:v>-989955628.48052216</c:v>
                </c:pt>
                <c:pt idx="655">
                  <c:v>-992126700.25265217</c:v>
                </c:pt>
                <c:pt idx="656">
                  <c:v>-989130381.40453613</c:v>
                </c:pt>
                <c:pt idx="657">
                  <c:v>-983865468.14798212</c:v>
                </c:pt>
                <c:pt idx="658">
                  <c:v>-981041653.64725316</c:v>
                </c:pt>
                <c:pt idx="659">
                  <c:v>-982783734.90989411</c:v>
                </c:pt>
                <c:pt idx="660">
                  <c:v>-996510451.61744511</c:v>
                </c:pt>
                <c:pt idx="661">
                  <c:v>-1008161139.6505671</c:v>
                </c:pt>
                <c:pt idx="662">
                  <c:v>-1008589034.0737131</c:v>
                </c:pt>
                <c:pt idx="663">
                  <c:v>-1007505713.3098761</c:v>
                </c:pt>
                <c:pt idx="664">
                  <c:v>-997880003.50423205</c:v>
                </c:pt>
                <c:pt idx="665">
                  <c:v>-998473994.24079502</c:v>
                </c:pt>
                <c:pt idx="666">
                  <c:v>-997834808.14154601</c:v>
                </c:pt>
                <c:pt idx="667">
                  <c:v>-990634871.34417999</c:v>
                </c:pt>
                <c:pt idx="668">
                  <c:v>-987391320.77761102</c:v>
                </c:pt>
                <c:pt idx="669">
                  <c:v>-999674553.13930106</c:v>
                </c:pt>
                <c:pt idx="670">
                  <c:v>-1019527744.1777811</c:v>
                </c:pt>
                <c:pt idx="671">
                  <c:v>-1017905613.2757161</c:v>
                </c:pt>
                <c:pt idx="672">
                  <c:v>-1018811027.504449</c:v>
                </c:pt>
                <c:pt idx="673">
                  <c:v>-1032836294.729477</c:v>
                </c:pt>
                <c:pt idx="674">
                  <c:v>-1033529521.555567</c:v>
                </c:pt>
                <c:pt idx="675">
                  <c:v>-1042026957.776028</c:v>
                </c:pt>
                <c:pt idx="676">
                  <c:v>-1043887133.592244</c:v>
                </c:pt>
                <c:pt idx="677">
                  <c:v>-1036303952.190596</c:v>
                </c:pt>
                <c:pt idx="678">
                  <c:v>-1034674984.385839</c:v>
                </c:pt>
                <c:pt idx="679">
                  <c:v>-1040202825.566013</c:v>
                </c:pt>
                <c:pt idx="680">
                  <c:v>-1041810531.3391219</c:v>
                </c:pt>
                <c:pt idx="681">
                  <c:v>-1043755641.4778719</c:v>
                </c:pt>
                <c:pt idx="682">
                  <c:v>-1055841235.2863098</c:v>
                </c:pt>
                <c:pt idx="683">
                  <c:v>-1058550578.0837388</c:v>
                </c:pt>
                <c:pt idx="684">
                  <c:v>-1060418487.0780048</c:v>
                </c:pt>
                <c:pt idx="685">
                  <c:v>-1053189435.8192039</c:v>
                </c:pt>
                <c:pt idx="686">
                  <c:v>-1058394061.7016379</c:v>
                </c:pt>
                <c:pt idx="687">
                  <c:v>-1067382369.8764619</c:v>
                </c:pt>
                <c:pt idx="688">
                  <c:v>-1087866339.2976758</c:v>
                </c:pt>
                <c:pt idx="689">
                  <c:v>-1107974933.8398688</c:v>
                </c:pt>
                <c:pt idx="690">
                  <c:v>-1121419940.8950708</c:v>
                </c:pt>
                <c:pt idx="691">
                  <c:v>-1122282962.7855349</c:v>
                </c:pt>
                <c:pt idx="692">
                  <c:v>-1120648779.6798568</c:v>
                </c:pt>
                <c:pt idx="693">
                  <c:v>-1123577316.9750068</c:v>
                </c:pt>
                <c:pt idx="694">
                  <c:v>-1131267027.4668288</c:v>
                </c:pt>
                <c:pt idx="695">
                  <c:v>-1129508142.2404289</c:v>
                </c:pt>
                <c:pt idx="696">
                  <c:v>-1118911873.7880929</c:v>
                </c:pt>
                <c:pt idx="697">
                  <c:v>-1113714412.2374728</c:v>
                </c:pt>
                <c:pt idx="698">
                  <c:v>-1115923133.7148688</c:v>
                </c:pt>
                <c:pt idx="699">
                  <c:v>-1118131855.1922648</c:v>
                </c:pt>
                <c:pt idx="700">
                  <c:v>-1119124647.0347047</c:v>
                </c:pt>
                <c:pt idx="701">
                  <c:v>-1115207031.2222238</c:v>
                </c:pt>
                <c:pt idx="702">
                  <c:v>-1125680680.0883648</c:v>
                </c:pt>
                <c:pt idx="703">
                  <c:v>-1124674037.8117409</c:v>
                </c:pt>
                <c:pt idx="704">
                  <c:v>-1125607799.7144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68-4197-920C-72B1135D2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43036800"/>
        <c:axId val="1943023072"/>
      </c:lineChart>
      <c:catAx>
        <c:axId val="219939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414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367184928"/>
        <c:crosses val="autoZero"/>
        <c:auto val="1"/>
        <c:lblAlgn val="ctr"/>
        <c:lblOffset val="100"/>
        <c:noMultiLvlLbl val="0"/>
      </c:catAx>
      <c:valAx>
        <c:axId val="367184928"/>
        <c:scaling>
          <c:orientation val="minMax"/>
          <c:min val="-400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219939712"/>
        <c:crosses val="autoZero"/>
        <c:crossBetween val="between"/>
      </c:valAx>
      <c:valAx>
        <c:axId val="1943023072"/>
        <c:scaling>
          <c:orientation val="minMax"/>
        </c:scaling>
        <c:delete val="0"/>
        <c:axPos val="r"/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943036800"/>
        <c:crosses val="max"/>
        <c:crossBetween val="between"/>
      </c:valAx>
      <c:catAx>
        <c:axId val="19430368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430230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/>
              <a:t>ارزش دلاری بازار سرمایه</a:t>
            </a:r>
            <a:r>
              <a:rPr lang="en-US"/>
              <a:t> </a:t>
            </a:r>
            <a:r>
              <a:rPr lang="fa-IR"/>
              <a:t>از ابتدای سال 1390 - </a:t>
            </a:r>
            <a:r>
              <a:rPr lang="en-US"/>
              <a:t> </a:t>
            </a:r>
            <a:r>
              <a:rPr lang="fa-IR"/>
              <a:t>میلیارد دلار 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8946666076852751E-2"/>
          <c:y val="5.7897091722595079E-2"/>
          <c:w val="0.95543535639505739"/>
          <c:h val="0.73139512762247005"/>
        </c:manualLayout>
      </c:layout>
      <c:lineChart>
        <c:grouping val="standard"/>
        <c:varyColors val="0"/>
        <c:ser>
          <c:idx val="0"/>
          <c:order val="0"/>
          <c:tx>
            <c:strRef>
              <c:f>'  بورس ایران-ارزش بازار (دلار آ'!$B$1</c:f>
              <c:strCache>
                <c:ptCount val="1"/>
                <c:pt idx="0">
                  <c:v> شاخص 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361"/>
              <c:tx>
                <c:rich>
                  <a:bodyPr/>
                  <a:lstStyle/>
                  <a:p>
                    <a:r>
                      <a:rPr lang="en-US"/>
                      <a:t>104</a:t>
                    </a:r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65B4-446D-A4E9-27E538627F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  بورس ایران-ارزش بازار (دلار آ'!$A$2:$A$3500</c:f>
              <c:strCache>
                <c:ptCount val="3369"/>
                <c:pt idx="0">
                  <c:v>1390-01-06</c:v>
                </c:pt>
                <c:pt idx="1">
                  <c:v>1390-01-07</c:v>
                </c:pt>
                <c:pt idx="2">
                  <c:v>1390-01-08</c:v>
                </c:pt>
                <c:pt idx="3">
                  <c:v>1390-01-09</c:v>
                </c:pt>
                <c:pt idx="4">
                  <c:v>1390-01-10</c:v>
                </c:pt>
                <c:pt idx="5">
                  <c:v>1390-01-14</c:v>
                </c:pt>
                <c:pt idx="6">
                  <c:v>1390-01-15</c:v>
                </c:pt>
                <c:pt idx="7">
                  <c:v>1390-01-16</c:v>
                </c:pt>
                <c:pt idx="8">
                  <c:v>1390-01-17</c:v>
                </c:pt>
                <c:pt idx="9">
                  <c:v>1390-01-20</c:v>
                </c:pt>
                <c:pt idx="10">
                  <c:v>1390-01-21</c:v>
                </c:pt>
                <c:pt idx="11">
                  <c:v>1390-01-22</c:v>
                </c:pt>
                <c:pt idx="12">
                  <c:v>1390-01-23</c:v>
                </c:pt>
                <c:pt idx="13">
                  <c:v>1390-01-24</c:v>
                </c:pt>
                <c:pt idx="14">
                  <c:v>1390-01-27</c:v>
                </c:pt>
                <c:pt idx="15">
                  <c:v>1390-01-28</c:v>
                </c:pt>
                <c:pt idx="16">
                  <c:v>1390-01-29</c:v>
                </c:pt>
                <c:pt idx="17">
                  <c:v>1390-01-30</c:v>
                </c:pt>
                <c:pt idx="18">
                  <c:v>1390-01-31</c:v>
                </c:pt>
                <c:pt idx="19">
                  <c:v>1390-02-03</c:v>
                </c:pt>
                <c:pt idx="20">
                  <c:v>1390-02-04</c:v>
                </c:pt>
                <c:pt idx="21">
                  <c:v>1390-02-05</c:v>
                </c:pt>
                <c:pt idx="22">
                  <c:v>1390-02-06</c:v>
                </c:pt>
                <c:pt idx="23">
                  <c:v>1390-02-07</c:v>
                </c:pt>
                <c:pt idx="24">
                  <c:v>1390-02-10</c:v>
                </c:pt>
                <c:pt idx="25">
                  <c:v>1390-02-11</c:v>
                </c:pt>
                <c:pt idx="26">
                  <c:v>1390-02-12</c:v>
                </c:pt>
                <c:pt idx="27">
                  <c:v>1390-02-13</c:v>
                </c:pt>
                <c:pt idx="28">
                  <c:v>1390-02-14</c:v>
                </c:pt>
                <c:pt idx="29">
                  <c:v>1390-02-18</c:v>
                </c:pt>
                <c:pt idx="30">
                  <c:v>1390-02-19</c:v>
                </c:pt>
                <c:pt idx="31">
                  <c:v>1390-02-20</c:v>
                </c:pt>
                <c:pt idx="32">
                  <c:v>1390-02-21</c:v>
                </c:pt>
                <c:pt idx="33">
                  <c:v>1390-02-24</c:v>
                </c:pt>
                <c:pt idx="34">
                  <c:v>1390-02-25</c:v>
                </c:pt>
                <c:pt idx="35">
                  <c:v>1390-02-26</c:v>
                </c:pt>
                <c:pt idx="36">
                  <c:v>1390-02-27</c:v>
                </c:pt>
                <c:pt idx="37">
                  <c:v>1390-02-28</c:v>
                </c:pt>
                <c:pt idx="38">
                  <c:v>1390-02-31</c:v>
                </c:pt>
                <c:pt idx="39">
                  <c:v>1390-03-01</c:v>
                </c:pt>
                <c:pt idx="40">
                  <c:v>1390-03-02</c:v>
                </c:pt>
                <c:pt idx="41">
                  <c:v>1390-03-03</c:v>
                </c:pt>
                <c:pt idx="42">
                  <c:v>1390-03-04</c:v>
                </c:pt>
                <c:pt idx="43">
                  <c:v>1390-03-07</c:v>
                </c:pt>
                <c:pt idx="44">
                  <c:v>1390-03-08</c:v>
                </c:pt>
                <c:pt idx="45">
                  <c:v>1390-03-09</c:v>
                </c:pt>
                <c:pt idx="46">
                  <c:v>1390-03-10</c:v>
                </c:pt>
                <c:pt idx="47">
                  <c:v>1390-03-11</c:v>
                </c:pt>
                <c:pt idx="48">
                  <c:v>1390-03-16</c:v>
                </c:pt>
                <c:pt idx="49">
                  <c:v>1390-03-17</c:v>
                </c:pt>
                <c:pt idx="50">
                  <c:v>1390-03-18</c:v>
                </c:pt>
                <c:pt idx="51">
                  <c:v>1390-03-21</c:v>
                </c:pt>
                <c:pt idx="52">
                  <c:v>1390-03-22</c:v>
                </c:pt>
                <c:pt idx="53">
                  <c:v>1390-03-23</c:v>
                </c:pt>
                <c:pt idx="54">
                  <c:v>1390-03-24</c:v>
                </c:pt>
                <c:pt idx="55">
                  <c:v>1390-03-25</c:v>
                </c:pt>
                <c:pt idx="56">
                  <c:v>1390-03-28</c:v>
                </c:pt>
                <c:pt idx="57">
                  <c:v>1390-03-29</c:v>
                </c:pt>
                <c:pt idx="58">
                  <c:v>1390-03-30</c:v>
                </c:pt>
                <c:pt idx="59">
                  <c:v>1390-03-31</c:v>
                </c:pt>
                <c:pt idx="60">
                  <c:v>1390-04-01</c:v>
                </c:pt>
                <c:pt idx="61">
                  <c:v>1390-04-04</c:v>
                </c:pt>
                <c:pt idx="62">
                  <c:v>1390-04-05</c:v>
                </c:pt>
                <c:pt idx="63">
                  <c:v>1390-04-06</c:v>
                </c:pt>
                <c:pt idx="64">
                  <c:v>1390-04-07</c:v>
                </c:pt>
                <c:pt idx="65">
                  <c:v>1390-04-08</c:v>
                </c:pt>
                <c:pt idx="66">
                  <c:v>1390-04-11</c:v>
                </c:pt>
                <c:pt idx="67">
                  <c:v>1390-04-12</c:v>
                </c:pt>
                <c:pt idx="68">
                  <c:v>1390-04-13</c:v>
                </c:pt>
                <c:pt idx="69">
                  <c:v>1390-04-14</c:v>
                </c:pt>
                <c:pt idx="70">
                  <c:v>1390-04-15</c:v>
                </c:pt>
                <c:pt idx="71">
                  <c:v>1390-04-18</c:v>
                </c:pt>
                <c:pt idx="72">
                  <c:v>1390-04-19</c:v>
                </c:pt>
                <c:pt idx="73">
                  <c:v>1390-04-20</c:v>
                </c:pt>
                <c:pt idx="74">
                  <c:v>1390-04-21</c:v>
                </c:pt>
                <c:pt idx="75">
                  <c:v>1390-04-22</c:v>
                </c:pt>
                <c:pt idx="76">
                  <c:v>1390-04-25</c:v>
                </c:pt>
                <c:pt idx="77">
                  <c:v>1390-04-27</c:v>
                </c:pt>
                <c:pt idx="78">
                  <c:v>1390-04-28</c:v>
                </c:pt>
                <c:pt idx="79">
                  <c:v>1390-04-29</c:v>
                </c:pt>
                <c:pt idx="80">
                  <c:v>1390-05-01</c:v>
                </c:pt>
                <c:pt idx="81">
                  <c:v>1390-05-02</c:v>
                </c:pt>
                <c:pt idx="82">
                  <c:v>1390-05-03</c:v>
                </c:pt>
                <c:pt idx="83">
                  <c:v>1390-05-04</c:v>
                </c:pt>
                <c:pt idx="84">
                  <c:v>1390-05-05</c:v>
                </c:pt>
                <c:pt idx="85">
                  <c:v>1390-05-08</c:v>
                </c:pt>
                <c:pt idx="86">
                  <c:v>1390-05-09</c:v>
                </c:pt>
                <c:pt idx="87">
                  <c:v>1390-05-10</c:v>
                </c:pt>
                <c:pt idx="88">
                  <c:v>1390-05-11</c:v>
                </c:pt>
                <c:pt idx="89">
                  <c:v>1390-05-12</c:v>
                </c:pt>
                <c:pt idx="90">
                  <c:v>1390-05-15</c:v>
                </c:pt>
                <c:pt idx="91">
                  <c:v>1390-05-16</c:v>
                </c:pt>
                <c:pt idx="92">
                  <c:v>1390-05-17</c:v>
                </c:pt>
                <c:pt idx="93">
                  <c:v>1390-05-18</c:v>
                </c:pt>
                <c:pt idx="94">
                  <c:v>1390-05-19</c:v>
                </c:pt>
                <c:pt idx="95">
                  <c:v>1390-05-22</c:v>
                </c:pt>
                <c:pt idx="96">
                  <c:v>1390-05-23</c:v>
                </c:pt>
                <c:pt idx="97">
                  <c:v>1390-05-24</c:v>
                </c:pt>
                <c:pt idx="98">
                  <c:v>1390-05-25</c:v>
                </c:pt>
                <c:pt idx="99">
                  <c:v>1390-05-26</c:v>
                </c:pt>
                <c:pt idx="100">
                  <c:v>1390-05-29</c:v>
                </c:pt>
                <c:pt idx="101">
                  <c:v>1390-05-30</c:v>
                </c:pt>
                <c:pt idx="102">
                  <c:v>1390-06-01</c:v>
                </c:pt>
                <c:pt idx="103">
                  <c:v>1390-06-02</c:v>
                </c:pt>
                <c:pt idx="104">
                  <c:v>1390-06-05</c:v>
                </c:pt>
                <c:pt idx="105">
                  <c:v>1390-06-06</c:v>
                </c:pt>
                <c:pt idx="106">
                  <c:v>1390-06-07</c:v>
                </c:pt>
                <c:pt idx="107">
                  <c:v>1390-06-08</c:v>
                </c:pt>
                <c:pt idx="108">
                  <c:v>1390-06-12</c:v>
                </c:pt>
                <c:pt idx="109">
                  <c:v>1390-06-13</c:v>
                </c:pt>
                <c:pt idx="110">
                  <c:v>1390-06-14</c:v>
                </c:pt>
                <c:pt idx="111">
                  <c:v>1390-06-15</c:v>
                </c:pt>
                <c:pt idx="112">
                  <c:v>1390-06-16</c:v>
                </c:pt>
                <c:pt idx="113">
                  <c:v>1390-06-19</c:v>
                </c:pt>
                <c:pt idx="114">
                  <c:v>1390-06-20</c:v>
                </c:pt>
                <c:pt idx="115">
                  <c:v>1390-06-21</c:v>
                </c:pt>
                <c:pt idx="116">
                  <c:v>1390-06-22</c:v>
                </c:pt>
                <c:pt idx="117">
                  <c:v>1390-06-23</c:v>
                </c:pt>
                <c:pt idx="118">
                  <c:v>1390-06-26</c:v>
                </c:pt>
                <c:pt idx="119">
                  <c:v>1390-06-27</c:v>
                </c:pt>
                <c:pt idx="120">
                  <c:v>1390-06-28</c:v>
                </c:pt>
                <c:pt idx="121">
                  <c:v>1390-06-29</c:v>
                </c:pt>
                <c:pt idx="122">
                  <c:v>1390-06-30</c:v>
                </c:pt>
                <c:pt idx="123">
                  <c:v>1390-07-03</c:v>
                </c:pt>
                <c:pt idx="124">
                  <c:v>1390-07-04</c:v>
                </c:pt>
                <c:pt idx="125">
                  <c:v>1390-07-05</c:v>
                </c:pt>
                <c:pt idx="126">
                  <c:v>1390-07-06</c:v>
                </c:pt>
                <c:pt idx="127">
                  <c:v>1390-07-09</c:v>
                </c:pt>
                <c:pt idx="128">
                  <c:v>1390-07-10</c:v>
                </c:pt>
                <c:pt idx="129">
                  <c:v>1390-07-11</c:v>
                </c:pt>
                <c:pt idx="130">
                  <c:v>1390-07-12</c:v>
                </c:pt>
                <c:pt idx="131">
                  <c:v>1390-07-13</c:v>
                </c:pt>
                <c:pt idx="132">
                  <c:v>1390-07-16</c:v>
                </c:pt>
                <c:pt idx="133">
                  <c:v>1390-07-17</c:v>
                </c:pt>
                <c:pt idx="134">
                  <c:v>1390-07-18</c:v>
                </c:pt>
                <c:pt idx="135">
                  <c:v>1390-07-19</c:v>
                </c:pt>
                <c:pt idx="136">
                  <c:v>1390-07-20</c:v>
                </c:pt>
                <c:pt idx="137">
                  <c:v>1390-07-23</c:v>
                </c:pt>
                <c:pt idx="138">
                  <c:v>1390-07-24</c:v>
                </c:pt>
                <c:pt idx="139">
                  <c:v>1390-07-25</c:v>
                </c:pt>
                <c:pt idx="140">
                  <c:v>1390-07-26</c:v>
                </c:pt>
                <c:pt idx="141">
                  <c:v>1390-07-27</c:v>
                </c:pt>
                <c:pt idx="142">
                  <c:v>1390-07-30</c:v>
                </c:pt>
                <c:pt idx="143">
                  <c:v>1390-08-01</c:v>
                </c:pt>
                <c:pt idx="144">
                  <c:v>1390-08-02</c:v>
                </c:pt>
                <c:pt idx="145">
                  <c:v>1390-08-03</c:v>
                </c:pt>
                <c:pt idx="146">
                  <c:v>1390-08-04</c:v>
                </c:pt>
                <c:pt idx="147">
                  <c:v>1390-08-07</c:v>
                </c:pt>
                <c:pt idx="148">
                  <c:v>1390-08-08</c:v>
                </c:pt>
                <c:pt idx="149">
                  <c:v>1390-08-09</c:v>
                </c:pt>
                <c:pt idx="150">
                  <c:v>1390-08-10</c:v>
                </c:pt>
                <c:pt idx="151">
                  <c:v>1390-08-11</c:v>
                </c:pt>
                <c:pt idx="152">
                  <c:v>1390-08-14</c:v>
                </c:pt>
                <c:pt idx="153">
                  <c:v>1390-08-15</c:v>
                </c:pt>
                <c:pt idx="154">
                  <c:v>1390-08-17</c:v>
                </c:pt>
                <c:pt idx="155">
                  <c:v>1390-08-18</c:v>
                </c:pt>
                <c:pt idx="156">
                  <c:v>1390-08-21</c:v>
                </c:pt>
                <c:pt idx="157">
                  <c:v>1390-08-22</c:v>
                </c:pt>
                <c:pt idx="158">
                  <c:v>1390-08-23</c:v>
                </c:pt>
                <c:pt idx="159">
                  <c:v>1390-08-25</c:v>
                </c:pt>
                <c:pt idx="160">
                  <c:v>1390-08-28</c:v>
                </c:pt>
                <c:pt idx="161">
                  <c:v>1390-08-29</c:v>
                </c:pt>
                <c:pt idx="162">
                  <c:v>1390-08-30</c:v>
                </c:pt>
                <c:pt idx="163">
                  <c:v>1390-09-01</c:v>
                </c:pt>
                <c:pt idx="164">
                  <c:v>1390-09-02</c:v>
                </c:pt>
                <c:pt idx="165">
                  <c:v>1390-09-05</c:v>
                </c:pt>
                <c:pt idx="166">
                  <c:v>1390-09-06</c:v>
                </c:pt>
                <c:pt idx="167">
                  <c:v>1390-09-07</c:v>
                </c:pt>
                <c:pt idx="168">
                  <c:v>1390-09-08</c:v>
                </c:pt>
                <c:pt idx="169">
                  <c:v>1390-09-09</c:v>
                </c:pt>
                <c:pt idx="170">
                  <c:v>1390-09-12</c:v>
                </c:pt>
                <c:pt idx="171">
                  <c:v>1390-09-13</c:v>
                </c:pt>
                <c:pt idx="172">
                  <c:v>1390-09-16</c:v>
                </c:pt>
                <c:pt idx="173">
                  <c:v>1390-09-19</c:v>
                </c:pt>
                <c:pt idx="174">
                  <c:v>1390-09-20</c:v>
                </c:pt>
                <c:pt idx="175">
                  <c:v>1390-09-21</c:v>
                </c:pt>
                <c:pt idx="176">
                  <c:v>1390-09-22</c:v>
                </c:pt>
                <c:pt idx="177">
                  <c:v>1390-09-23</c:v>
                </c:pt>
                <c:pt idx="178">
                  <c:v>1390-09-26</c:v>
                </c:pt>
                <c:pt idx="179">
                  <c:v>1390-09-27</c:v>
                </c:pt>
                <c:pt idx="180">
                  <c:v>1390-09-28</c:v>
                </c:pt>
                <c:pt idx="181">
                  <c:v>1390-09-29</c:v>
                </c:pt>
                <c:pt idx="182">
                  <c:v>1390-09-30</c:v>
                </c:pt>
                <c:pt idx="183">
                  <c:v>1390-10-03</c:v>
                </c:pt>
                <c:pt idx="184">
                  <c:v>1390-10-04</c:v>
                </c:pt>
                <c:pt idx="185">
                  <c:v>1390-10-05</c:v>
                </c:pt>
                <c:pt idx="186">
                  <c:v>1390-10-06</c:v>
                </c:pt>
                <c:pt idx="187">
                  <c:v>1390-10-07</c:v>
                </c:pt>
                <c:pt idx="188">
                  <c:v>1390-10-10</c:v>
                </c:pt>
                <c:pt idx="189">
                  <c:v>1390-10-11</c:v>
                </c:pt>
                <c:pt idx="190">
                  <c:v>1390-10-12</c:v>
                </c:pt>
                <c:pt idx="191">
                  <c:v>1390-10-13</c:v>
                </c:pt>
                <c:pt idx="192">
                  <c:v>1390-10-14</c:v>
                </c:pt>
                <c:pt idx="193">
                  <c:v>1390-10-17</c:v>
                </c:pt>
                <c:pt idx="194">
                  <c:v>1390-10-18</c:v>
                </c:pt>
                <c:pt idx="195">
                  <c:v>1390-10-19</c:v>
                </c:pt>
                <c:pt idx="196">
                  <c:v>1390-10-20</c:v>
                </c:pt>
                <c:pt idx="197">
                  <c:v>1390-10-21</c:v>
                </c:pt>
                <c:pt idx="198">
                  <c:v>1390-10-25</c:v>
                </c:pt>
                <c:pt idx="199">
                  <c:v>1390-10-26</c:v>
                </c:pt>
                <c:pt idx="200">
                  <c:v>1390-10-27</c:v>
                </c:pt>
                <c:pt idx="201">
                  <c:v>1390-10-28</c:v>
                </c:pt>
                <c:pt idx="202">
                  <c:v>1390-11-01</c:v>
                </c:pt>
                <c:pt idx="203">
                  <c:v>1390-11-03</c:v>
                </c:pt>
                <c:pt idx="204">
                  <c:v>1390-11-05</c:v>
                </c:pt>
                <c:pt idx="205">
                  <c:v>1390-11-08</c:v>
                </c:pt>
                <c:pt idx="206">
                  <c:v>1390-11-09</c:v>
                </c:pt>
                <c:pt idx="207">
                  <c:v>1390-11-10</c:v>
                </c:pt>
                <c:pt idx="208">
                  <c:v>1390-11-11</c:v>
                </c:pt>
                <c:pt idx="209">
                  <c:v>1390-11-12</c:v>
                </c:pt>
                <c:pt idx="210">
                  <c:v>1390-11-15</c:v>
                </c:pt>
                <c:pt idx="211">
                  <c:v>1390-11-16</c:v>
                </c:pt>
                <c:pt idx="212">
                  <c:v>1390-11-17</c:v>
                </c:pt>
                <c:pt idx="213">
                  <c:v>1390-11-18</c:v>
                </c:pt>
                <c:pt idx="214">
                  <c:v>1390-11-19</c:v>
                </c:pt>
                <c:pt idx="215">
                  <c:v>1390-11-23</c:v>
                </c:pt>
                <c:pt idx="216">
                  <c:v>1390-11-24</c:v>
                </c:pt>
                <c:pt idx="217">
                  <c:v>1390-11-25</c:v>
                </c:pt>
                <c:pt idx="218">
                  <c:v>1390-11-26</c:v>
                </c:pt>
                <c:pt idx="219">
                  <c:v>1390-11-29</c:v>
                </c:pt>
                <c:pt idx="220">
                  <c:v>1390-11-30</c:v>
                </c:pt>
                <c:pt idx="221">
                  <c:v>1390-12-01</c:v>
                </c:pt>
                <c:pt idx="222">
                  <c:v>1390-12-02</c:v>
                </c:pt>
                <c:pt idx="223">
                  <c:v>1390-12-03</c:v>
                </c:pt>
                <c:pt idx="224">
                  <c:v>1390-12-06</c:v>
                </c:pt>
                <c:pt idx="225">
                  <c:v>1390-12-07</c:v>
                </c:pt>
                <c:pt idx="226">
                  <c:v>1390-12-08</c:v>
                </c:pt>
                <c:pt idx="227">
                  <c:v>1390-12-09</c:v>
                </c:pt>
                <c:pt idx="228">
                  <c:v>1390-12-10</c:v>
                </c:pt>
                <c:pt idx="229">
                  <c:v>1390-12-13</c:v>
                </c:pt>
                <c:pt idx="230">
                  <c:v>1390-12-14</c:v>
                </c:pt>
                <c:pt idx="231">
                  <c:v>1390-12-15</c:v>
                </c:pt>
                <c:pt idx="232">
                  <c:v>1390-12-16</c:v>
                </c:pt>
                <c:pt idx="233">
                  <c:v>1390-12-17</c:v>
                </c:pt>
                <c:pt idx="234">
                  <c:v>1390-12-20</c:v>
                </c:pt>
                <c:pt idx="235">
                  <c:v>1390-12-21</c:v>
                </c:pt>
                <c:pt idx="236">
                  <c:v>1390-12-22</c:v>
                </c:pt>
                <c:pt idx="237">
                  <c:v>1390-12-23</c:v>
                </c:pt>
                <c:pt idx="238">
                  <c:v>1390-12-24</c:v>
                </c:pt>
                <c:pt idx="239">
                  <c:v>1390-12-27</c:v>
                </c:pt>
                <c:pt idx="240">
                  <c:v>1390-12-28</c:v>
                </c:pt>
                <c:pt idx="241">
                  <c:v>1391-01-05</c:v>
                </c:pt>
                <c:pt idx="242">
                  <c:v>1391-01-06</c:v>
                </c:pt>
                <c:pt idx="243">
                  <c:v>1391-01-07</c:v>
                </c:pt>
                <c:pt idx="244">
                  <c:v>1391-01-08</c:v>
                </c:pt>
                <c:pt idx="245">
                  <c:v>1391-01-09</c:v>
                </c:pt>
                <c:pt idx="246">
                  <c:v>1391-01-14</c:v>
                </c:pt>
                <c:pt idx="247">
                  <c:v>1391-01-15</c:v>
                </c:pt>
                <c:pt idx="248">
                  <c:v>1391-01-16</c:v>
                </c:pt>
                <c:pt idx="249">
                  <c:v>1391-01-19</c:v>
                </c:pt>
                <c:pt idx="250">
                  <c:v>1391-01-20</c:v>
                </c:pt>
                <c:pt idx="251">
                  <c:v>1391-01-21</c:v>
                </c:pt>
                <c:pt idx="252">
                  <c:v>1391-01-22</c:v>
                </c:pt>
                <c:pt idx="253">
                  <c:v>1391-01-23</c:v>
                </c:pt>
                <c:pt idx="254">
                  <c:v>1391-01-26</c:v>
                </c:pt>
                <c:pt idx="255">
                  <c:v>1391-01-27</c:v>
                </c:pt>
                <c:pt idx="256">
                  <c:v>1391-01-28</c:v>
                </c:pt>
                <c:pt idx="257">
                  <c:v>1391-01-29</c:v>
                </c:pt>
                <c:pt idx="258">
                  <c:v>1391-01-30</c:v>
                </c:pt>
                <c:pt idx="259">
                  <c:v>1391-02-02</c:v>
                </c:pt>
                <c:pt idx="260">
                  <c:v>1391-02-03</c:v>
                </c:pt>
                <c:pt idx="261">
                  <c:v>1391-02-04</c:v>
                </c:pt>
                <c:pt idx="262">
                  <c:v>1391-02-05</c:v>
                </c:pt>
                <c:pt idx="263">
                  <c:v>1391-02-09</c:v>
                </c:pt>
                <c:pt idx="264">
                  <c:v>1391-02-10</c:v>
                </c:pt>
                <c:pt idx="265">
                  <c:v>1391-02-11</c:v>
                </c:pt>
                <c:pt idx="266">
                  <c:v>1391-02-12</c:v>
                </c:pt>
                <c:pt idx="267">
                  <c:v>1391-02-13</c:v>
                </c:pt>
                <c:pt idx="268">
                  <c:v>1391-02-16</c:v>
                </c:pt>
                <c:pt idx="269">
                  <c:v>1391-02-17</c:v>
                </c:pt>
                <c:pt idx="270">
                  <c:v>1391-02-18</c:v>
                </c:pt>
                <c:pt idx="271">
                  <c:v>1391-02-19</c:v>
                </c:pt>
                <c:pt idx="272">
                  <c:v>1391-02-20</c:v>
                </c:pt>
                <c:pt idx="273">
                  <c:v>1391-02-23</c:v>
                </c:pt>
                <c:pt idx="274">
                  <c:v>1391-02-24</c:v>
                </c:pt>
                <c:pt idx="275">
                  <c:v>1391-02-25</c:v>
                </c:pt>
                <c:pt idx="276">
                  <c:v>1391-02-26</c:v>
                </c:pt>
                <c:pt idx="277">
                  <c:v>1391-02-27</c:v>
                </c:pt>
                <c:pt idx="278">
                  <c:v>1391-02-30</c:v>
                </c:pt>
                <c:pt idx="279">
                  <c:v>1391-02-31</c:v>
                </c:pt>
                <c:pt idx="280">
                  <c:v>1391-03-01</c:v>
                </c:pt>
                <c:pt idx="281">
                  <c:v>1391-03-02</c:v>
                </c:pt>
                <c:pt idx="282">
                  <c:v>1391-03-03</c:v>
                </c:pt>
                <c:pt idx="283">
                  <c:v>1391-03-06</c:v>
                </c:pt>
                <c:pt idx="284">
                  <c:v>1391-03-07</c:v>
                </c:pt>
                <c:pt idx="285">
                  <c:v>1391-03-08</c:v>
                </c:pt>
                <c:pt idx="286">
                  <c:v>1391-03-09</c:v>
                </c:pt>
                <c:pt idx="287">
                  <c:v>1391-03-10</c:v>
                </c:pt>
                <c:pt idx="288">
                  <c:v>1391-03-13</c:v>
                </c:pt>
                <c:pt idx="289">
                  <c:v>1391-03-16</c:v>
                </c:pt>
                <c:pt idx="290">
                  <c:v>1391-03-17</c:v>
                </c:pt>
                <c:pt idx="291">
                  <c:v>1391-03-20</c:v>
                </c:pt>
                <c:pt idx="292">
                  <c:v>1391-03-21</c:v>
                </c:pt>
                <c:pt idx="293">
                  <c:v>1391-03-22</c:v>
                </c:pt>
                <c:pt idx="294">
                  <c:v>1391-03-23</c:v>
                </c:pt>
                <c:pt idx="295">
                  <c:v>1391-03-24</c:v>
                </c:pt>
                <c:pt idx="296">
                  <c:v>1391-03-27</c:v>
                </c:pt>
                <c:pt idx="297">
                  <c:v>1391-03-28</c:v>
                </c:pt>
                <c:pt idx="298">
                  <c:v>1391-03-30</c:v>
                </c:pt>
                <c:pt idx="299">
                  <c:v>1391-03-31</c:v>
                </c:pt>
                <c:pt idx="300">
                  <c:v>1391-04-03</c:v>
                </c:pt>
                <c:pt idx="301">
                  <c:v>1391-04-04</c:v>
                </c:pt>
                <c:pt idx="302">
                  <c:v>1391-04-05</c:v>
                </c:pt>
                <c:pt idx="303">
                  <c:v>1391-04-06</c:v>
                </c:pt>
                <c:pt idx="304">
                  <c:v>1391-04-07</c:v>
                </c:pt>
                <c:pt idx="305">
                  <c:v>1391-04-10</c:v>
                </c:pt>
                <c:pt idx="306">
                  <c:v>1391-04-11</c:v>
                </c:pt>
                <c:pt idx="307">
                  <c:v>1391-04-12</c:v>
                </c:pt>
                <c:pt idx="308">
                  <c:v>1391-04-13</c:v>
                </c:pt>
                <c:pt idx="309">
                  <c:v>1391-04-14</c:v>
                </c:pt>
                <c:pt idx="310">
                  <c:v>1391-04-17</c:v>
                </c:pt>
                <c:pt idx="311">
                  <c:v>1391-04-18</c:v>
                </c:pt>
                <c:pt idx="312">
                  <c:v>1391-04-19</c:v>
                </c:pt>
                <c:pt idx="313">
                  <c:v>1391-04-20</c:v>
                </c:pt>
                <c:pt idx="314">
                  <c:v>1391-04-21</c:v>
                </c:pt>
                <c:pt idx="315">
                  <c:v>1391-04-24</c:v>
                </c:pt>
                <c:pt idx="316">
                  <c:v>1391-04-25</c:v>
                </c:pt>
                <c:pt idx="317">
                  <c:v>1391-04-26</c:v>
                </c:pt>
                <c:pt idx="318">
                  <c:v>1391-04-27</c:v>
                </c:pt>
                <c:pt idx="319">
                  <c:v>1391-04-28</c:v>
                </c:pt>
                <c:pt idx="320">
                  <c:v>1391-04-31</c:v>
                </c:pt>
                <c:pt idx="321">
                  <c:v>1391-05-01</c:v>
                </c:pt>
                <c:pt idx="322">
                  <c:v>1391-05-02</c:v>
                </c:pt>
                <c:pt idx="323">
                  <c:v>1391-05-03</c:v>
                </c:pt>
                <c:pt idx="324">
                  <c:v>1391-05-04</c:v>
                </c:pt>
                <c:pt idx="325">
                  <c:v>1391-05-07</c:v>
                </c:pt>
                <c:pt idx="326">
                  <c:v>1391-05-08</c:v>
                </c:pt>
                <c:pt idx="327">
                  <c:v>1391-05-09</c:v>
                </c:pt>
                <c:pt idx="328">
                  <c:v>1391-05-10</c:v>
                </c:pt>
                <c:pt idx="329">
                  <c:v>1391-05-11</c:v>
                </c:pt>
                <c:pt idx="330">
                  <c:v>1391-05-14</c:v>
                </c:pt>
                <c:pt idx="331">
                  <c:v>1391-05-15</c:v>
                </c:pt>
                <c:pt idx="332">
                  <c:v>1391-05-16</c:v>
                </c:pt>
                <c:pt idx="333">
                  <c:v>1391-05-17</c:v>
                </c:pt>
                <c:pt idx="334">
                  <c:v>1391-05-18</c:v>
                </c:pt>
                <c:pt idx="335">
                  <c:v>1391-05-21</c:v>
                </c:pt>
                <c:pt idx="336">
                  <c:v>1391-05-22</c:v>
                </c:pt>
                <c:pt idx="337">
                  <c:v>1391-05-23</c:v>
                </c:pt>
                <c:pt idx="338">
                  <c:v>1391-05-24</c:v>
                </c:pt>
                <c:pt idx="339">
                  <c:v>1391-05-25</c:v>
                </c:pt>
                <c:pt idx="340">
                  <c:v>1391-05-28</c:v>
                </c:pt>
                <c:pt idx="341">
                  <c:v>1391-05-31</c:v>
                </c:pt>
                <c:pt idx="342">
                  <c:v>1391-06-01</c:v>
                </c:pt>
                <c:pt idx="343">
                  <c:v>1391-06-04</c:v>
                </c:pt>
                <c:pt idx="344">
                  <c:v>1391-06-05</c:v>
                </c:pt>
                <c:pt idx="345">
                  <c:v>1391-06-06</c:v>
                </c:pt>
                <c:pt idx="346">
                  <c:v>1391-06-12</c:v>
                </c:pt>
                <c:pt idx="347">
                  <c:v>1391-06-13</c:v>
                </c:pt>
                <c:pt idx="348">
                  <c:v>1391-06-14</c:v>
                </c:pt>
                <c:pt idx="349">
                  <c:v>1391-06-15</c:v>
                </c:pt>
                <c:pt idx="350">
                  <c:v>1391-06-18</c:v>
                </c:pt>
                <c:pt idx="351">
                  <c:v>1391-06-19</c:v>
                </c:pt>
                <c:pt idx="352">
                  <c:v>1391-06-20</c:v>
                </c:pt>
                <c:pt idx="353">
                  <c:v>1391-06-21</c:v>
                </c:pt>
                <c:pt idx="354">
                  <c:v>1391-06-25</c:v>
                </c:pt>
                <c:pt idx="355">
                  <c:v>1391-06-26</c:v>
                </c:pt>
                <c:pt idx="356">
                  <c:v>1391-06-27</c:v>
                </c:pt>
                <c:pt idx="357">
                  <c:v>1391-06-28</c:v>
                </c:pt>
                <c:pt idx="358">
                  <c:v>1391-06-29</c:v>
                </c:pt>
                <c:pt idx="359">
                  <c:v>1391-07-01</c:v>
                </c:pt>
                <c:pt idx="360">
                  <c:v>1391-07-02</c:v>
                </c:pt>
                <c:pt idx="361">
                  <c:v>1391-07-03</c:v>
                </c:pt>
                <c:pt idx="362">
                  <c:v>1391-07-04</c:v>
                </c:pt>
                <c:pt idx="363">
                  <c:v>1391-07-05</c:v>
                </c:pt>
                <c:pt idx="364">
                  <c:v>1391-07-08</c:v>
                </c:pt>
                <c:pt idx="365">
                  <c:v>1391-07-09</c:v>
                </c:pt>
                <c:pt idx="366">
                  <c:v>1391-07-10</c:v>
                </c:pt>
                <c:pt idx="367">
                  <c:v>1391-07-11</c:v>
                </c:pt>
                <c:pt idx="368">
                  <c:v>1391-07-12</c:v>
                </c:pt>
                <c:pt idx="369">
                  <c:v>1391-07-15</c:v>
                </c:pt>
                <c:pt idx="370">
                  <c:v>1391-07-16</c:v>
                </c:pt>
                <c:pt idx="371">
                  <c:v>1391-07-17</c:v>
                </c:pt>
                <c:pt idx="372">
                  <c:v>1391-07-18</c:v>
                </c:pt>
                <c:pt idx="373">
                  <c:v>1391-07-19</c:v>
                </c:pt>
                <c:pt idx="374">
                  <c:v>1391-07-22</c:v>
                </c:pt>
                <c:pt idx="375">
                  <c:v>1391-07-23</c:v>
                </c:pt>
                <c:pt idx="376">
                  <c:v>1391-07-24</c:v>
                </c:pt>
                <c:pt idx="377">
                  <c:v>1391-07-25</c:v>
                </c:pt>
                <c:pt idx="378">
                  <c:v>1391-07-26</c:v>
                </c:pt>
                <c:pt idx="379">
                  <c:v>1391-07-29</c:v>
                </c:pt>
                <c:pt idx="380">
                  <c:v>1391-07-30</c:v>
                </c:pt>
                <c:pt idx="381">
                  <c:v>1391-08-01</c:v>
                </c:pt>
                <c:pt idx="382">
                  <c:v>1391-08-02</c:v>
                </c:pt>
                <c:pt idx="383">
                  <c:v>1391-08-03</c:v>
                </c:pt>
                <c:pt idx="384">
                  <c:v>1391-08-06</c:v>
                </c:pt>
                <c:pt idx="385">
                  <c:v>1391-08-07</c:v>
                </c:pt>
                <c:pt idx="386">
                  <c:v>1391-08-08</c:v>
                </c:pt>
                <c:pt idx="387">
                  <c:v>1391-08-09</c:v>
                </c:pt>
                <c:pt idx="388">
                  <c:v>1391-08-10</c:v>
                </c:pt>
                <c:pt idx="389">
                  <c:v>1391-08-14</c:v>
                </c:pt>
                <c:pt idx="390">
                  <c:v>1391-08-15</c:v>
                </c:pt>
                <c:pt idx="391">
                  <c:v>1391-08-16</c:v>
                </c:pt>
                <c:pt idx="392">
                  <c:v>1391-08-17</c:v>
                </c:pt>
                <c:pt idx="393">
                  <c:v>1391-08-20</c:v>
                </c:pt>
                <c:pt idx="394">
                  <c:v>1391-08-21</c:v>
                </c:pt>
                <c:pt idx="395">
                  <c:v>1391-08-22</c:v>
                </c:pt>
                <c:pt idx="396">
                  <c:v>1391-08-23</c:v>
                </c:pt>
                <c:pt idx="397">
                  <c:v>1391-08-24</c:v>
                </c:pt>
                <c:pt idx="398">
                  <c:v>1391-08-27</c:v>
                </c:pt>
                <c:pt idx="399">
                  <c:v>1391-08-28</c:v>
                </c:pt>
                <c:pt idx="400">
                  <c:v>1391-08-29</c:v>
                </c:pt>
                <c:pt idx="401">
                  <c:v>1391-08-30</c:v>
                </c:pt>
                <c:pt idx="402">
                  <c:v>1391-09-01</c:v>
                </c:pt>
                <c:pt idx="403">
                  <c:v>1391-09-06</c:v>
                </c:pt>
                <c:pt idx="404">
                  <c:v>1391-09-07</c:v>
                </c:pt>
                <c:pt idx="405">
                  <c:v>1391-09-08</c:v>
                </c:pt>
                <c:pt idx="406">
                  <c:v>1391-09-11</c:v>
                </c:pt>
                <c:pt idx="407">
                  <c:v>1391-09-12</c:v>
                </c:pt>
                <c:pt idx="408">
                  <c:v>1391-09-13</c:v>
                </c:pt>
                <c:pt idx="409">
                  <c:v>1391-09-14</c:v>
                </c:pt>
                <c:pt idx="410">
                  <c:v>1391-09-15</c:v>
                </c:pt>
                <c:pt idx="411">
                  <c:v>1391-09-18</c:v>
                </c:pt>
                <c:pt idx="412">
                  <c:v>1391-09-19</c:v>
                </c:pt>
                <c:pt idx="413">
                  <c:v>1391-09-20</c:v>
                </c:pt>
                <c:pt idx="414">
                  <c:v>1391-09-21</c:v>
                </c:pt>
                <c:pt idx="415">
                  <c:v>1391-09-22</c:v>
                </c:pt>
                <c:pt idx="416">
                  <c:v>1391-09-25</c:v>
                </c:pt>
                <c:pt idx="417">
                  <c:v>1391-09-26</c:v>
                </c:pt>
                <c:pt idx="418">
                  <c:v>1391-09-27</c:v>
                </c:pt>
                <c:pt idx="419">
                  <c:v>1391-09-28</c:v>
                </c:pt>
                <c:pt idx="420">
                  <c:v>1391-09-29</c:v>
                </c:pt>
                <c:pt idx="421">
                  <c:v>1391-10-02</c:v>
                </c:pt>
                <c:pt idx="422">
                  <c:v>1391-10-03</c:v>
                </c:pt>
                <c:pt idx="423">
                  <c:v>1391-10-04</c:v>
                </c:pt>
                <c:pt idx="424">
                  <c:v>1391-10-05</c:v>
                </c:pt>
                <c:pt idx="425">
                  <c:v>1391-10-06</c:v>
                </c:pt>
                <c:pt idx="426">
                  <c:v>1391-10-09</c:v>
                </c:pt>
                <c:pt idx="427">
                  <c:v>1391-10-10</c:v>
                </c:pt>
                <c:pt idx="428">
                  <c:v>1391-10-11</c:v>
                </c:pt>
                <c:pt idx="429">
                  <c:v>1391-10-12</c:v>
                </c:pt>
                <c:pt idx="430">
                  <c:v>1391-10-13</c:v>
                </c:pt>
                <c:pt idx="431">
                  <c:v>1391-10-17</c:v>
                </c:pt>
                <c:pt idx="432">
                  <c:v>1391-10-18</c:v>
                </c:pt>
                <c:pt idx="433">
                  <c:v>1391-10-19</c:v>
                </c:pt>
                <c:pt idx="434">
                  <c:v>1391-10-20</c:v>
                </c:pt>
                <c:pt idx="435">
                  <c:v>1391-10-24</c:v>
                </c:pt>
                <c:pt idx="436">
                  <c:v>1391-10-25</c:v>
                </c:pt>
                <c:pt idx="437">
                  <c:v>1391-10-26</c:v>
                </c:pt>
                <c:pt idx="438">
                  <c:v>1391-10-27</c:v>
                </c:pt>
                <c:pt idx="439">
                  <c:v>1391-10-30</c:v>
                </c:pt>
                <c:pt idx="440">
                  <c:v>1391-11-01</c:v>
                </c:pt>
                <c:pt idx="441">
                  <c:v>1391-11-02</c:v>
                </c:pt>
                <c:pt idx="442">
                  <c:v>1391-11-03</c:v>
                </c:pt>
                <c:pt idx="443">
                  <c:v>1391-11-04</c:v>
                </c:pt>
                <c:pt idx="444">
                  <c:v>1391-11-07</c:v>
                </c:pt>
                <c:pt idx="445">
                  <c:v>1391-11-08</c:v>
                </c:pt>
                <c:pt idx="446">
                  <c:v>1391-11-09</c:v>
                </c:pt>
                <c:pt idx="447">
                  <c:v>1391-11-11</c:v>
                </c:pt>
                <c:pt idx="448">
                  <c:v>1391-11-14</c:v>
                </c:pt>
                <c:pt idx="449">
                  <c:v>1391-11-15</c:v>
                </c:pt>
                <c:pt idx="450">
                  <c:v>1391-11-16</c:v>
                </c:pt>
                <c:pt idx="451">
                  <c:v>1391-11-17</c:v>
                </c:pt>
                <c:pt idx="452">
                  <c:v>1391-11-18</c:v>
                </c:pt>
                <c:pt idx="453">
                  <c:v>1391-11-21</c:v>
                </c:pt>
                <c:pt idx="454">
                  <c:v>1391-11-23</c:v>
                </c:pt>
                <c:pt idx="455">
                  <c:v>1391-11-24</c:v>
                </c:pt>
                <c:pt idx="456">
                  <c:v>1391-11-25</c:v>
                </c:pt>
                <c:pt idx="457">
                  <c:v>1391-11-28</c:v>
                </c:pt>
                <c:pt idx="458">
                  <c:v>1391-11-29</c:v>
                </c:pt>
                <c:pt idx="459">
                  <c:v>1391-11-30</c:v>
                </c:pt>
                <c:pt idx="460">
                  <c:v>1391-12-01</c:v>
                </c:pt>
                <c:pt idx="461">
                  <c:v>1391-12-02</c:v>
                </c:pt>
                <c:pt idx="462">
                  <c:v>1391-12-05</c:v>
                </c:pt>
                <c:pt idx="463">
                  <c:v>1391-12-06</c:v>
                </c:pt>
                <c:pt idx="464">
                  <c:v>1391-12-07</c:v>
                </c:pt>
                <c:pt idx="465">
                  <c:v>1391-12-08</c:v>
                </c:pt>
                <c:pt idx="466">
                  <c:v>1391-12-09</c:v>
                </c:pt>
                <c:pt idx="467">
                  <c:v>1391-12-12</c:v>
                </c:pt>
                <c:pt idx="468">
                  <c:v>1391-12-13</c:v>
                </c:pt>
                <c:pt idx="469">
                  <c:v>1391-12-14</c:v>
                </c:pt>
                <c:pt idx="470">
                  <c:v>1391-12-15</c:v>
                </c:pt>
                <c:pt idx="471">
                  <c:v>1391-12-16</c:v>
                </c:pt>
                <c:pt idx="472">
                  <c:v>1391-12-19</c:v>
                </c:pt>
                <c:pt idx="473">
                  <c:v>1391-12-20</c:v>
                </c:pt>
                <c:pt idx="474">
                  <c:v>1391-12-21</c:v>
                </c:pt>
                <c:pt idx="475">
                  <c:v>1391-12-22</c:v>
                </c:pt>
                <c:pt idx="476">
                  <c:v>1391-12-23</c:v>
                </c:pt>
                <c:pt idx="477">
                  <c:v>1391-12-26</c:v>
                </c:pt>
                <c:pt idx="478">
                  <c:v>1391-12-27</c:v>
                </c:pt>
                <c:pt idx="479">
                  <c:v>1391-12-28</c:v>
                </c:pt>
                <c:pt idx="480">
                  <c:v>1392-01-05</c:v>
                </c:pt>
                <c:pt idx="481">
                  <c:v>1392-01-06</c:v>
                </c:pt>
                <c:pt idx="482">
                  <c:v>1392-01-07</c:v>
                </c:pt>
                <c:pt idx="483">
                  <c:v>1392-01-10</c:v>
                </c:pt>
                <c:pt idx="484">
                  <c:v>1392-01-11</c:v>
                </c:pt>
                <c:pt idx="485">
                  <c:v>1392-01-14</c:v>
                </c:pt>
                <c:pt idx="486">
                  <c:v>1392-01-17</c:v>
                </c:pt>
                <c:pt idx="487">
                  <c:v>1392-01-18</c:v>
                </c:pt>
                <c:pt idx="488">
                  <c:v>1392-01-19</c:v>
                </c:pt>
                <c:pt idx="489">
                  <c:v>1392-01-20</c:v>
                </c:pt>
                <c:pt idx="490">
                  <c:v>1392-01-21</c:v>
                </c:pt>
                <c:pt idx="491">
                  <c:v>1392-01-24</c:v>
                </c:pt>
                <c:pt idx="492">
                  <c:v>1392-01-26</c:v>
                </c:pt>
                <c:pt idx="493">
                  <c:v>1392-01-27</c:v>
                </c:pt>
                <c:pt idx="494">
                  <c:v>1392-01-28</c:v>
                </c:pt>
                <c:pt idx="495">
                  <c:v>1392-01-31</c:v>
                </c:pt>
                <c:pt idx="496">
                  <c:v>1392-02-01</c:v>
                </c:pt>
                <c:pt idx="497">
                  <c:v>1392-02-02</c:v>
                </c:pt>
                <c:pt idx="498">
                  <c:v>1392-02-03</c:v>
                </c:pt>
                <c:pt idx="499">
                  <c:v>1392-02-04</c:v>
                </c:pt>
                <c:pt idx="500">
                  <c:v>1392-02-07</c:v>
                </c:pt>
                <c:pt idx="501">
                  <c:v>1392-02-08</c:v>
                </c:pt>
                <c:pt idx="502">
                  <c:v>1392-02-09</c:v>
                </c:pt>
                <c:pt idx="503">
                  <c:v>1392-02-10</c:v>
                </c:pt>
                <c:pt idx="504">
                  <c:v>1392-02-11</c:v>
                </c:pt>
                <c:pt idx="505">
                  <c:v>1392-02-14</c:v>
                </c:pt>
                <c:pt idx="506">
                  <c:v>1392-02-15</c:v>
                </c:pt>
                <c:pt idx="507">
                  <c:v>1392-02-16</c:v>
                </c:pt>
                <c:pt idx="508">
                  <c:v>1392-02-17</c:v>
                </c:pt>
                <c:pt idx="509">
                  <c:v>1392-02-18</c:v>
                </c:pt>
                <c:pt idx="510">
                  <c:v>1392-02-21</c:v>
                </c:pt>
                <c:pt idx="511">
                  <c:v>1392-02-22</c:v>
                </c:pt>
                <c:pt idx="512">
                  <c:v>1392-02-23</c:v>
                </c:pt>
                <c:pt idx="513">
                  <c:v>1392-02-24</c:v>
                </c:pt>
                <c:pt idx="514">
                  <c:v>1392-02-25</c:v>
                </c:pt>
                <c:pt idx="515">
                  <c:v>1392-02-28</c:v>
                </c:pt>
                <c:pt idx="516">
                  <c:v>1392-02-29</c:v>
                </c:pt>
                <c:pt idx="517">
                  <c:v>1392-02-30</c:v>
                </c:pt>
                <c:pt idx="518">
                  <c:v>1392-02-31</c:v>
                </c:pt>
                <c:pt idx="519">
                  <c:v>1392-03-01</c:v>
                </c:pt>
                <c:pt idx="520">
                  <c:v>1392-03-04</c:v>
                </c:pt>
                <c:pt idx="521">
                  <c:v>1392-03-05</c:v>
                </c:pt>
                <c:pt idx="522">
                  <c:v>1392-03-06</c:v>
                </c:pt>
                <c:pt idx="523">
                  <c:v>1392-03-07</c:v>
                </c:pt>
                <c:pt idx="524">
                  <c:v>1392-03-08</c:v>
                </c:pt>
                <c:pt idx="525">
                  <c:v>1392-03-11</c:v>
                </c:pt>
                <c:pt idx="526">
                  <c:v>1392-03-12</c:v>
                </c:pt>
                <c:pt idx="527">
                  <c:v>1392-03-13</c:v>
                </c:pt>
                <c:pt idx="528">
                  <c:v>1392-03-18</c:v>
                </c:pt>
                <c:pt idx="529">
                  <c:v>1392-03-19</c:v>
                </c:pt>
                <c:pt idx="530">
                  <c:v>1392-03-20</c:v>
                </c:pt>
                <c:pt idx="531">
                  <c:v>1392-03-21</c:v>
                </c:pt>
                <c:pt idx="532">
                  <c:v>1392-03-22</c:v>
                </c:pt>
                <c:pt idx="533">
                  <c:v>1392-03-25</c:v>
                </c:pt>
                <c:pt idx="534">
                  <c:v>1392-03-26</c:v>
                </c:pt>
                <c:pt idx="535">
                  <c:v>1392-03-27</c:v>
                </c:pt>
                <c:pt idx="536">
                  <c:v>1392-03-28</c:v>
                </c:pt>
                <c:pt idx="537">
                  <c:v>1392-03-29</c:v>
                </c:pt>
                <c:pt idx="538">
                  <c:v>1392-04-01</c:v>
                </c:pt>
                <c:pt idx="539">
                  <c:v>1392-04-02</c:v>
                </c:pt>
                <c:pt idx="540">
                  <c:v>1392-04-04</c:v>
                </c:pt>
                <c:pt idx="541">
                  <c:v>1392-04-05</c:v>
                </c:pt>
                <c:pt idx="542">
                  <c:v>1392-04-08</c:v>
                </c:pt>
                <c:pt idx="543">
                  <c:v>1392-04-09</c:v>
                </c:pt>
                <c:pt idx="544">
                  <c:v>1392-04-10</c:v>
                </c:pt>
                <c:pt idx="545">
                  <c:v>1392-04-11</c:v>
                </c:pt>
                <c:pt idx="546">
                  <c:v>1392-04-12</c:v>
                </c:pt>
                <c:pt idx="547">
                  <c:v>1392-04-15</c:v>
                </c:pt>
                <c:pt idx="548">
                  <c:v>1392-04-16</c:v>
                </c:pt>
                <c:pt idx="549">
                  <c:v>1392-04-17</c:v>
                </c:pt>
                <c:pt idx="550">
                  <c:v>1392-04-18</c:v>
                </c:pt>
                <c:pt idx="551">
                  <c:v>1392-04-19</c:v>
                </c:pt>
                <c:pt idx="552">
                  <c:v>1392-04-22</c:v>
                </c:pt>
                <c:pt idx="553">
                  <c:v>1392-04-23</c:v>
                </c:pt>
                <c:pt idx="554">
                  <c:v>1392-04-24</c:v>
                </c:pt>
                <c:pt idx="555">
                  <c:v>1392-04-25</c:v>
                </c:pt>
                <c:pt idx="556">
                  <c:v>1392-04-26</c:v>
                </c:pt>
                <c:pt idx="557">
                  <c:v>1392-04-29</c:v>
                </c:pt>
                <c:pt idx="558">
                  <c:v>1392-04-30</c:v>
                </c:pt>
                <c:pt idx="559">
                  <c:v>1392-04-31</c:v>
                </c:pt>
                <c:pt idx="560">
                  <c:v>1392-05-01</c:v>
                </c:pt>
                <c:pt idx="561">
                  <c:v>1392-05-02</c:v>
                </c:pt>
                <c:pt idx="562">
                  <c:v>1392-05-05</c:v>
                </c:pt>
                <c:pt idx="563">
                  <c:v>1392-05-06</c:v>
                </c:pt>
                <c:pt idx="564">
                  <c:v>1392-05-07</c:v>
                </c:pt>
                <c:pt idx="565">
                  <c:v>1392-05-09</c:v>
                </c:pt>
                <c:pt idx="566">
                  <c:v>1392-05-12</c:v>
                </c:pt>
                <c:pt idx="567">
                  <c:v>1392-05-13</c:v>
                </c:pt>
                <c:pt idx="568">
                  <c:v>1392-05-14</c:v>
                </c:pt>
                <c:pt idx="569">
                  <c:v>1392-05-15</c:v>
                </c:pt>
                <c:pt idx="570">
                  <c:v>1392-05-16</c:v>
                </c:pt>
                <c:pt idx="571">
                  <c:v>1392-05-20</c:v>
                </c:pt>
                <c:pt idx="572">
                  <c:v>1392-05-21</c:v>
                </c:pt>
                <c:pt idx="573">
                  <c:v>1392-05-22</c:v>
                </c:pt>
                <c:pt idx="574">
                  <c:v>1392-05-23</c:v>
                </c:pt>
                <c:pt idx="575">
                  <c:v>1392-05-26</c:v>
                </c:pt>
                <c:pt idx="576">
                  <c:v>1392-05-27</c:v>
                </c:pt>
                <c:pt idx="577">
                  <c:v>1392-05-28</c:v>
                </c:pt>
                <c:pt idx="578">
                  <c:v>1392-05-29</c:v>
                </c:pt>
                <c:pt idx="579">
                  <c:v>1392-05-30</c:v>
                </c:pt>
                <c:pt idx="580">
                  <c:v>1392-06-02</c:v>
                </c:pt>
                <c:pt idx="581">
                  <c:v>1392-06-03</c:v>
                </c:pt>
                <c:pt idx="582">
                  <c:v>1392-06-04</c:v>
                </c:pt>
                <c:pt idx="583">
                  <c:v>1392-06-05</c:v>
                </c:pt>
                <c:pt idx="584">
                  <c:v>1392-06-06</c:v>
                </c:pt>
                <c:pt idx="585">
                  <c:v>1392-06-09</c:v>
                </c:pt>
                <c:pt idx="586">
                  <c:v>1392-06-10</c:v>
                </c:pt>
                <c:pt idx="587">
                  <c:v>1392-06-12</c:v>
                </c:pt>
                <c:pt idx="588">
                  <c:v>1392-06-13</c:v>
                </c:pt>
                <c:pt idx="589">
                  <c:v>1392-06-16</c:v>
                </c:pt>
                <c:pt idx="590">
                  <c:v>1392-06-17</c:v>
                </c:pt>
                <c:pt idx="591">
                  <c:v>1392-06-18</c:v>
                </c:pt>
                <c:pt idx="592">
                  <c:v>1392-06-19</c:v>
                </c:pt>
                <c:pt idx="593">
                  <c:v>1392-06-20</c:v>
                </c:pt>
                <c:pt idx="594">
                  <c:v>1392-06-23</c:v>
                </c:pt>
                <c:pt idx="595">
                  <c:v>1392-06-24</c:v>
                </c:pt>
                <c:pt idx="596">
                  <c:v>1392-06-25</c:v>
                </c:pt>
                <c:pt idx="597">
                  <c:v>1392-06-26</c:v>
                </c:pt>
                <c:pt idx="598">
                  <c:v>1392-06-27</c:v>
                </c:pt>
                <c:pt idx="599">
                  <c:v>1392-06-30</c:v>
                </c:pt>
                <c:pt idx="600">
                  <c:v>1392-06-31</c:v>
                </c:pt>
                <c:pt idx="601">
                  <c:v>1392-07-01</c:v>
                </c:pt>
                <c:pt idx="602">
                  <c:v>1392-07-02</c:v>
                </c:pt>
                <c:pt idx="603">
                  <c:v>1392-07-03</c:v>
                </c:pt>
                <c:pt idx="604">
                  <c:v>1392-07-06</c:v>
                </c:pt>
                <c:pt idx="605">
                  <c:v>1392-07-07</c:v>
                </c:pt>
                <c:pt idx="606">
                  <c:v>1392-07-08</c:v>
                </c:pt>
                <c:pt idx="607">
                  <c:v>1392-07-09</c:v>
                </c:pt>
                <c:pt idx="608">
                  <c:v>1392-07-10</c:v>
                </c:pt>
                <c:pt idx="609">
                  <c:v>1392-07-13</c:v>
                </c:pt>
                <c:pt idx="610">
                  <c:v>1392-07-14</c:v>
                </c:pt>
                <c:pt idx="611">
                  <c:v>1392-07-15</c:v>
                </c:pt>
                <c:pt idx="612">
                  <c:v>1392-07-16</c:v>
                </c:pt>
                <c:pt idx="613">
                  <c:v>1392-07-17</c:v>
                </c:pt>
                <c:pt idx="614">
                  <c:v>1392-07-20</c:v>
                </c:pt>
                <c:pt idx="615">
                  <c:v>1392-07-21</c:v>
                </c:pt>
                <c:pt idx="616">
                  <c:v>1392-07-22</c:v>
                </c:pt>
                <c:pt idx="617">
                  <c:v>1392-07-23</c:v>
                </c:pt>
                <c:pt idx="618">
                  <c:v>1392-07-27</c:v>
                </c:pt>
                <c:pt idx="619">
                  <c:v>1392-07-28</c:v>
                </c:pt>
                <c:pt idx="620">
                  <c:v>1392-07-29</c:v>
                </c:pt>
                <c:pt idx="621">
                  <c:v>1392-07-30</c:v>
                </c:pt>
                <c:pt idx="622">
                  <c:v>1392-08-01</c:v>
                </c:pt>
                <c:pt idx="623">
                  <c:v>1392-08-04</c:v>
                </c:pt>
                <c:pt idx="624">
                  <c:v>1392-08-05</c:v>
                </c:pt>
                <c:pt idx="625">
                  <c:v>1392-08-06</c:v>
                </c:pt>
                <c:pt idx="626">
                  <c:v>1392-08-07</c:v>
                </c:pt>
                <c:pt idx="627">
                  <c:v>1392-08-08</c:v>
                </c:pt>
                <c:pt idx="628">
                  <c:v>1392-08-11</c:v>
                </c:pt>
                <c:pt idx="629">
                  <c:v>1392-08-12</c:v>
                </c:pt>
                <c:pt idx="630">
                  <c:v>1392-08-13</c:v>
                </c:pt>
                <c:pt idx="631">
                  <c:v>1392-08-14</c:v>
                </c:pt>
                <c:pt idx="632">
                  <c:v>1392-08-15</c:v>
                </c:pt>
                <c:pt idx="633">
                  <c:v>1392-08-18</c:v>
                </c:pt>
                <c:pt idx="634">
                  <c:v>1392-08-19</c:v>
                </c:pt>
                <c:pt idx="635">
                  <c:v>1392-08-20</c:v>
                </c:pt>
                <c:pt idx="636">
                  <c:v>1392-08-21</c:v>
                </c:pt>
                <c:pt idx="637">
                  <c:v>1392-08-25</c:v>
                </c:pt>
                <c:pt idx="638">
                  <c:v>1392-08-26</c:v>
                </c:pt>
                <c:pt idx="639">
                  <c:v>1392-08-27</c:v>
                </c:pt>
                <c:pt idx="640">
                  <c:v>1392-08-28</c:v>
                </c:pt>
                <c:pt idx="641">
                  <c:v>1392-08-29</c:v>
                </c:pt>
                <c:pt idx="642">
                  <c:v>1392-09-02</c:v>
                </c:pt>
                <c:pt idx="643">
                  <c:v>1392-09-03</c:v>
                </c:pt>
                <c:pt idx="644">
                  <c:v>1392-09-04</c:v>
                </c:pt>
                <c:pt idx="645">
                  <c:v>1392-09-05</c:v>
                </c:pt>
                <c:pt idx="646">
                  <c:v>1392-09-06</c:v>
                </c:pt>
                <c:pt idx="647">
                  <c:v>1392-09-09</c:v>
                </c:pt>
                <c:pt idx="648">
                  <c:v>1392-09-10</c:v>
                </c:pt>
                <c:pt idx="649">
                  <c:v>1392-09-11</c:v>
                </c:pt>
                <c:pt idx="650">
                  <c:v>1392-09-12</c:v>
                </c:pt>
                <c:pt idx="651">
                  <c:v>1392-09-13</c:v>
                </c:pt>
                <c:pt idx="652">
                  <c:v>1392-09-16</c:v>
                </c:pt>
                <c:pt idx="653">
                  <c:v>1392-09-17</c:v>
                </c:pt>
                <c:pt idx="654">
                  <c:v>1392-09-18</c:v>
                </c:pt>
                <c:pt idx="655">
                  <c:v>1392-09-19</c:v>
                </c:pt>
                <c:pt idx="656">
                  <c:v>1392-09-20</c:v>
                </c:pt>
                <c:pt idx="657">
                  <c:v>1392-09-23</c:v>
                </c:pt>
                <c:pt idx="658">
                  <c:v>1392-09-24</c:v>
                </c:pt>
                <c:pt idx="659">
                  <c:v>1392-09-25</c:v>
                </c:pt>
                <c:pt idx="660">
                  <c:v>1392-09-26</c:v>
                </c:pt>
                <c:pt idx="661">
                  <c:v>1392-09-27</c:v>
                </c:pt>
                <c:pt idx="662">
                  <c:v>1392-09-30</c:v>
                </c:pt>
                <c:pt idx="663">
                  <c:v>1392-10-01</c:v>
                </c:pt>
                <c:pt idx="664">
                  <c:v>1392-10-03</c:v>
                </c:pt>
                <c:pt idx="665">
                  <c:v>1392-10-04</c:v>
                </c:pt>
                <c:pt idx="666">
                  <c:v>1392-10-07</c:v>
                </c:pt>
                <c:pt idx="667">
                  <c:v>1392-10-08</c:v>
                </c:pt>
                <c:pt idx="668">
                  <c:v>1392-10-09</c:v>
                </c:pt>
                <c:pt idx="669">
                  <c:v>1392-10-11</c:v>
                </c:pt>
                <c:pt idx="670">
                  <c:v>1392-10-14</c:v>
                </c:pt>
                <c:pt idx="671">
                  <c:v>1392-10-15</c:v>
                </c:pt>
                <c:pt idx="672">
                  <c:v>1392-10-16</c:v>
                </c:pt>
                <c:pt idx="673">
                  <c:v>1392-10-17</c:v>
                </c:pt>
                <c:pt idx="674">
                  <c:v>1392-10-18</c:v>
                </c:pt>
                <c:pt idx="675">
                  <c:v>1392-10-21</c:v>
                </c:pt>
                <c:pt idx="676">
                  <c:v>1392-10-22</c:v>
                </c:pt>
                <c:pt idx="677">
                  <c:v>1392-10-23</c:v>
                </c:pt>
                <c:pt idx="678">
                  <c:v>1392-10-24</c:v>
                </c:pt>
                <c:pt idx="679">
                  <c:v>1392-10-25</c:v>
                </c:pt>
                <c:pt idx="680">
                  <c:v>1392-10-28</c:v>
                </c:pt>
                <c:pt idx="681">
                  <c:v>1392-10-30</c:v>
                </c:pt>
                <c:pt idx="682">
                  <c:v>1392-11-01</c:v>
                </c:pt>
                <c:pt idx="683">
                  <c:v>1392-11-02</c:v>
                </c:pt>
                <c:pt idx="684">
                  <c:v>1392-11-05</c:v>
                </c:pt>
                <c:pt idx="685">
                  <c:v>1392-11-06</c:v>
                </c:pt>
                <c:pt idx="686">
                  <c:v>1392-11-07</c:v>
                </c:pt>
                <c:pt idx="687">
                  <c:v>1392-11-08</c:v>
                </c:pt>
                <c:pt idx="688">
                  <c:v>1392-11-09</c:v>
                </c:pt>
                <c:pt idx="689">
                  <c:v>1392-11-12</c:v>
                </c:pt>
                <c:pt idx="690">
                  <c:v>1392-11-13</c:v>
                </c:pt>
                <c:pt idx="691">
                  <c:v>1392-11-14</c:v>
                </c:pt>
                <c:pt idx="692">
                  <c:v>1392-11-15</c:v>
                </c:pt>
                <c:pt idx="693">
                  <c:v>1392-11-16</c:v>
                </c:pt>
                <c:pt idx="694">
                  <c:v>1392-11-19</c:v>
                </c:pt>
                <c:pt idx="695">
                  <c:v>1392-11-20</c:v>
                </c:pt>
                <c:pt idx="696">
                  <c:v>1392-11-21</c:v>
                </c:pt>
                <c:pt idx="697">
                  <c:v>1392-11-23</c:v>
                </c:pt>
                <c:pt idx="698">
                  <c:v>1392-11-26</c:v>
                </c:pt>
                <c:pt idx="699">
                  <c:v>1392-11-27</c:v>
                </c:pt>
                <c:pt idx="700">
                  <c:v>1392-11-28</c:v>
                </c:pt>
                <c:pt idx="701">
                  <c:v>1392-11-29</c:v>
                </c:pt>
                <c:pt idx="702">
                  <c:v>1392-11-30</c:v>
                </c:pt>
                <c:pt idx="703">
                  <c:v>1392-12-03</c:v>
                </c:pt>
                <c:pt idx="704">
                  <c:v>1392-12-04</c:v>
                </c:pt>
                <c:pt idx="705">
                  <c:v>1392-12-05</c:v>
                </c:pt>
                <c:pt idx="706">
                  <c:v>1392-12-06</c:v>
                </c:pt>
                <c:pt idx="707">
                  <c:v>1392-12-07</c:v>
                </c:pt>
                <c:pt idx="708">
                  <c:v>1392-12-10</c:v>
                </c:pt>
                <c:pt idx="709">
                  <c:v>1392-12-11</c:v>
                </c:pt>
                <c:pt idx="710">
                  <c:v>1392-12-12</c:v>
                </c:pt>
                <c:pt idx="711">
                  <c:v>1392-12-13</c:v>
                </c:pt>
                <c:pt idx="712">
                  <c:v>1392-12-14</c:v>
                </c:pt>
                <c:pt idx="713">
                  <c:v>1392-12-17</c:v>
                </c:pt>
                <c:pt idx="714">
                  <c:v>1392-12-18</c:v>
                </c:pt>
                <c:pt idx="715">
                  <c:v>1392-12-19</c:v>
                </c:pt>
                <c:pt idx="716">
                  <c:v>1392-12-20</c:v>
                </c:pt>
                <c:pt idx="717">
                  <c:v>1392-12-21</c:v>
                </c:pt>
                <c:pt idx="718">
                  <c:v>1392-12-24</c:v>
                </c:pt>
                <c:pt idx="719">
                  <c:v>1392-12-25</c:v>
                </c:pt>
                <c:pt idx="720">
                  <c:v>1392-12-26</c:v>
                </c:pt>
                <c:pt idx="721">
                  <c:v>1392-12-27</c:v>
                </c:pt>
                <c:pt idx="722">
                  <c:v>1392-12-28</c:v>
                </c:pt>
                <c:pt idx="723">
                  <c:v>1393-01-05</c:v>
                </c:pt>
                <c:pt idx="724">
                  <c:v>1393-01-06</c:v>
                </c:pt>
                <c:pt idx="725">
                  <c:v>1393-01-09</c:v>
                </c:pt>
                <c:pt idx="726">
                  <c:v>1393-01-10</c:v>
                </c:pt>
                <c:pt idx="727">
                  <c:v>1393-01-11</c:v>
                </c:pt>
                <c:pt idx="728">
                  <c:v>1393-01-16</c:v>
                </c:pt>
                <c:pt idx="729">
                  <c:v>1393-01-17</c:v>
                </c:pt>
                <c:pt idx="730">
                  <c:v>1393-01-18</c:v>
                </c:pt>
                <c:pt idx="731">
                  <c:v>1393-01-19</c:v>
                </c:pt>
                <c:pt idx="732">
                  <c:v>1393-01-20</c:v>
                </c:pt>
                <c:pt idx="733">
                  <c:v>1393-01-23</c:v>
                </c:pt>
                <c:pt idx="734">
                  <c:v>1393-01-24</c:v>
                </c:pt>
                <c:pt idx="735">
                  <c:v>1393-01-25</c:v>
                </c:pt>
                <c:pt idx="736">
                  <c:v>1393-01-26</c:v>
                </c:pt>
                <c:pt idx="737">
                  <c:v>1393-01-27</c:v>
                </c:pt>
                <c:pt idx="738">
                  <c:v>1393-01-30</c:v>
                </c:pt>
                <c:pt idx="739">
                  <c:v>1393-01-31</c:v>
                </c:pt>
                <c:pt idx="740">
                  <c:v>1393-02-01</c:v>
                </c:pt>
                <c:pt idx="741">
                  <c:v>1393-02-02</c:v>
                </c:pt>
                <c:pt idx="742">
                  <c:v>1393-02-03</c:v>
                </c:pt>
                <c:pt idx="743">
                  <c:v>1393-02-06</c:v>
                </c:pt>
                <c:pt idx="744">
                  <c:v>1393-02-07</c:v>
                </c:pt>
                <c:pt idx="745">
                  <c:v>1393-02-08</c:v>
                </c:pt>
                <c:pt idx="746">
                  <c:v>1393-02-09</c:v>
                </c:pt>
                <c:pt idx="747">
                  <c:v>1393-02-10</c:v>
                </c:pt>
                <c:pt idx="748">
                  <c:v>1393-02-13</c:v>
                </c:pt>
                <c:pt idx="749">
                  <c:v>1393-02-14</c:v>
                </c:pt>
                <c:pt idx="750">
                  <c:v>1393-02-15</c:v>
                </c:pt>
                <c:pt idx="751">
                  <c:v>1393-02-16</c:v>
                </c:pt>
                <c:pt idx="752">
                  <c:v>1393-02-17</c:v>
                </c:pt>
                <c:pt idx="753">
                  <c:v>1393-02-20</c:v>
                </c:pt>
                <c:pt idx="754">
                  <c:v>1393-02-21</c:v>
                </c:pt>
                <c:pt idx="755">
                  <c:v>1393-02-22</c:v>
                </c:pt>
                <c:pt idx="756">
                  <c:v>1393-02-24</c:v>
                </c:pt>
                <c:pt idx="757">
                  <c:v>1393-02-27</c:v>
                </c:pt>
                <c:pt idx="758">
                  <c:v>1393-02-28</c:v>
                </c:pt>
                <c:pt idx="759">
                  <c:v>1393-02-29</c:v>
                </c:pt>
                <c:pt idx="760">
                  <c:v>1393-02-30</c:v>
                </c:pt>
                <c:pt idx="761">
                  <c:v>1393-02-31</c:v>
                </c:pt>
                <c:pt idx="762">
                  <c:v>1393-03-03</c:v>
                </c:pt>
                <c:pt idx="763">
                  <c:v>1393-03-04</c:v>
                </c:pt>
                <c:pt idx="764">
                  <c:v>1393-03-05</c:v>
                </c:pt>
                <c:pt idx="765">
                  <c:v>1393-03-07</c:v>
                </c:pt>
                <c:pt idx="766">
                  <c:v>1393-03-10</c:v>
                </c:pt>
                <c:pt idx="767">
                  <c:v>1393-03-11</c:v>
                </c:pt>
                <c:pt idx="768">
                  <c:v>1393-03-12</c:v>
                </c:pt>
                <c:pt idx="769">
                  <c:v>1393-03-13</c:v>
                </c:pt>
                <c:pt idx="770">
                  <c:v>1393-03-17</c:v>
                </c:pt>
                <c:pt idx="771">
                  <c:v>1393-03-18</c:v>
                </c:pt>
                <c:pt idx="772">
                  <c:v>1393-03-19</c:v>
                </c:pt>
                <c:pt idx="773">
                  <c:v>1393-03-20</c:v>
                </c:pt>
                <c:pt idx="774">
                  <c:v>1393-03-21</c:v>
                </c:pt>
                <c:pt idx="775">
                  <c:v>1393-03-24</c:v>
                </c:pt>
                <c:pt idx="776">
                  <c:v>1393-03-25</c:v>
                </c:pt>
                <c:pt idx="777">
                  <c:v>1393-03-26</c:v>
                </c:pt>
                <c:pt idx="778">
                  <c:v>1393-03-27</c:v>
                </c:pt>
                <c:pt idx="779">
                  <c:v>1393-03-28</c:v>
                </c:pt>
                <c:pt idx="780">
                  <c:v>1393-03-31</c:v>
                </c:pt>
                <c:pt idx="781">
                  <c:v>1393-04-01</c:v>
                </c:pt>
                <c:pt idx="782">
                  <c:v>1393-04-02</c:v>
                </c:pt>
                <c:pt idx="783">
                  <c:v>1393-04-03</c:v>
                </c:pt>
                <c:pt idx="784">
                  <c:v>1393-04-04</c:v>
                </c:pt>
                <c:pt idx="785">
                  <c:v>1393-04-07</c:v>
                </c:pt>
                <c:pt idx="786">
                  <c:v>1393-04-08</c:v>
                </c:pt>
                <c:pt idx="787">
                  <c:v>1393-04-09</c:v>
                </c:pt>
                <c:pt idx="788">
                  <c:v>1393-04-10</c:v>
                </c:pt>
                <c:pt idx="789">
                  <c:v>1393-04-11</c:v>
                </c:pt>
                <c:pt idx="790">
                  <c:v>1393-04-14</c:v>
                </c:pt>
                <c:pt idx="791">
                  <c:v>1393-04-15</c:v>
                </c:pt>
                <c:pt idx="792">
                  <c:v>1393-04-16</c:v>
                </c:pt>
                <c:pt idx="793">
                  <c:v>1393-04-17</c:v>
                </c:pt>
                <c:pt idx="794">
                  <c:v>1393-04-18</c:v>
                </c:pt>
                <c:pt idx="795">
                  <c:v>1393-04-21</c:v>
                </c:pt>
                <c:pt idx="796">
                  <c:v>1393-04-22</c:v>
                </c:pt>
                <c:pt idx="797">
                  <c:v>1393-04-23</c:v>
                </c:pt>
                <c:pt idx="798">
                  <c:v>1393-04-24</c:v>
                </c:pt>
                <c:pt idx="799">
                  <c:v>1393-04-25</c:v>
                </c:pt>
                <c:pt idx="800">
                  <c:v>1393-04-29</c:v>
                </c:pt>
                <c:pt idx="801">
                  <c:v>1393-04-30</c:v>
                </c:pt>
                <c:pt idx="802">
                  <c:v>1393-04-31</c:v>
                </c:pt>
                <c:pt idx="803">
                  <c:v>1393-05-01</c:v>
                </c:pt>
                <c:pt idx="804">
                  <c:v>1393-05-04</c:v>
                </c:pt>
                <c:pt idx="805">
                  <c:v>1393-05-05</c:v>
                </c:pt>
                <c:pt idx="806">
                  <c:v>1393-05-06</c:v>
                </c:pt>
                <c:pt idx="807">
                  <c:v>1393-05-11</c:v>
                </c:pt>
                <c:pt idx="808">
                  <c:v>1393-05-12</c:v>
                </c:pt>
                <c:pt idx="809">
                  <c:v>1393-05-13</c:v>
                </c:pt>
                <c:pt idx="810">
                  <c:v>1393-05-14</c:v>
                </c:pt>
                <c:pt idx="811">
                  <c:v>1393-05-15</c:v>
                </c:pt>
                <c:pt idx="812">
                  <c:v>1393-05-18</c:v>
                </c:pt>
                <c:pt idx="813">
                  <c:v>1393-05-19</c:v>
                </c:pt>
                <c:pt idx="814">
                  <c:v>1393-05-20</c:v>
                </c:pt>
                <c:pt idx="815">
                  <c:v>1393-05-21</c:v>
                </c:pt>
                <c:pt idx="816">
                  <c:v>1393-05-22</c:v>
                </c:pt>
                <c:pt idx="817">
                  <c:v>1393-05-25</c:v>
                </c:pt>
                <c:pt idx="818">
                  <c:v>1393-05-26</c:v>
                </c:pt>
                <c:pt idx="819">
                  <c:v>1393-05-27</c:v>
                </c:pt>
                <c:pt idx="820">
                  <c:v>1393-05-28</c:v>
                </c:pt>
                <c:pt idx="821">
                  <c:v>1393-05-29</c:v>
                </c:pt>
                <c:pt idx="822">
                  <c:v>1393-06-01</c:v>
                </c:pt>
                <c:pt idx="823">
                  <c:v>1393-06-02</c:v>
                </c:pt>
                <c:pt idx="824">
                  <c:v>1393-06-03</c:v>
                </c:pt>
                <c:pt idx="825">
                  <c:v>1393-06-04</c:v>
                </c:pt>
                <c:pt idx="826">
                  <c:v>1393-06-05</c:v>
                </c:pt>
                <c:pt idx="827">
                  <c:v>1393-06-08</c:v>
                </c:pt>
                <c:pt idx="828">
                  <c:v>1393-06-09</c:v>
                </c:pt>
                <c:pt idx="829">
                  <c:v>1393-06-10</c:v>
                </c:pt>
                <c:pt idx="830">
                  <c:v>1393-06-11</c:v>
                </c:pt>
                <c:pt idx="831">
                  <c:v>1393-06-12</c:v>
                </c:pt>
                <c:pt idx="832">
                  <c:v>1393-06-15</c:v>
                </c:pt>
                <c:pt idx="833">
                  <c:v>1393-06-16</c:v>
                </c:pt>
                <c:pt idx="834">
                  <c:v>1393-06-17</c:v>
                </c:pt>
                <c:pt idx="835">
                  <c:v>1393-06-18</c:v>
                </c:pt>
                <c:pt idx="836">
                  <c:v>1393-06-19</c:v>
                </c:pt>
                <c:pt idx="837">
                  <c:v>1393-06-22</c:v>
                </c:pt>
                <c:pt idx="838">
                  <c:v>1393-06-23</c:v>
                </c:pt>
                <c:pt idx="839">
                  <c:v>1393-06-24</c:v>
                </c:pt>
                <c:pt idx="840">
                  <c:v>1393-06-25</c:v>
                </c:pt>
                <c:pt idx="841">
                  <c:v>1393-06-26</c:v>
                </c:pt>
                <c:pt idx="842">
                  <c:v>1393-06-29</c:v>
                </c:pt>
                <c:pt idx="843">
                  <c:v>1393-06-30</c:v>
                </c:pt>
                <c:pt idx="844">
                  <c:v>1393-06-31</c:v>
                </c:pt>
                <c:pt idx="845">
                  <c:v>1393-07-01</c:v>
                </c:pt>
                <c:pt idx="846">
                  <c:v>1393-07-02</c:v>
                </c:pt>
                <c:pt idx="847">
                  <c:v>1393-07-05</c:v>
                </c:pt>
                <c:pt idx="848">
                  <c:v>1393-07-06</c:v>
                </c:pt>
                <c:pt idx="849">
                  <c:v>1393-07-07</c:v>
                </c:pt>
                <c:pt idx="850">
                  <c:v>1393-07-08</c:v>
                </c:pt>
                <c:pt idx="851">
                  <c:v>1393-07-09</c:v>
                </c:pt>
                <c:pt idx="852">
                  <c:v>1393-07-12</c:v>
                </c:pt>
                <c:pt idx="853">
                  <c:v>1393-07-14</c:v>
                </c:pt>
                <c:pt idx="854">
                  <c:v>1393-07-15</c:v>
                </c:pt>
                <c:pt idx="855">
                  <c:v>1393-07-16</c:v>
                </c:pt>
                <c:pt idx="856">
                  <c:v>1393-07-19</c:v>
                </c:pt>
                <c:pt idx="857">
                  <c:v>1393-07-20</c:v>
                </c:pt>
                <c:pt idx="858">
                  <c:v>1393-07-22</c:v>
                </c:pt>
                <c:pt idx="859">
                  <c:v>1393-07-23</c:v>
                </c:pt>
                <c:pt idx="860">
                  <c:v>1393-07-26</c:v>
                </c:pt>
                <c:pt idx="861">
                  <c:v>1393-07-27</c:v>
                </c:pt>
                <c:pt idx="862">
                  <c:v>1393-07-28</c:v>
                </c:pt>
                <c:pt idx="863">
                  <c:v>1393-07-29</c:v>
                </c:pt>
                <c:pt idx="864">
                  <c:v>1393-07-30</c:v>
                </c:pt>
                <c:pt idx="865">
                  <c:v>1393-08-03</c:v>
                </c:pt>
                <c:pt idx="866">
                  <c:v>1393-08-04</c:v>
                </c:pt>
                <c:pt idx="867">
                  <c:v>1393-08-05</c:v>
                </c:pt>
                <c:pt idx="868">
                  <c:v>1393-08-06</c:v>
                </c:pt>
                <c:pt idx="869">
                  <c:v>1393-08-07</c:v>
                </c:pt>
                <c:pt idx="870">
                  <c:v>1393-08-10</c:v>
                </c:pt>
                <c:pt idx="871">
                  <c:v>1393-08-11</c:v>
                </c:pt>
                <c:pt idx="872">
                  <c:v>1393-08-14</c:v>
                </c:pt>
                <c:pt idx="873">
                  <c:v>1393-08-17</c:v>
                </c:pt>
                <c:pt idx="874">
                  <c:v>1393-08-18</c:v>
                </c:pt>
                <c:pt idx="875">
                  <c:v>1393-08-19</c:v>
                </c:pt>
                <c:pt idx="876">
                  <c:v>1393-08-20</c:v>
                </c:pt>
                <c:pt idx="877">
                  <c:v>1393-08-21</c:v>
                </c:pt>
                <c:pt idx="878">
                  <c:v>1393-08-24</c:v>
                </c:pt>
                <c:pt idx="879">
                  <c:v>1393-08-25</c:v>
                </c:pt>
                <c:pt idx="880">
                  <c:v>1393-08-26</c:v>
                </c:pt>
                <c:pt idx="881">
                  <c:v>1393-08-27</c:v>
                </c:pt>
                <c:pt idx="882">
                  <c:v>1393-08-28</c:v>
                </c:pt>
                <c:pt idx="883">
                  <c:v>1393-09-01</c:v>
                </c:pt>
                <c:pt idx="884">
                  <c:v>1393-09-02</c:v>
                </c:pt>
                <c:pt idx="885">
                  <c:v>1393-09-03</c:v>
                </c:pt>
                <c:pt idx="886">
                  <c:v>1393-09-04</c:v>
                </c:pt>
                <c:pt idx="887">
                  <c:v>1393-09-05</c:v>
                </c:pt>
                <c:pt idx="888">
                  <c:v>1393-09-08</c:v>
                </c:pt>
                <c:pt idx="889">
                  <c:v>1393-09-09</c:v>
                </c:pt>
                <c:pt idx="890">
                  <c:v>1393-09-10</c:v>
                </c:pt>
                <c:pt idx="891">
                  <c:v>1393-09-11</c:v>
                </c:pt>
                <c:pt idx="892">
                  <c:v>1393-09-12</c:v>
                </c:pt>
                <c:pt idx="893">
                  <c:v>1393-09-15</c:v>
                </c:pt>
                <c:pt idx="894">
                  <c:v>1393-09-16</c:v>
                </c:pt>
                <c:pt idx="895">
                  <c:v>1393-09-17</c:v>
                </c:pt>
                <c:pt idx="896">
                  <c:v>1393-09-18</c:v>
                </c:pt>
                <c:pt idx="897">
                  <c:v>1393-09-19</c:v>
                </c:pt>
                <c:pt idx="898">
                  <c:v>1393-09-23</c:v>
                </c:pt>
                <c:pt idx="899">
                  <c:v>1393-09-24</c:v>
                </c:pt>
                <c:pt idx="900">
                  <c:v>1393-09-25</c:v>
                </c:pt>
                <c:pt idx="901">
                  <c:v>1393-09-26</c:v>
                </c:pt>
                <c:pt idx="902">
                  <c:v>1393-09-29</c:v>
                </c:pt>
                <c:pt idx="903">
                  <c:v>1393-10-01</c:v>
                </c:pt>
                <c:pt idx="904">
                  <c:v>1393-10-03</c:v>
                </c:pt>
                <c:pt idx="905">
                  <c:v>1393-10-06</c:v>
                </c:pt>
                <c:pt idx="906">
                  <c:v>1393-10-07</c:v>
                </c:pt>
                <c:pt idx="907">
                  <c:v>1393-10-08</c:v>
                </c:pt>
                <c:pt idx="908">
                  <c:v>1393-10-09</c:v>
                </c:pt>
                <c:pt idx="909">
                  <c:v>1393-10-10</c:v>
                </c:pt>
                <c:pt idx="910">
                  <c:v>1393-10-13</c:v>
                </c:pt>
                <c:pt idx="911">
                  <c:v>1393-10-14</c:v>
                </c:pt>
                <c:pt idx="912">
                  <c:v>1393-10-15</c:v>
                </c:pt>
                <c:pt idx="913">
                  <c:v>1393-10-16</c:v>
                </c:pt>
                <c:pt idx="914">
                  <c:v>1393-10-17</c:v>
                </c:pt>
                <c:pt idx="915">
                  <c:v>1393-10-20</c:v>
                </c:pt>
                <c:pt idx="916">
                  <c:v>1393-10-21</c:v>
                </c:pt>
                <c:pt idx="917">
                  <c:v>1393-10-22</c:v>
                </c:pt>
                <c:pt idx="918">
                  <c:v>1393-10-23</c:v>
                </c:pt>
                <c:pt idx="919">
                  <c:v>1393-10-24</c:v>
                </c:pt>
                <c:pt idx="920">
                  <c:v>1393-10-27</c:v>
                </c:pt>
                <c:pt idx="921">
                  <c:v>1393-10-28</c:v>
                </c:pt>
                <c:pt idx="922">
                  <c:v>1393-10-29</c:v>
                </c:pt>
                <c:pt idx="923">
                  <c:v>1393-10-30</c:v>
                </c:pt>
                <c:pt idx="924">
                  <c:v>1393-11-01</c:v>
                </c:pt>
                <c:pt idx="925">
                  <c:v>1393-11-04</c:v>
                </c:pt>
                <c:pt idx="926">
                  <c:v>1393-11-05</c:v>
                </c:pt>
                <c:pt idx="927">
                  <c:v>1393-11-06</c:v>
                </c:pt>
                <c:pt idx="928">
                  <c:v>1393-11-07</c:v>
                </c:pt>
                <c:pt idx="929">
                  <c:v>1393-11-08</c:v>
                </c:pt>
                <c:pt idx="930">
                  <c:v>1393-11-11</c:v>
                </c:pt>
                <c:pt idx="931">
                  <c:v>1393-11-12</c:v>
                </c:pt>
                <c:pt idx="932">
                  <c:v>1393-11-13</c:v>
                </c:pt>
                <c:pt idx="933">
                  <c:v>1393-11-14</c:v>
                </c:pt>
                <c:pt idx="934">
                  <c:v>1393-11-15</c:v>
                </c:pt>
                <c:pt idx="935">
                  <c:v>1393-11-18</c:v>
                </c:pt>
                <c:pt idx="936">
                  <c:v>1393-11-19</c:v>
                </c:pt>
                <c:pt idx="937">
                  <c:v>1393-11-20</c:v>
                </c:pt>
                <c:pt idx="938">
                  <c:v>1393-11-21</c:v>
                </c:pt>
                <c:pt idx="939">
                  <c:v>1393-11-25</c:v>
                </c:pt>
                <c:pt idx="940">
                  <c:v>1393-11-26</c:v>
                </c:pt>
                <c:pt idx="941">
                  <c:v>1393-11-27</c:v>
                </c:pt>
                <c:pt idx="942">
                  <c:v>1393-11-28</c:v>
                </c:pt>
                <c:pt idx="943">
                  <c:v>1393-11-29</c:v>
                </c:pt>
                <c:pt idx="944">
                  <c:v>1393-12-02</c:v>
                </c:pt>
                <c:pt idx="945">
                  <c:v>1393-12-03</c:v>
                </c:pt>
                <c:pt idx="946">
                  <c:v>1393-12-04</c:v>
                </c:pt>
                <c:pt idx="947">
                  <c:v>1393-12-05</c:v>
                </c:pt>
                <c:pt idx="948">
                  <c:v>1393-12-06</c:v>
                </c:pt>
                <c:pt idx="949">
                  <c:v>1393-12-09</c:v>
                </c:pt>
                <c:pt idx="950">
                  <c:v>1393-12-10</c:v>
                </c:pt>
                <c:pt idx="951">
                  <c:v>1393-12-11</c:v>
                </c:pt>
                <c:pt idx="952">
                  <c:v>1393-12-12</c:v>
                </c:pt>
                <c:pt idx="953">
                  <c:v>1393-12-13</c:v>
                </c:pt>
                <c:pt idx="954">
                  <c:v>1393-12-16</c:v>
                </c:pt>
                <c:pt idx="955">
                  <c:v>1393-12-17</c:v>
                </c:pt>
                <c:pt idx="956">
                  <c:v>1393-12-18</c:v>
                </c:pt>
                <c:pt idx="957">
                  <c:v>1393-12-19</c:v>
                </c:pt>
                <c:pt idx="958">
                  <c:v>1393-12-20</c:v>
                </c:pt>
                <c:pt idx="959">
                  <c:v>1393-12-23</c:v>
                </c:pt>
                <c:pt idx="960">
                  <c:v>1393-12-24</c:v>
                </c:pt>
                <c:pt idx="961">
                  <c:v>1393-12-25</c:v>
                </c:pt>
                <c:pt idx="962">
                  <c:v>1393-12-26</c:v>
                </c:pt>
                <c:pt idx="963">
                  <c:v>1393-12-27</c:v>
                </c:pt>
                <c:pt idx="964">
                  <c:v>1394-01-05</c:v>
                </c:pt>
                <c:pt idx="965">
                  <c:v>1394-01-08</c:v>
                </c:pt>
                <c:pt idx="966">
                  <c:v>1394-01-09</c:v>
                </c:pt>
                <c:pt idx="967">
                  <c:v>1394-01-10</c:v>
                </c:pt>
                <c:pt idx="968">
                  <c:v>1394-01-11</c:v>
                </c:pt>
                <c:pt idx="969">
                  <c:v>1394-01-15</c:v>
                </c:pt>
                <c:pt idx="970">
                  <c:v>1394-01-16</c:v>
                </c:pt>
                <c:pt idx="971">
                  <c:v>1394-01-17</c:v>
                </c:pt>
                <c:pt idx="972">
                  <c:v>1394-01-18</c:v>
                </c:pt>
                <c:pt idx="973">
                  <c:v>1394-01-19</c:v>
                </c:pt>
                <c:pt idx="974">
                  <c:v>1394-01-22</c:v>
                </c:pt>
                <c:pt idx="975">
                  <c:v>1394-01-23</c:v>
                </c:pt>
                <c:pt idx="976">
                  <c:v>1394-01-24</c:v>
                </c:pt>
                <c:pt idx="977">
                  <c:v>1394-01-25</c:v>
                </c:pt>
                <c:pt idx="978">
                  <c:v>1394-01-26</c:v>
                </c:pt>
                <c:pt idx="979">
                  <c:v>1394-01-29</c:v>
                </c:pt>
                <c:pt idx="980">
                  <c:v>1394-01-30</c:v>
                </c:pt>
                <c:pt idx="981">
                  <c:v>1394-01-31</c:v>
                </c:pt>
                <c:pt idx="982">
                  <c:v>1394-02-01</c:v>
                </c:pt>
                <c:pt idx="983">
                  <c:v>1394-02-02</c:v>
                </c:pt>
                <c:pt idx="984">
                  <c:v>1394-02-05</c:v>
                </c:pt>
                <c:pt idx="985">
                  <c:v>1394-02-06</c:v>
                </c:pt>
                <c:pt idx="986">
                  <c:v>1394-02-07</c:v>
                </c:pt>
                <c:pt idx="987">
                  <c:v>1394-02-08</c:v>
                </c:pt>
                <c:pt idx="988">
                  <c:v>1394-02-09</c:v>
                </c:pt>
                <c:pt idx="989">
                  <c:v>1394-02-13</c:v>
                </c:pt>
                <c:pt idx="990">
                  <c:v>1394-02-14</c:v>
                </c:pt>
                <c:pt idx="991">
                  <c:v>1394-02-15</c:v>
                </c:pt>
                <c:pt idx="992">
                  <c:v>1394-02-16</c:v>
                </c:pt>
                <c:pt idx="993">
                  <c:v>1394-02-19</c:v>
                </c:pt>
                <c:pt idx="994">
                  <c:v>1394-02-20</c:v>
                </c:pt>
                <c:pt idx="995">
                  <c:v>1394-02-21</c:v>
                </c:pt>
                <c:pt idx="996">
                  <c:v>1394-02-22</c:v>
                </c:pt>
                <c:pt idx="997">
                  <c:v>1394-02-23</c:v>
                </c:pt>
                <c:pt idx="998">
                  <c:v>1394-02-27</c:v>
                </c:pt>
                <c:pt idx="999">
                  <c:v>1394-02-28</c:v>
                </c:pt>
                <c:pt idx="1000">
                  <c:v>1394-02-29</c:v>
                </c:pt>
                <c:pt idx="1001">
                  <c:v>1394-02-30</c:v>
                </c:pt>
                <c:pt idx="1002">
                  <c:v>1394-03-02</c:v>
                </c:pt>
                <c:pt idx="1003">
                  <c:v>1394-03-03</c:v>
                </c:pt>
                <c:pt idx="1004">
                  <c:v>1394-03-04</c:v>
                </c:pt>
                <c:pt idx="1005">
                  <c:v>1394-03-05</c:v>
                </c:pt>
                <c:pt idx="1006">
                  <c:v>1394-03-06</c:v>
                </c:pt>
                <c:pt idx="1007">
                  <c:v>1394-03-09</c:v>
                </c:pt>
                <c:pt idx="1008">
                  <c:v>1394-03-10</c:v>
                </c:pt>
                <c:pt idx="1009">
                  <c:v>1394-03-11</c:v>
                </c:pt>
                <c:pt idx="1010">
                  <c:v>1394-03-12</c:v>
                </c:pt>
                <c:pt idx="1011">
                  <c:v>1394-03-16</c:v>
                </c:pt>
                <c:pt idx="1012">
                  <c:v>1394-03-17</c:v>
                </c:pt>
                <c:pt idx="1013">
                  <c:v>1394-03-18</c:v>
                </c:pt>
                <c:pt idx="1014">
                  <c:v>1394-03-19</c:v>
                </c:pt>
                <c:pt idx="1015">
                  <c:v>1394-03-20</c:v>
                </c:pt>
                <c:pt idx="1016">
                  <c:v>1394-03-23</c:v>
                </c:pt>
                <c:pt idx="1017">
                  <c:v>1394-03-24</c:v>
                </c:pt>
                <c:pt idx="1018">
                  <c:v>1394-03-25</c:v>
                </c:pt>
                <c:pt idx="1019">
                  <c:v>1394-03-26</c:v>
                </c:pt>
                <c:pt idx="1020">
                  <c:v>1394-03-27</c:v>
                </c:pt>
                <c:pt idx="1021">
                  <c:v>1394-03-30</c:v>
                </c:pt>
                <c:pt idx="1022">
                  <c:v>1394-03-31</c:v>
                </c:pt>
                <c:pt idx="1023">
                  <c:v>1394-04-01</c:v>
                </c:pt>
                <c:pt idx="1024">
                  <c:v>1394-04-02</c:v>
                </c:pt>
                <c:pt idx="1025">
                  <c:v>1394-04-03</c:v>
                </c:pt>
                <c:pt idx="1026">
                  <c:v>1394-04-06</c:v>
                </c:pt>
                <c:pt idx="1027">
                  <c:v>1394-04-07</c:v>
                </c:pt>
                <c:pt idx="1028">
                  <c:v>1394-04-08</c:v>
                </c:pt>
                <c:pt idx="1029">
                  <c:v>1394-04-09</c:v>
                </c:pt>
                <c:pt idx="1030">
                  <c:v>1394-04-10</c:v>
                </c:pt>
                <c:pt idx="1031">
                  <c:v>1394-04-13</c:v>
                </c:pt>
                <c:pt idx="1032">
                  <c:v>1394-04-14</c:v>
                </c:pt>
                <c:pt idx="1033">
                  <c:v>1394-04-15</c:v>
                </c:pt>
                <c:pt idx="1034">
                  <c:v>1394-04-16</c:v>
                </c:pt>
                <c:pt idx="1035">
                  <c:v>1394-04-20</c:v>
                </c:pt>
                <c:pt idx="1036">
                  <c:v>1394-04-21</c:v>
                </c:pt>
                <c:pt idx="1037">
                  <c:v>1394-04-22</c:v>
                </c:pt>
                <c:pt idx="1038">
                  <c:v>1394-04-23</c:v>
                </c:pt>
                <c:pt idx="1039">
                  <c:v>1394-04-24</c:v>
                </c:pt>
                <c:pt idx="1040">
                  <c:v>1394-04-29</c:v>
                </c:pt>
                <c:pt idx="1041">
                  <c:v>1394-04-30</c:v>
                </c:pt>
                <c:pt idx="1042">
                  <c:v>1394-04-31</c:v>
                </c:pt>
                <c:pt idx="1043">
                  <c:v>1394-05-03</c:v>
                </c:pt>
                <c:pt idx="1044">
                  <c:v>1394-05-04</c:v>
                </c:pt>
                <c:pt idx="1045">
                  <c:v>1394-05-05</c:v>
                </c:pt>
                <c:pt idx="1046">
                  <c:v>1394-05-06</c:v>
                </c:pt>
                <c:pt idx="1047">
                  <c:v>1394-05-07</c:v>
                </c:pt>
                <c:pt idx="1048">
                  <c:v>1394-05-10</c:v>
                </c:pt>
                <c:pt idx="1049">
                  <c:v>1394-05-11</c:v>
                </c:pt>
                <c:pt idx="1050">
                  <c:v>1394-05-12</c:v>
                </c:pt>
                <c:pt idx="1051">
                  <c:v>1394-05-13</c:v>
                </c:pt>
                <c:pt idx="1052">
                  <c:v>1394-05-14</c:v>
                </c:pt>
                <c:pt idx="1053">
                  <c:v>1394-05-17</c:v>
                </c:pt>
                <c:pt idx="1054">
                  <c:v>1394-05-18</c:v>
                </c:pt>
                <c:pt idx="1055">
                  <c:v>1394-05-19</c:v>
                </c:pt>
                <c:pt idx="1056">
                  <c:v>1394-05-21</c:v>
                </c:pt>
                <c:pt idx="1057">
                  <c:v>1394-05-24</c:v>
                </c:pt>
                <c:pt idx="1058">
                  <c:v>1394-05-25</c:v>
                </c:pt>
                <c:pt idx="1059">
                  <c:v>1394-05-26</c:v>
                </c:pt>
                <c:pt idx="1060">
                  <c:v>1394-05-27</c:v>
                </c:pt>
                <c:pt idx="1061">
                  <c:v>1394-05-28</c:v>
                </c:pt>
                <c:pt idx="1062">
                  <c:v>1394-05-31</c:v>
                </c:pt>
                <c:pt idx="1063">
                  <c:v>1394-06-01</c:v>
                </c:pt>
                <c:pt idx="1064">
                  <c:v>1394-06-02</c:v>
                </c:pt>
                <c:pt idx="1065">
                  <c:v>1394-06-03</c:v>
                </c:pt>
                <c:pt idx="1066">
                  <c:v>1394-06-04</c:v>
                </c:pt>
                <c:pt idx="1067">
                  <c:v>1394-06-07</c:v>
                </c:pt>
                <c:pt idx="1068">
                  <c:v>1394-06-08</c:v>
                </c:pt>
                <c:pt idx="1069">
                  <c:v>1394-06-09</c:v>
                </c:pt>
                <c:pt idx="1070">
                  <c:v>1394-06-10</c:v>
                </c:pt>
                <c:pt idx="1071">
                  <c:v>1394-06-11</c:v>
                </c:pt>
                <c:pt idx="1072">
                  <c:v>1394-06-14</c:v>
                </c:pt>
                <c:pt idx="1073">
                  <c:v>1394-06-15</c:v>
                </c:pt>
                <c:pt idx="1074">
                  <c:v>1394-06-16</c:v>
                </c:pt>
                <c:pt idx="1075">
                  <c:v>1394-06-17</c:v>
                </c:pt>
                <c:pt idx="1076">
                  <c:v>1394-06-18</c:v>
                </c:pt>
                <c:pt idx="1077">
                  <c:v>1394-06-21</c:v>
                </c:pt>
                <c:pt idx="1078">
                  <c:v>1394-06-22</c:v>
                </c:pt>
                <c:pt idx="1079">
                  <c:v>1394-06-23</c:v>
                </c:pt>
                <c:pt idx="1080">
                  <c:v>1394-06-24</c:v>
                </c:pt>
                <c:pt idx="1081">
                  <c:v>1394-06-25</c:v>
                </c:pt>
                <c:pt idx="1082">
                  <c:v>1394-06-28</c:v>
                </c:pt>
                <c:pt idx="1083">
                  <c:v>1394-06-29</c:v>
                </c:pt>
                <c:pt idx="1084">
                  <c:v>1394-06-30</c:v>
                </c:pt>
                <c:pt idx="1085">
                  <c:v>1394-06-31</c:v>
                </c:pt>
                <c:pt idx="1086">
                  <c:v>1394-07-01</c:v>
                </c:pt>
                <c:pt idx="1087">
                  <c:v>1394-07-04</c:v>
                </c:pt>
                <c:pt idx="1088">
                  <c:v>1394-07-05</c:v>
                </c:pt>
                <c:pt idx="1089">
                  <c:v>1394-07-06</c:v>
                </c:pt>
                <c:pt idx="1090">
                  <c:v>1394-07-07</c:v>
                </c:pt>
                <c:pt idx="1091">
                  <c:v>1394-07-08</c:v>
                </c:pt>
                <c:pt idx="1092">
                  <c:v>1394-07-11</c:v>
                </c:pt>
                <c:pt idx="1093">
                  <c:v>1394-07-12</c:v>
                </c:pt>
                <c:pt idx="1094">
                  <c:v>1394-07-13</c:v>
                </c:pt>
                <c:pt idx="1095">
                  <c:v>1394-07-14</c:v>
                </c:pt>
                <c:pt idx="1096">
                  <c:v>1394-07-15</c:v>
                </c:pt>
                <c:pt idx="1097">
                  <c:v>1394-07-18</c:v>
                </c:pt>
                <c:pt idx="1098">
                  <c:v>1394-07-19</c:v>
                </c:pt>
                <c:pt idx="1099">
                  <c:v>1394-07-20</c:v>
                </c:pt>
                <c:pt idx="1100">
                  <c:v>1394-07-21</c:v>
                </c:pt>
                <c:pt idx="1101">
                  <c:v>1394-07-22</c:v>
                </c:pt>
                <c:pt idx="1102">
                  <c:v>1394-07-25</c:v>
                </c:pt>
                <c:pt idx="1103">
                  <c:v>1394-07-26</c:v>
                </c:pt>
                <c:pt idx="1104">
                  <c:v>1394-07-27</c:v>
                </c:pt>
                <c:pt idx="1105">
                  <c:v>1394-07-28</c:v>
                </c:pt>
                <c:pt idx="1106">
                  <c:v>1394-07-29</c:v>
                </c:pt>
                <c:pt idx="1107">
                  <c:v>1394-08-03</c:v>
                </c:pt>
                <c:pt idx="1108">
                  <c:v>1394-08-04</c:v>
                </c:pt>
                <c:pt idx="1109">
                  <c:v>1394-08-05</c:v>
                </c:pt>
                <c:pt idx="1110">
                  <c:v>1394-08-06</c:v>
                </c:pt>
                <c:pt idx="1111">
                  <c:v>1394-08-09</c:v>
                </c:pt>
                <c:pt idx="1112">
                  <c:v>1394-08-10</c:v>
                </c:pt>
                <c:pt idx="1113">
                  <c:v>1394-08-11</c:v>
                </c:pt>
                <c:pt idx="1114">
                  <c:v>1394-08-12</c:v>
                </c:pt>
                <c:pt idx="1115">
                  <c:v>1394-08-13</c:v>
                </c:pt>
                <c:pt idx="1116">
                  <c:v>1394-08-16</c:v>
                </c:pt>
                <c:pt idx="1117">
                  <c:v>1394-08-17</c:v>
                </c:pt>
                <c:pt idx="1118">
                  <c:v>1394-08-18</c:v>
                </c:pt>
                <c:pt idx="1119">
                  <c:v>1394-08-19</c:v>
                </c:pt>
                <c:pt idx="1120">
                  <c:v>1394-08-20</c:v>
                </c:pt>
                <c:pt idx="1121">
                  <c:v>1394-08-23</c:v>
                </c:pt>
                <c:pt idx="1122">
                  <c:v>1394-08-24</c:v>
                </c:pt>
                <c:pt idx="1123">
                  <c:v>1394-08-25</c:v>
                </c:pt>
                <c:pt idx="1124">
                  <c:v>1394-08-26</c:v>
                </c:pt>
                <c:pt idx="1125">
                  <c:v>1394-08-27</c:v>
                </c:pt>
                <c:pt idx="1126">
                  <c:v>1394-08-30</c:v>
                </c:pt>
                <c:pt idx="1127">
                  <c:v>1394-09-01</c:v>
                </c:pt>
                <c:pt idx="1128">
                  <c:v>1394-09-02</c:v>
                </c:pt>
                <c:pt idx="1129">
                  <c:v>1394-09-03</c:v>
                </c:pt>
                <c:pt idx="1130">
                  <c:v>1394-09-04</c:v>
                </c:pt>
                <c:pt idx="1131">
                  <c:v>1394-09-07</c:v>
                </c:pt>
                <c:pt idx="1132">
                  <c:v>1394-09-08</c:v>
                </c:pt>
                <c:pt idx="1133">
                  <c:v>1394-09-09</c:v>
                </c:pt>
                <c:pt idx="1134">
                  <c:v>1394-09-10</c:v>
                </c:pt>
                <c:pt idx="1135">
                  <c:v>1394-09-14</c:v>
                </c:pt>
                <c:pt idx="1136">
                  <c:v>1394-09-15</c:v>
                </c:pt>
                <c:pt idx="1137">
                  <c:v>1394-09-16</c:v>
                </c:pt>
                <c:pt idx="1138">
                  <c:v>1394-09-17</c:v>
                </c:pt>
                <c:pt idx="1139">
                  <c:v>1394-09-18</c:v>
                </c:pt>
                <c:pt idx="1140">
                  <c:v>1394-09-22</c:v>
                </c:pt>
                <c:pt idx="1141">
                  <c:v>1394-09-23</c:v>
                </c:pt>
                <c:pt idx="1142">
                  <c:v>1394-09-24</c:v>
                </c:pt>
                <c:pt idx="1143">
                  <c:v>1394-09-25</c:v>
                </c:pt>
                <c:pt idx="1144">
                  <c:v>1394-09-28</c:v>
                </c:pt>
                <c:pt idx="1145">
                  <c:v>1394-09-29</c:v>
                </c:pt>
                <c:pt idx="1146">
                  <c:v>1394-09-30</c:v>
                </c:pt>
                <c:pt idx="1147">
                  <c:v>1394-10-01</c:v>
                </c:pt>
                <c:pt idx="1148">
                  <c:v>1394-10-02</c:v>
                </c:pt>
                <c:pt idx="1149">
                  <c:v>1394-10-05</c:v>
                </c:pt>
                <c:pt idx="1150">
                  <c:v>1394-10-06</c:v>
                </c:pt>
                <c:pt idx="1151">
                  <c:v>1394-10-07</c:v>
                </c:pt>
                <c:pt idx="1152">
                  <c:v>1394-10-09</c:v>
                </c:pt>
                <c:pt idx="1153">
                  <c:v>1394-10-12</c:v>
                </c:pt>
                <c:pt idx="1154">
                  <c:v>1394-10-13</c:v>
                </c:pt>
                <c:pt idx="1155">
                  <c:v>1394-10-14</c:v>
                </c:pt>
                <c:pt idx="1156">
                  <c:v>1394-10-15</c:v>
                </c:pt>
                <c:pt idx="1157">
                  <c:v>1394-10-16</c:v>
                </c:pt>
                <c:pt idx="1158">
                  <c:v>1394-10-19</c:v>
                </c:pt>
                <c:pt idx="1159">
                  <c:v>1394-10-20</c:v>
                </c:pt>
                <c:pt idx="1160">
                  <c:v>1394-10-21</c:v>
                </c:pt>
                <c:pt idx="1161">
                  <c:v>1394-10-22</c:v>
                </c:pt>
                <c:pt idx="1162">
                  <c:v>1394-10-23</c:v>
                </c:pt>
                <c:pt idx="1163">
                  <c:v>1394-10-26</c:v>
                </c:pt>
                <c:pt idx="1164">
                  <c:v>1394-10-27</c:v>
                </c:pt>
                <c:pt idx="1165">
                  <c:v>1394-10-28</c:v>
                </c:pt>
                <c:pt idx="1166">
                  <c:v>1394-10-29</c:v>
                </c:pt>
                <c:pt idx="1167">
                  <c:v>1394-10-30</c:v>
                </c:pt>
                <c:pt idx="1168">
                  <c:v>1394-11-03</c:v>
                </c:pt>
                <c:pt idx="1169">
                  <c:v>1394-11-04</c:v>
                </c:pt>
                <c:pt idx="1170">
                  <c:v>1394-11-05</c:v>
                </c:pt>
                <c:pt idx="1171">
                  <c:v>1394-11-06</c:v>
                </c:pt>
                <c:pt idx="1172">
                  <c:v>1394-11-07</c:v>
                </c:pt>
                <c:pt idx="1173">
                  <c:v>1394-11-10</c:v>
                </c:pt>
                <c:pt idx="1174">
                  <c:v>1394-11-11</c:v>
                </c:pt>
                <c:pt idx="1175">
                  <c:v>1394-11-12</c:v>
                </c:pt>
                <c:pt idx="1176">
                  <c:v>1394-11-13</c:v>
                </c:pt>
                <c:pt idx="1177">
                  <c:v>1394-11-14</c:v>
                </c:pt>
                <c:pt idx="1178">
                  <c:v>1394-11-17</c:v>
                </c:pt>
                <c:pt idx="1179">
                  <c:v>1394-11-18</c:v>
                </c:pt>
                <c:pt idx="1180">
                  <c:v>1394-11-19</c:v>
                </c:pt>
                <c:pt idx="1181">
                  <c:v>1394-11-20</c:v>
                </c:pt>
                <c:pt idx="1182">
                  <c:v>1394-11-21</c:v>
                </c:pt>
                <c:pt idx="1183">
                  <c:v>1394-11-24</c:v>
                </c:pt>
                <c:pt idx="1184">
                  <c:v>1394-11-25</c:v>
                </c:pt>
                <c:pt idx="1185">
                  <c:v>1394-11-26</c:v>
                </c:pt>
                <c:pt idx="1186">
                  <c:v>1394-11-27</c:v>
                </c:pt>
                <c:pt idx="1187">
                  <c:v>1394-11-28</c:v>
                </c:pt>
                <c:pt idx="1188">
                  <c:v>1394-12-01</c:v>
                </c:pt>
                <c:pt idx="1189">
                  <c:v>1394-12-02</c:v>
                </c:pt>
                <c:pt idx="1190">
                  <c:v>1394-12-03</c:v>
                </c:pt>
                <c:pt idx="1191">
                  <c:v>1394-12-04</c:v>
                </c:pt>
                <c:pt idx="1192">
                  <c:v>1394-12-05</c:v>
                </c:pt>
                <c:pt idx="1193">
                  <c:v>1394-12-08</c:v>
                </c:pt>
                <c:pt idx="1194">
                  <c:v>1394-12-09</c:v>
                </c:pt>
                <c:pt idx="1195">
                  <c:v>1394-12-10</c:v>
                </c:pt>
                <c:pt idx="1196">
                  <c:v>1394-12-11</c:v>
                </c:pt>
                <c:pt idx="1197">
                  <c:v>1394-12-12</c:v>
                </c:pt>
                <c:pt idx="1198">
                  <c:v>1394-12-15</c:v>
                </c:pt>
                <c:pt idx="1199">
                  <c:v>1394-12-16</c:v>
                </c:pt>
                <c:pt idx="1200">
                  <c:v>1394-12-17</c:v>
                </c:pt>
                <c:pt idx="1201">
                  <c:v>1394-12-18</c:v>
                </c:pt>
                <c:pt idx="1202">
                  <c:v>1394-12-19</c:v>
                </c:pt>
                <c:pt idx="1203">
                  <c:v>1394-12-22</c:v>
                </c:pt>
                <c:pt idx="1204">
                  <c:v>1394-12-24</c:v>
                </c:pt>
                <c:pt idx="1205">
                  <c:v>1394-12-25</c:v>
                </c:pt>
                <c:pt idx="1206">
                  <c:v>1394-12-26</c:v>
                </c:pt>
                <c:pt idx="1207">
                  <c:v>1395-01-07</c:v>
                </c:pt>
                <c:pt idx="1208">
                  <c:v>1395-01-08</c:v>
                </c:pt>
                <c:pt idx="1209">
                  <c:v>1395-01-09</c:v>
                </c:pt>
                <c:pt idx="1210">
                  <c:v>1395-01-10</c:v>
                </c:pt>
                <c:pt idx="1211">
                  <c:v>1395-01-11</c:v>
                </c:pt>
                <c:pt idx="1212">
                  <c:v>1395-01-14</c:v>
                </c:pt>
                <c:pt idx="1213">
                  <c:v>1395-01-15</c:v>
                </c:pt>
                <c:pt idx="1214">
                  <c:v>1395-01-16</c:v>
                </c:pt>
                <c:pt idx="1215">
                  <c:v>1395-01-17</c:v>
                </c:pt>
                <c:pt idx="1216">
                  <c:v>1395-01-18</c:v>
                </c:pt>
                <c:pt idx="1217">
                  <c:v>1395-01-21</c:v>
                </c:pt>
                <c:pt idx="1218">
                  <c:v>1395-01-22</c:v>
                </c:pt>
                <c:pt idx="1219">
                  <c:v>1395-01-23</c:v>
                </c:pt>
                <c:pt idx="1220">
                  <c:v>1395-01-24</c:v>
                </c:pt>
                <c:pt idx="1221">
                  <c:v>1395-01-25</c:v>
                </c:pt>
                <c:pt idx="1222">
                  <c:v>1395-01-28</c:v>
                </c:pt>
                <c:pt idx="1223">
                  <c:v>1395-01-29</c:v>
                </c:pt>
                <c:pt idx="1224">
                  <c:v>1395-01-30</c:v>
                </c:pt>
                <c:pt idx="1225">
                  <c:v>1395-01-31</c:v>
                </c:pt>
                <c:pt idx="1226">
                  <c:v>1395-02-01</c:v>
                </c:pt>
                <c:pt idx="1227">
                  <c:v>1395-02-04</c:v>
                </c:pt>
                <c:pt idx="1228">
                  <c:v>1395-02-05</c:v>
                </c:pt>
                <c:pt idx="1229">
                  <c:v>1395-02-06</c:v>
                </c:pt>
                <c:pt idx="1230">
                  <c:v>1395-02-07</c:v>
                </c:pt>
                <c:pt idx="1231">
                  <c:v>1395-02-08</c:v>
                </c:pt>
                <c:pt idx="1232">
                  <c:v>1395-02-11</c:v>
                </c:pt>
                <c:pt idx="1233">
                  <c:v>1395-02-12</c:v>
                </c:pt>
                <c:pt idx="1234">
                  <c:v>1395-02-13</c:v>
                </c:pt>
                <c:pt idx="1235">
                  <c:v>1395-02-14</c:v>
                </c:pt>
                <c:pt idx="1236">
                  <c:v>1395-02-15</c:v>
                </c:pt>
                <c:pt idx="1237">
                  <c:v>1395-02-18</c:v>
                </c:pt>
                <c:pt idx="1238">
                  <c:v>1395-02-19</c:v>
                </c:pt>
                <c:pt idx="1239">
                  <c:v>1395-02-20</c:v>
                </c:pt>
                <c:pt idx="1240">
                  <c:v>1395-02-21</c:v>
                </c:pt>
                <c:pt idx="1241">
                  <c:v>1395-02-22</c:v>
                </c:pt>
                <c:pt idx="1242">
                  <c:v>1395-02-25</c:v>
                </c:pt>
                <c:pt idx="1243">
                  <c:v>1395-02-26</c:v>
                </c:pt>
                <c:pt idx="1244">
                  <c:v>1395-02-27</c:v>
                </c:pt>
                <c:pt idx="1245">
                  <c:v>1395-02-28</c:v>
                </c:pt>
                <c:pt idx="1246">
                  <c:v>1395-02-29</c:v>
                </c:pt>
                <c:pt idx="1247">
                  <c:v>1395-03-01</c:v>
                </c:pt>
                <c:pt idx="1248">
                  <c:v>1395-03-03</c:v>
                </c:pt>
                <c:pt idx="1249">
                  <c:v>1395-03-04</c:v>
                </c:pt>
                <c:pt idx="1250">
                  <c:v>1395-03-05</c:v>
                </c:pt>
                <c:pt idx="1251">
                  <c:v>1395-03-08</c:v>
                </c:pt>
                <c:pt idx="1252">
                  <c:v>1395-03-09</c:v>
                </c:pt>
                <c:pt idx="1253">
                  <c:v>1395-03-10</c:v>
                </c:pt>
                <c:pt idx="1254">
                  <c:v>1395-03-11</c:v>
                </c:pt>
                <c:pt idx="1255">
                  <c:v>1395-03-12</c:v>
                </c:pt>
                <c:pt idx="1256">
                  <c:v>1395-03-16</c:v>
                </c:pt>
                <c:pt idx="1257">
                  <c:v>1395-03-17</c:v>
                </c:pt>
                <c:pt idx="1258">
                  <c:v>1395-03-18</c:v>
                </c:pt>
                <c:pt idx="1259">
                  <c:v>1395-03-19</c:v>
                </c:pt>
                <c:pt idx="1260">
                  <c:v>1395-03-22</c:v>
                </c:pt>
                <c:pt idx="1261">
                  <c:v>1395-03-23</c:v>
                </c:pt>
                <c:pt idx="1262">
                  <c:v>1395-03-24</c:v>
                </c:pt>
                <c:pt idx="1263">
                  <c:v>1395-03-25</c:v>
                </c:pt>
                <c:pt idx="1264">
                  <c:v>1395-03-26</c:v>
                </c:pt>
                <c:pt idx="1265">
                  <c:v>1395-03-29</c:v>
                </c:pt>
                <c:pt idx="1266">
                  <c:v>1395-03-30</c:v>
                </c:pt>
                <c:pt idx="1267">
                  <c:v>1395-03-31</c:v>
                </c:pt>
                <c:pt idx="1268">
                  <c:v>1395-04-01</c:v>
                </c:pt>
                <c:pt idx="1269">
                  <c:v>1395-04-02</c:v>
                </c:pt>
                <c:pt idx="1270">
                  <c:v>1395-04-05</c:v>
                </c:pt>
                <c:pt idx="1271">
                  <c:v>1395-04-06</c:v>
                </c:pt>
                <c:pt idx="1272">
                  <c:v>1395-04-08</c:v>
                </c:pt>
                <c:pt idx="1273">
                  <c:v>1395-04-09</c:v>
                </c:pt>
                <c:pt idx="1274">
                  <c:v>1395-04-12</c:v>
                </c:pt>
                <c:pt idx="1275">
                  <c:v>1395-04-13</c:v>
                </c:pt>
                <c:pt idx="1276">
                  <c:v>1395-04-14</c:v>
                </c:pt>
                <c:pt idx="1277">
                  <c:v>1395-04-15</c:v>
                </c:pt>
                <c:pt idx="1278">
                  <c:v>1395-04-19</c:v>
                </c:pt>
                <c:pt idx="1279">
                  <c:v>1395-04-20</c:v>
                </c:pt>
                <c:pt idx="1280">
                  <c:v>1395-04-21</c:v>
                </c:pt>
                <c:pt idx="1281">
                  <c:v>1395-04-22</c:v>
                </c:pt>
                <c:pt idx="1282">
                  <c:v>1395-04-23</c:v>
                </c:pt>
                <c:pt idx="1283">
                  <c:v>1395-04-26</c:v>
                </c:pt>
                <c:pt idx="1284">
                  <c:v>1395-04-27</c:v>
                </c:pt>
                <c:pt idx="1285">
                  <c:v>1395-04-28</c:v>
                </c:pt>
                <c:pt idx="1286">
                  <c:v>1395-04-29</c:v>
                </c:pt>
                <c:pt idx="1287">
                  <c:v>1395-04-30</c:v>
                </c:pt>
                <c:pt idx="1288">
                  <c:v>1395-05-02</c:v>
                </c:pt>
                <c:pt idx="1289">
                  <c:v>1395-05-03</c:v>
                </c:pt>
                <c:pt idx="1290">
                  <c:v>1395-05-04</c:v>
                </c:pt>
                <c:pt idx="1291">
                  <c:v>1395-05-05</c:v>
                </c:pt>
                <c:pt idx="1292">
                  <c:v>1395-05-06</c:v>
                </c:pt>
                <c:pt idx="1293">
                  <c:v>1395-05-10</c:v>
                </c:pt>
                <c:pt idx="1294">
                  <c:v>1395-05-11</c:v>
                </c:pt>
                <c:pt idx="1295">
                  <c:v>1395-05-12</c:v>
                </c:pt>
                <c:pt idx="1296">
                  <c:v>1395-05-13</c:v>
                </c:pt>
                <c:pt idx="1297">
                  <c:v>1395-05-16</c:v>
                </c:pt>
                <c:pt idx="1298">
                  <c:v>1395-05-17</c:v>
                </c:pt>
                <c:pt idx="1299">
                  <c:v>1395-05-18</c:v>
                </c:pt>
                <c:pt idx="1300">
                  <c:v>1395-05-19</c:v>
                </c:pt>
                <c:pt idx="1301">
                  <c:v>1395-05-20</c:v>
                </c:pt>
                <c:pt idx="1302">
                  <c:v>1395-05-23</c:v>
                </c:pt>
                <c:pt idx="1303">
                  <c:v>1395-05-24</c:v>
                </c:pt>
                <c:pt idx="1304">
                  <c:v>1395-05-25</c:v>
                </c:pt>
                <c:pt idx="1305">
                  <c:v>1395-05-26</c:v>
                </c:pt>
                <c:pt idx="1306">
                  <c:v>1395-05-27</c:v>
                </c:pt>
                <c:pt idx="1307">
                  <c:v>1395-05-30</c:v>
                </c:pt>
                <c:pt idx="1308">
                  <c:v>1395-05-31</c:v>
                </c:pt>
                <c:pt idx="1309">
                  <c:v>1395-06-01</c:v>
                </c:pt>
                <c:pt idx="1310">
                  <c:v>1395-06-02</c:v>
                </c:pt>
                <c:pt idx="1311">
                  <c:v>1395-06-03</c:v>
                </c:pt>
                <c:pt idx="1312">
                  <c:v>1395-06-06</c:v>
                </c:pt>
                <c:pt idx="1313">
                  <c:v>1395-06-07</c:v>
                </c:pt>
                <c:pt idx="1314">
                  <c:v>1395-06-08</c:v>
                </c:pt>
                <c:pt idx="1315">
                  <c:v>1395-06-09</c:v>
                </c:pt>
                <c:pt idx="1316">
                  <c:v>1395-06-10</c:v>
                </c:pt>
                <c:pt idx="1317">
                  <c:v>1395-06-13</c:v>
                </c:pt>
                <c:pt idx="1318">
                  <c:v>1395-06-14</c:v>
                </c:pt>
                <c:pt idx="1319">
                  <c:v>1395-06-15</c:v>
                </c:pt>
                <c:pt idx="1320">
                  <c:v>1395-06-16</c:v>
                </c:pt>
                <c:pt idx="1321">
                  <c:v>1395-06-17</c:v>
                </c:pt>
                <c:pt idx="1322">
                  <c:v>1395-06-20</c:v>
                </c:pt>
                <c:pt idx="1323">
                  <c:v>1395-06-21</c:v>
                </c:pt>
                <c:pt idx="1324">
                  <c:v>1395-06-23</c:v>
                </c:pt>
                <c:pt idx="1325">
                  <c:v>1395-06-24</c:v>
                </c:pt>
                <c:pt idx="1326">
                  <c:v>1395-06-27</c:v>
                </c:pt>
                <c:pt idx="1327">
                  <c:v>1395-06-28</c:v>
                </c:pt>
                <c:pt idx="1328">
                  <c:v>1395-06-29</c:v>
                </c:pt>
                <c:pt idx="1329">
                  <c:v>1395-06-31</c:v>
                </c:pt>
                <c:pt idx="1330">
                  <c:v>1395-07-03</c:v>
                </c:pt>
                <c:pt idx="1331">
                  <c:v>1395-07-04</c:v>
                </c:pt>
                <c:pt idx="1332">
                  <c:v>1395-07-05</c:v>
                </c:pt>
                <c:pt idx="1333">
                  <c:v>1395-07-06</c:v>
                </c:pt>
                <c:pt idx="1334">
                  <c:v>1395-07-07</c:v>
                </c:pt>
                <c:pt idx="1335">
                  <c:v>1395-07-10</c:v>
                </c:pt>
                <c:pt idx="1336">
                  <c:v>1395-07-11</c:v>
                </c:pt>
                <c:pt idx="1337">
                  <c:v>1395-07-12</c:v>
                </c:pt>
                <c:pt idx="1338">
                  <c:v>1395-07-13</c:v>
                </c:pt>
                <c:pt idx="1339">
                  <c:v>1395-07-14</c:v>
                </c:pt>
                <c:pt idx="1340">
                  <c:v>1395-07-17</c:v>
                </c:pt>
                <c:pt idx="1341">
                  <c:v>1395-07-18</c:v>
                </c:pt>
                <c:pt idx="1342">
                  <c:v>1395-07-19</c:v>
                </c:pt>
                <c:pt idx="1343">
                  <c:v>1395-07-24</c:v>
                </c:pt>
                <c:pt idx="1344">
                  <c:v>1395-07-25</c:v>
                </c:pt>
                <c:pt idx="1345">
                  <c:v>1395-07-26</c:v>
                </c:pt>
                <c:pt idx="1346">
                  <c:v>1395-07-27</c:v>
                </c:pt>
                <c:pt idx="1347">
                  <c:v>1395-07-28</c:v>
                </c:pt>
                <c:pt idx="1348">
                  <c:v>1395-08-01</c:v>
                </c:pt>
                <c:pt idx="1349">
                  <c:v>1395-08-02</c:v>
                </c:pt>
                <c:pt idx="1350">
                  <c:v>1395-08-03</c:v>
                </c:pt>
                <c:pt idx="1351">
                  <c:v>1395-08-04</c:v>
                </c:pt>
                <c:pt idx="1352">
                  <c:v>1395-08-05</c:v>
                </c:pt>
                <c:pt idx="1353">
                  <c:v>1395-08-08</c:v>
                </c:pt>
                <c:pt idx="1354">
                  <c:v>1395-08-09</c:v>
                </c:pt>
                <c:pt idx="1355">
                  <c:v>1395-08-10</c:v>
                </c:pt>
                <c:pt idx="1356">
                  <c:v>1395-08-11</c:v>
                </c:pt>
                <c:pt idx="1357">
                  <c:v>1395-08-12</c:v>
                </c:pt>
                <c:pt idx="1358">
                  <c:v>1395-08-15</c:v>
                </c:pt>
                <c:pt idx="1359">
                  <c:v>1395-08-16</c:v>
                </c:pt>
                <c:pt idx="1360">
                  <c:v>1395-08-17</c:v>
                </c:pt>
                <c:pt idx="1361">
                  <c:v>1395-08-18</c:v>
                </c:pt>
                <c:pt idx="1362">
                  <c:v>1395-08-19</c:v>
                </c:pt>
                <c:pt idx="1363">
                  <c:v>1395-08-22</c:v>
                </c:pt>
                <c:pt idx="1364">
                  <c:v>1395-08-23</c:v>
                </c:pt>
                <c:pt idx="1365">
                  <c:v>1395-08-24</c:v>
                </c:pt>
                <c:pt idx="1366">
                  <c:v>1395-08-25</c:v>
                </c:pt>
                <c:pt idx="1367">
                  <c:v>1395-08-26</c:v>
                </c:pt>
                <c:pt idx="1368">
                  <c:v>1395-08-29</c:v>
                </c:pt>
                <c:pt idx="1369">
                  <c:v>1395-09-01</c:v>
                </c:pt>
                <c:pt idx="1370">
                  <c:v>1395-09-02</c:v>
                </c:pt>
                <c:pt idx="1371">
                  <c:v>1395-09-03</c:v>
                </c:pt>
                <c:pt idx="1372">
                  <c:v>1395-09-06</c:v>
                </c:pt>
                <c:pt idx="1373">
                  <c:v>1395-09-07</c:v>
                </c:pt>
                <c:pt idx="1374">
                  <c:v>1395-09-09</c:v>
                </c:pt>
                <c:pt idx="1375">
                  <c:v>1395-09-13</c:v>
                </c:pt>
                <c:pt idx="1376">
                  <c:v>1395-09-14</c:v>
                </c:pt>
                <c:pt idx="1377">
                  <c:v>1395-09-15</c:v>
                </c:pt>
                <c:pt idx="1378">
                  <c:v>1395-09-16</c:v>
                </c:pt>
                <c:pt idx="1379">
                  <c:v>1395-09-17</c:v>
                </c:pt>
                <c:pt idx="1380">
                  <c:v>1395-09-20</c:v>
                </c:pt>
                <c:pt idx="1381">
                  <c:v>1395-09-21</c:v>
                </c:pt>
                <c:pt idx="1382">
                  <c:v>1395-09-22</c:v>
                </c:pt>
                <c:pt idx="1383">
                  <c:v>1395-09-23</c:v>
                </c:pt>
                <c:pt idx="1384">
                  <c:v>1395-09-24</c:v>
                </c:pt>
                <c:pt idx="1385">
                  <c:v>1395-09-28</c:v>
                </c:pt>
                <c:pt idx="1386">
                  <c:v>1395-09-29</c:v>
                </c:pt>
                <c:pt idx="1387">
                  <c:v>1395-09-30</c:v>
                </c:pt>
                <c:pt idx="1388">
                  <c:v>1395-10-01</c:v>
                </c:pt>
                <c:pt idx="1389">
                  <c:v>1395-10-04</c:v>
                </c:pt>
                <c:pt idx="1390">
                  <c:v>1395-10-05</c:v>
                </c:pt>
                <c:pt idx="1391">
                  <c:v>1395-10-06</c:v>
                </c:pt>
                <c:pt idx="1392">
                  <c:v>1395-10-07</c:v>
                </c:pt>
                <c:pt idx="1393">
                  <c:v>1395-10-08</c:v>
                </c:pt>
                <c:pt idx="1394">
                  <c:v>1395-10-11</c:v>
                </c:pt>
                <c:pt idx="1395">
                  <c:v>1395-10-12</c:v>
                </c:pt>
                <c:pt idx="1396">
                  <c:v>1395-10-13</c:v>
                </c:pt>
                <c:pt idx="1397">
                  <c:v>1395-10-14</c:v>
                </c:pt>
                <c:pt idx="1398">
                  <c:v>1395-10-15</c:v>
                </c:pt>
                <c:pt idx="1399">
                  <c:v>1395-10-18</c:v>
                </c:pt>
                <c:pt idx="1400">
                  <c:v>1395-10-19</c:v>
                </c:pt>
                <c:pt idx="1401">
                  <c:v>1395-10-20</c:v>
                </c:pt>
                <c:pt idx="1402">
                  <c:v>1395-10-22</c:v>
                </c:pt>
                <c:pt idx="1403">
                  <c:v>1395-10-25</c:v>
                </c:pt>
                <c:pt idx="1404">
                  <c:v>1395-10-26</c:v>
                </c:pt>
                <c:pt idx="1405">
                  <c:v>1395-10-27</c:v>
                </c:pt>
                <c:pt idx="1406">
                  <c:v>1395-10-28</c:v>
                </c:pt>
                <c:pt idx="1407">
                  <c:v>1395-10-29</c:v>
                </c:pt>
                <c:pt idx="1408">
                  <c:v>1395-11-02</c:v>
                </c:pt>
                <c:pt idx="1409">
                  <c:v>1395-11-03</c:v>
                </c:pt>
                <c:pt idx="1410">
                  <c:v>1395-11-04</c:v>
                </c:pt>
                <c:pt idx="1411">
                  <c:v>1395-11-05</c:v>
                </c:pt>
                <c:pt idx="1412">
                  <c:v>1395-11-06</c:v>
                </c:pt>
                <c:pt idx="1413">
                  <c:v>1395-11-09</c:v>
                </c:pt>
                <c:pt idx="1414">
                  <c:v>1395-11-10</c:v>
                </c:pt>
                <c:pt idx="1415">
                  <c:v>1395-11-11</c:v>
                </c:pt>
                <c:pt idx="1416">
                  <c:v>1395-11-12</c:v>
                </c:pt>
                <c:pt idx="1417">
                  <c:v>1395-11-13</c:v>
                </c:pt>
                <c:pt idx="1418">
                  <c:v>1395-11-16</c:v>
                </c:pt>
                <c:pt idx="1419">
                  <c:v>1395-11-17</c:v>
                </c:pt>
                <c:pt idx="1420">
                  <c:v>1395-11-18</c:v>
                </c:pt>
                <c:pt idx="1421">
                  <c:v>1395-11-19</c:v>
                </c:pt>
                <c:pt idx="1422">
                  <c:v>1395-11-20</c:v>
                </c:pt>
                <c:pt idx="1423">
                  <c:v>1395-11-23</c:v>
                </c:pt>
                <c:pt idx="1424">
                  <c:v>1395-11-24</c:v>
                </c:pt>
                <c:pt idx="1425">
                  <c:v>1395-11-25</c:v>
                </c:pt>
                <c:pt idx="1426">
                  <c:v>1395-11-26</c:v>
                </c:pt>
                <c:pt idx="1427">
                  <c:v>1395-11-27</c:v>
                </c:pt>
                <c:pt idx="1428">
                  <c:v>1395-11-30</c:v>
                </c:pt>
                <c:pt idx="1429">
                  <c:v>1395-12-01</c:v>
                </c:pt>
                <c:pt idx="1430">
                  <c:v>1395-12-02</c:v>
                </c:pt>
                <c:pt idx="1431">
                  <c:v>1395-12-03</c:v>
                </c:pt>
                <c:pt idx="1432">
                  <c:v>1395-12-04</c:v>
                </c:pt>
                <c:pt idx="1433">
                  <c:v>1395-12-07</c:v>
                </c:pt>
                <c:pt idx="1434">
                  <c:v>1395-12-08</c:v>
                </c:pt>
                <c:pt idx="1435">
                  <c:v>1395-12-09</c:v>
                </c:pt>
                <c:pt idx="1436">
                  <c:v>1395-12-10</c:v>
                </c:pt>
                <c:pt idx="1437">
                  <c:v>1395-12-11</c:v>
                </c:pt>
                <c:pt idx="1438">
                  <c:v>1395-12-14</c:v>
                </c:pt>
                <c:pt idx="1439">
                  <c:v>1395-12-15</c:v>
                </c:pt>
                <c:pt idx="1440">
                  <c:v>1395-12-16</c:v>
                </c:pt>
                <c:pt idx="1441">
                  <c:v>1395-12-17</c:v>
                </c:pt>
                <c:pt idx="1442">
                  <c:v>1395-12-18</c:v>
                </c:pt>
                <c:pt idx="1443">
                  <c:v>1395-12-21</c:v>
                </c:pt>
                <c:pt idx="1444">
                  <c:v>1395-12-22</c:v>
                </c:pt>
                <c:pt idx="1445">
                  <c:v>1395-12-23</c:v>
                </c:pt>
                <c:pt idx="1446">
                  <c:v>1395-12-24</c:v>
                </c:pt>
                <c:pt idx="1447">
                  <c:v>1395-12-25</c:v>
                </c:pt>
                <c:pt idx="1448">
                  <c:v>1395-12-28</c:v>
                </c:pt>
                <c:pt idx="1449">
                  <c:v>1396-01-05</c:v>
                </c:pt>
                <c:pt idx="1450">
                  <c:v>1396-01-06</c:v>
                </c:pt>
                <c:pt idx="1451">
                  <c:v>1396-01-07</c:v>
                </c:pt>
                <c:pt idx="1452">
                  <c:v>1396-01-08</c:v>
                </c:pt>
                <c:pt idx="1453">
                  <c:v>1396-01-09</c:v>
                </c:pt>
                <c:pt idx="1454">
                  <c:v>1396-01-14</c:v>
                </c:pt>
                <c:pt idx="1455">
                  <c:v>1396-01-15</c:v>
                </c:pt>
                <c:pt idx="1456">
                  <c:v>1396-01-16</c:v>
                </c:pt>
                <c:pt idx="1457">
                  <c:v>1396-01-19</c:v>
                </c:pt>
                <c:pt idx="1458">
                  <c:v>1396-01-20</c:v>
                </c:pt>
                <c:pt idx="1459">
                  <c:v>1396-01-21</c:v>
                </c:pt>
                <c:pt idx="1460">
                  <c:v>1396-01-23</c:v>
                </c:pt>
                <c:pt idx="1461">
                  <c:v>1396-01-26</c:v>
                </c:pt>
                <c:pt idx="1462">
                  <c:v>1396-01-27</c:v>
                </c:pt>
                <c:pt idx="1463">
                  <c:v>1396-01-28</c:v>
                </c:pt>
                <c:pt idx="1464">
                  <c:v>1396-01-29</c:v>
                </c:pt>
                <c:pt idx="1465">
                  <c:v>1396-01-30</c:v>
                </c:pt>
                <c:pt idx="1466">
                  <c:v>1396-02-02</c:v>
                </c:pt>
                <c:pt idx="1467">
                  <c:v>1396-02-03</c:v>
                </c:pt>
                <c:pt idx="1468">
                  <c:v>1396-02-04</c:v>
                </c:pt>
                <c:pt idx="1469">
                  <c:v>1396-02-06</c:v>
                </c:pt>
                <c:pt idx="1470">
                  <c:v>1396-02-09</c:v>
                </c:pt>
                <c:pt idx="1471">
                  <c:v>1396-02-10</c:v>
                </c:pt>
                <c:pt idx="1472">
                  <c:v>1396-02-11</c:v>
                </c:pt>
                <c:pt idx="1473">
                  <c:v>1396-02-12</c:v>
                </c:pt>
                <c:pt idx="1474">
                  <c:v>1396-02-13</c:v>
                </c:pt>
                <c:pt idx="1475">
                  <c:v>1396-02-16</c:v>
                </c:pt>
                <c:pt idx="1476">
                  <c:v>1396-02-17</c:v>
                </c:pt>
                <c:pt idx="1477">
                  <c:v>1396-02-18</c:v>
                </c:pt>
                <c:pt idx="1478">
                  <c:v>1396-02-19</c:v>
                </c:pt>
                <c:pt idx="1479">
                  <c:v>1396-02-20</c:v>
                </c:pt>
                <c:pt idx="1480">
                  <c:v>1396-02-23</c:v>
                </c:pt>
                <c:pt idx="1481">
                  <c:v>1396-02-24</c:v>
                </c:pt>
                <c:pt idx="1482">
                  <c:v>1396-02-25</c:v>
                </c:pt>
                <c:pt idx="1483">
                  <c:v>1396-02-26</c:v>
                </c:pt>
                <c:pt idx="1484">
                  <c:v>1396-02-27</c:v>
                </c:pt>
                <c:pt idx="1485">
                  <c:v>1396-02-30</c:v>
                </c:pt>
                <c:pt idx="1486">
                  <c:v>1396-02-31</c:v>
                </c:pt>
                <c:pt idx="1487">
                  <c:v>1396-03-01</c:v>
                </c:pt>
                <c:pt idx="1488">
                  <c:v>1396-03-02</c:v>
                </c:pt>
                <c:pt idx="1489">
                  <c:v>1396-03-03</c:v>
                </c:pt>
                <c:pt idx="1490">
                  <c:v>1396-03-06</c:v>
                </c:pt>
                <c:pt idx="1491">
                  <c:v>1396-03-07</c:v>
                </c:pt>
                <c:pt idx="1492">
                  <c:v>1396-03-08</c:v>
                </c:pt>
                <c:pt idx="1493">
                  <c:v>1396-03-09</c:v>
                </c:pt>
                <c:pt idx="1494">
                  <c:v>1396-03-10</c:v>
                </c:pt>
                <c:pt idx="1495">
                  <c:v>1396-03-13</c:v>
                </c:pt>
                <c:pt idx="1496">
                  <c:v>1396-03-16</c:v>
                </c:pt>
                <c:pt idx="1497">
                  <c:v>1396-03-17</c:v>
                </c:pt>
                <c:pt idx="1498">
                  <c:v>1396-03-20</c:v>
                </c:pt>
                <c:pt idx="1499">
                  <c:v>1396-03-21</c:v>
                </c:pt>
                <c:pt idx="1500">
                  <c:v>1396-03-22</c:v>
                </c:pt>
                <c:pt idx="1501">
                  <c:v>1396-03-23</c:v>
                </c:pt>
                <c:pt idx="1502">
                  <c:v>1396-03-24</c:v>
                </c:pt>
                <c:pt idx="1503">
                  <c:v>1396-03-27</c:v>
                </c:pt>
                <c:pt idx="1504">
                  <c:v>1396-03-28</c:v>
                </c:pt>
                <c:pt idx="1505">
                  <c:v>1396-03-29</c:v>
                </c:pt>
                <c:pt idx="1506">
                  <c:v>1396-03-30</c:v>
                </c:pt>
                <c:pt idx="1507">
                  <c:v>1396-03-31</c:v>
                </c:pt>
                <c:pt idx="1508">
                  <c:v>1396-04-03</c:v>
                </c:pt>
                <c:pt idx="1509">
                  <c:v>1396-04-04</c:v>
                </c:pt>
                <c:pt idx="1510">
                  <c:v>1396-04-07</c:v>
                </c:pt>
                <c:pt idx="1511">
                  <c:v>1396-04-10</c:v>
                </c:pt>
                <c:pt idx="1512">
                  <c:v>1396-04-11</c:v>
                </c:pt>
                <c:pt idx="1513">
                  <c:v>1396-04-12</c:v>
                </c:pt>
                <c:pt idx="1514">
                  <c:v>1396-04-13</c:v>
                </c:pt>
                <c:pt idx="1515">
                  <c:v>1396-04-14</c:v>
                </c:pt>
                <c:pt idx="1516">
                  <c:v>1396-04-17</c:v>
                </c:pt>
                <c:pt idx="1517">
                  <c:v>1396-04-18</c:v>
                </c:pt>
                <c:pt idx="1518">
                  <c:v>1396-04-19</c:v>
                </c:pt>
                <c:pt idx="1519">
                  <c:v>1396-04-20</c:v>
                </c:pt>
                <c:pt idx="1520">
                  <c:v>1396-04-21</c:v>
                </c:pt>
                <c:pt idx="1521">
                  <c:v>1396-04-24</c:v>
                </c:pt>
                <c:pt idx="1522">
                  <c:v>1396-04-25</c:v>
                </c:pt>
                <c:pt idx="1523">
                  <c:v>1396-04-26</c:v>
                </c:pt>
                <c:pt idx="1524">
                  <c:v>1396-04-27</c:v>
                </c:pt>
                <c:pt idx="1525">
                  <c:v>1396-04-31</c:v>
                </c:pt>
                <c:pt idx="1526">
                  <c:v>1396-05-01</c:v>
                </c:pt>
                <c:pt idx="1527">
                  <c:v>1396-05-02</c:v>
                </c:pt>
                <c:pt idx="1528">
                  <c:v>1396-05-03</c:v>
                </c:pt>
                <c:pt idx="1529">
                  <c:v>1396-05-04</c:v>
                </c:pt>
                <c:pt idx="1530">
                  <c:v>1396-05-07</c:v>
                </c:pt>
                <c:pt idx="1531">
                  <c:v>1396-05-08</c:v>
                </c:pt>
                <c:pt idx="1532">
                  <c:v>1396-05-09</c:v>
                </c:pt>
                <c:pt idx="1533">
                  <c:v>1396-05-10</c:v>
                </c:pt>
                <c:pt idx="1534">
                  <c:v>1396-05-11</c:v>
                </c:pt>
                <c:pt idx="1535">
                  <c:v>1396-05-15</c:v>
                </c:pt>
                <c:pt idx="1536">
                  <c:v>1396-05-16</c:v>
                </c:pt>
                <c:pt idx="1537">
                  <c:v>1396-05-17</c:v>
                </c:pt>
                <c:pt idx="1538">
                  <c:v>1396-05-18</c:v>
                </c:pt>
                <c:pt idx="1539">
                  <c:v>1396-05-21</c:v>
                </c:pt>
                <c:pt idx="1540">
                  <c:v>1396-05-22</c:v>
                </c:pt>
                <c:pt idx="1541">
                  <c:v>1396-05-23</c:v>
                </c:pt>
                <c:pt idx="1542">
                  <c:v>1396-05-24</c:v>
                </c:pt>
                <c:pt idx="1543">
                  <c:v>1396-05-25</c:v>
                </c:pt>
                <c:pt idx="1544">
                  <c:v>1396-05-28</c:v>
                </c:pt>
                <c:pt idx="1545">
                  <c:v>1396-05-29</c:v>
                </c:pt>
                <c:pt idx="1546">
                  <c:v>1396-05-30</c:v>
                </c:pt>
                <c:pt idx="1547">
                  <c:v>1396-05-31</c:v>
                </c:pt>
                <c:pt idx="1548">
                  <c:v>1396-06-01</c:v>
                </c:pt>
                <c:pt idx="1549">
                  <c:v>1396-06-04</c:v>
                </c:pt>
                <c:pt idx="1550">
                  <c:v>1396-06-05</c:v>
                </c:pt>
                <c:pt idx="1551">
                  <c:v>1396-06-06</c:v>
                </c:pt>
                <c:pt idx="1552">
                  <c:v>1396-06-07</c:v>
                </c:pt>
                <c:pt idx="1553">
                  <c:v>1396-06-08</c:v>
                </c:pt>
                <c:pt idx="1554">
                  <c:v>1396-06-11</c:v>
                </c:pt>
                <c:pt idx="1555">
                  <c:v>1396-06-12</c:v>
                </c:pt>
                <c:pt idx="1556">
                  <c:v>1396-06-13</c:v>
                </c:pt>
                <c:pt idx="1557">
                  <c:v>1396-06-14</c:v>
                </c:pt>
                <c:pt idx="1558">
                  <c:v>1396-06-15</c:v>
                </c:pt>
                <c:pt idx="1559">
                  <c:v>1396-06-19</c:v>
                </c:pt>
                <c:pt idx="1560">
                  <c:v>1396-06-20</c:v>
                </c:pt>
                <c:pt idx="1561">
                  <c:v>1396-06-21</c:v>
                </c:pt>
                <c:pt idx="1562">
                  <c:v>1396-06-22</c:v>
                </c:pt>
                <c:pt idx="1563">
                  <c:v>1396-06-25</c:v>
                </c:pt>
                <c:pt idx="1564">
                  <c:v>1396-06-26</c:v>
                </c:pt>
                <c:pt idx="1565">
                  <c:v>1396-06-27</c:v>
                </c:pt>
                <c:pt idx="1566">
                  <c:v>1396-06-28</c:v>
                </c:pt>
                <c:pt idx="1567">
                  <c:v>1396-06-29</c:v>
                </c:pt>
                <c:pt idx="1568">
                  <c:v>1396-07-01</c:v>
                </c:pt>
                <c:pt idx="1569">
                  <c:v>1396-07-02</c:v>
                </c:pt>
                <c:pt idx="1570">
                  <c:v>1396-07-03</c:v>
                </c:pt>
                <c:pt idx="1571">
                  <c:v>1396-07-04</c:v>
                </c:pt>
                <c:pt idx="1572">
                  <c:v>1396-07-05</c:v>
                </c:pt>
                <c:pt idx="1573">
                  <c:v>1396-07-10</c:v>
                </c:pt>
                <c:pt idx="1574">
                  <c:v>1396-07-11</c:v>
                </c:pt>
                <c:pt idx="1575">
                  <c:v>1396-07-12</c:v>
                </c:pt>
                <c:pt idx="1576">
                  <c:v>1396-07-15</c:v>
                </c:pt>
                <c:pt idx="1577">
                  <c:v>1396-07-16</c:v>
                </c:pt>
                <c:pt idx="1578">
                  <c:v>1396-07-17</c:v>
                </c:pt>
                <c:pt idx="1579">
                  <c:v>1396-07-18</c:v>
                </c:pt>
                <c:pt idx="1580">
                  <c:v>1396-07-19</c:v>
                </c:pt>
                <c:pt idx="1581">
                  <c:v>1396-07-22</c:v>
                </c:pt>
                <c:pt idx="1582">
                  <c:v>1396-07-23</c:v>
                </c:pt>
                <c:pt idx="1583">
                  <c:v>1396-07-24</c:v>
                </c:pt>
                <c:pt idx="1584">
                  <c:v>1396-07-25</c:v>
                </c:pt>
                <c:pt idx="1585">
                  <c:v>1396-07-26</c:v>
                </c:pt>
                <c:pt idx="1586">
                  <c:v>1396-07-29</c:v>
                </c:pt>
                <c:pt idx="1587">
                  <c:v>1396-07-30</c:v>
                </c:pt>
                <c:pt idx="1588">
                  <c:v>1396-08-01</c:v>
                </c:pt>
                <c:pt idx="1589">
                  <c:v>1396-08-02</c:v>
                </c:pt>
                <c:pt idx="1590">
                  <c:v>1396-08-03</c:v>
                </c:pt>
                <c:pt idx="1591">
                  <c:v>1396-08-06</c:v>
                </c:pt>
                <c:pt idx="1592">
                  <c:v>1396-08-07</c:v>
                </c:pt>
                <c:pt idx="1593">
                  <c:v>1396-08-08</c:v>
                </c:pt>
                <c:pt idx="1594">
                  <c:v>1396-08-09</c:v>
                </c:pt>
                <c:pt idx="1595">
                  <c:v>1396-08-10</c:v>
                </c:pt>
                <c:pt idx="1596">
                  <c:v>1396-08-13</c:v>
                </c:pt>
                <c:pt idx="1597">
                  <c:v>1396-08-14</c:v>
                </c:pt>
                <c:pt idx="1598">
                  <c:v>1396-08-15</c:v>
                </c:pt>
                <c:pt idx="1599">
                  <c:v>1396-08-16</c:v>
                </c:pt>
                <c:pt idx="1600">
                  <c:v>1396-08-17</c:v>
                </c:pt>
                <c:pt idx="1601">
                  <c:v>1396-08-20</c:v>
                </c:pt>
                <c:pt idx="1602">
                  <c:v>1396-08-21</c:v>
                </c:pt>
                <c:pt idx="1603">
                  <c:v>1396-08-22</c:v>
                </c:pt>
                <c:pt idx="1604">
                  <c:v>1396-08-23</c:v>
                </c:pt>
                <c:pt idx="1605">
                  <c:v>1396-08-24</c:v>
                </c:pt>
                <c:pt idx="1606">
                  <c:v>1396-08-27</c:v>
                </c:pt>
                <c:pt idx="1607">
                  <c:v>1396-08-29</c:v>
                </c:pt>
                <c:pt idx="1608">
                  <c:v>1396-08-30</c:v>
                </c:pt>
                <c:pt idx="1609">
                  <c:v>1396-09-01</c:v>
                </c:pt>
                <c:pt idx="1610">
                  <c:v>1396-09-04</c:v>
                </c:pt>
                <c:pt idx="1611">
                  <c:v>1396-09-05</c:v>
                </c:pt>
                <c:pt idx="1612">
                  <c:v>1396-09-07</c:v>
                </c:pt>
                <c:pt idx="1613">
                  <c:v>1396-09-08</c:v>
                </c:pt>
                <c:pt idx="1614">
                  <c:v>1396-09-11</c:v>
                </c:pt>
                <c:pt idx="1615">
                  <c:v>1396-09-12</c:v>
                </c:pt>
                <c:pt idx="1616">
                  <c:v>1396-09-13</c:v>
                </c:pt>
                <c:pt idx="1617">
                  <c:v>1396-09-14</c:v>
                </c:pt>
                <c:pt idx="1618">
                  <c:v>1396-09-18</c:v>
                </c:pt>
                <c:pt idx="1619">
                  <c:v>1396-09-19</c:v>
                </c:pt>
                <c:pt idx="1620">
                  <c:v>1396-09-20</c:v>
                </c:pt>
                <c:pt idx="1621">
                  <c:v>1396-09-21</c:v>
                </c:pt>
                <c:pt idx="1622">
                  <c:v>1396-09-22</c:v>
                </c:pt>
                <c:pt idx="1623">
                  <c:v>1396-09-25</c:v>
                </c:pt>
                <c:pt idx="1624">
                  <c:v>1396-09-26</c:v>
                </c:pt>
                <c:pt idx="1625">
                  <c:v>1396-09-27</c:v>
                </c:pt>
                <c:pt idx="1626">
                  <c:v>1396-09-28</c:v>
                </c:pt>
                <c:pt idx="1627">
                  <c:v>1396-09-29</c:v>
                </c:pt>
                <c:pt idx="1628">
                  <c:v>1396-10-02</c:v>
                </c:pt>
                <c:pt idx="1629">
                  <c:v>1396-10-03</c:v>
                </c:pt>
                <c:pt idx="1630">
                  <c:v>1396-10-04</c:v>
                </c:pt>
                <c:pt idx="1631">
                  <c:v>1396-10-05</c:v>
                </c:pt>
                <c:pt idx="1632">
                  <c:v>1396-10-06</c:v>
                </c:pt>
                <c:pt idx="1633">
                  <c:v>1396-10-09</c:v>
                </c:pt>
                <c:pt idx="1634">
                  <c:v>1396-10-10</c:v>
                </c:pt>
                <c:pt idx="1635">
                  <c:v>1396-10-11</c:v>
                </c:pt>
                <c:pt idx="1636">
                  <c:v>1396-10-12</c:v>
                </c:pt>
                <c:pt idx="1637">
                  <c:v>1396-10-13</c:v>
                </c:pt>
                <c:pt idx="1638">
                  <c:v>1396-10-16</c:v>
                </c:pt>
                <c:pt idx="1639">
                  <c:v>1396-10-17</c:v>
                </c:pt>
                <c:pt idx="1640">
                  <c:v>1396-10-18</c:v>
                </c:pt>
                <c:pt idx="1641">
                  <c:v>1396-10-19</c:v>
                </c:pt>
                <c:pt idx="1642">
                  <c:v>1396-10-20</c:v>
                </c:pt>
                <c:pt idx="1643">
                  <c:v>1396-10-23</c:v>
                </c:pt>
                <c:pt idx="1644">
                  <c:v>1396-10-24</c:v>
                </c:pt>
                <c:pt idx="1645">
                  <c:v>1396-10-25</c:v>
                </c:pt>
                <c:pt idx="1646">
                  <c:v>1396-10-26</c:v>
                </c:pt>
                <c:pt idx="1647">
                  <c:v>1396-10-27</c:v>
                </c:pt>
                <c:pt idx="1648">
                  <c:v>1396-10-30</c:v>
                </c:pt>
                <c:pt idx="1649">
                  <c:v>1396-11-01</c:v>
                </c:pt>
                <c:pt idx="1650">
                  <c:v>1396-11-02</c:v>
                </c:pt>
                <c:pt idx="1651">
                  <c:v>1396-11-03</c:v>
                </c:pt>
                <c:pt idx="1652">
                  <c:v>1396-11-04</c:v>
                </c:pt>
                <c:pt idx="1653">
                  <c:v>1396-11-07</c:v>
                </c:pt>
                <c:pt idx="1654">
                  <c:v>1396-11-08</c:v>
                </c:pt>
                <c:pt idx="1655">
                  <c:v>1396-11-09</c:v>
                </c:pt>
                <c:pt idx="1656">
                  <c:v>1396-11-10</c:v>
                </c:pt>
                <c:pt idx="1657">
                  <c:v>1396-11-11</c:v>
                </c:pt>
                <c:pt idx="1658">
                  <c:v>1396-11-14</c:v>
                </c:pt>
                <c:pt idx="1659">
                  <c:v>1396-11-15</c:v>
                </c:pt>
                <c:pt idx="1660">
                  <c:v>1396-11-16</c:v>
                </c:pt>
                <c:pt idx="1661">
                  <c:v>1396-11-17</c:v>
                </c:pt>
                <c:pt idx="1662">
                  <c:v>1396-11-18</c:v>
                </c:pt>
                <c:pt idx="1663">
                  <c:v>1396-11-21</c:v>
                </c:pt>
                <c:pt idx="1664">
                  <c:v>1396-11-23</c:v>
                </c:pt>
                <c:pt idx="1665">
                  <c:v>1396-11-24</c:v>
                </c:pt>
                <c:pt idx="1666">
                  <c:v>1396-11-25</c:v>
                </c:pt>
                <c:pt idx="1667">
                  <c:v>1396-11-28</c:v>
                </c:pt>
                <c:pt idx="1668">
                  <c:v>1396-11-29</c:v>
                </c:pt>
                <c:pt idx="1669">
                  <c:v>1396-11-30</c:v>
                </c:pt>
                <c:pt idx="1670">
                  <c:v>1396-12-02</c:v>
                </c:pt>
                <c:pt idx="1671">
                  <c:v>1396-12-05</c:v>
                </c:pt>
                <c:pt idx="1672">
                  <c:v>1396-12-06</c:v>
                </c:pt>
                <c:pt idx="1673">
                  <c:v>1396-12-07</c:v>
                </c:pt>
                <c:pt idx="1674">
                  <c:v>1396-12-08</c:v>
                </c:pt>
                <c:pt idx="1675">
                  <c:v>1396-12-09</c:v>
                </c:pt>
                <c:pt idx="1676">
                  <c:v>1396-12-12</c:v>
                </c:pt>
                <c:pt idx="1677">
                  <c:v>1396-12-13</c:v>
                </c:pt>
                <c:pt idx="1678">
                  <c:v>1396-12-14</c:v>
                </c:pt>
                <c:pt idx="1679">
                  <c:v>1396-12-15</c:v>
                </c:pt>
                <c:pt idx="1680">
                  <c:v>1396-12-16</c:v>
                </c:pt>
                <c:pt idx="1681">
                  <c:v>1396-12-19</c:v>
                </c:pt>
                <c:pt idx="1682">
                  <c:v>1396-12-20</c:v>
                </c:pt>
                <c:pt idx="1683">
                  <c:v>1396-12-21</c:v>
                </c:pt>
                <c:pt idx="1684">
                  <c:v>1396-12-22</c:v>
                </c:pt>
                <c:pt idx="1685">
                  <c:v>1396-12-23</c:v>
                </c:pt>
                <c:pt idx="1686">
                  <c:v>1396-12-26</c:v>
                </c:pt>
                <c:pt idx="1687">
                  <c:v>1396-12-27</c:v>
                </c:pt>
                <c:pt idx="1688">
                  <c:v>1396-12-28</c:v>
                </c:pt>
                <c:pt idx="1689">
                  <c:v>1397-01-05</c:v>
                </c:pt>
                <c:pt idx="1690">
                  <c:v>1397-01-06</c:v>
                </c:pt>
                <c:pt idx="1691">
                  <c:v>1397-01-07</c:v>
                </c:pt>
                <c:pt idx="1692">
                  <c:v>1397-01-08</c:v>
                </c:pt>
                <c:pt idx="1693">
                  <c:v>1397-01-14</c:v>
                </c:pt>
                <c:pt idx="1694">
                  <c:v>1397-01-15</c:v>
                </c:pt>
                <c:pt idx="1695">
                  <c:v>1397-01-18</c:v>
                </c:pt>
                <c:pt idx="1696">
                  <c:v>1397-01-19</c:v>
                </c:pt>
                <c:pt idx="1697">
                  <c:v>1397-01-20</c:v>
                </c:pt>
                <c:pt idx="1698">
                  <c:v>1397-01-21</c:v>
                </c:pt>
                <c:pt idx="1699">
                  <c:v>1397-01-22</c:v>
                </c:pt>
                <c:pt idx="1700">
                  <c:v>1397-01-26</c:v>
                </c:pt>
                <c:pt idx="1701">
                  <c:v>1397-01-27</c:v>
                </c:pt>
                <c:pt idx="1702">
                  <c:v>1397-01-28</c:v>
                </c:pt>
                <c:pt idx="1703">
                  <c:v>1397-01-29</c:v>
                </c:pt>
                <c:pt idx="1704">
                  <c:v>1397-02-01</c:v>
                </c:pt>
                <c:pt idx="1705">
                  <c:v>1397-02-02</c:v>
                </c:pt>
                <c:pt idx="1706">
                  <c:v>1397-02-03</c:v>
                </c:pt>
                <c:pt idx="1707">
                  <c:v>1397-02-04</c:v>
                </c:pt>
                <c:pt idx="1708">
                  <c:v>1397-02-05</c:v>
                </c:pt>
                <c:pt idx="1709">
                  <c:v>1397-02-08</c:v>
                </c:pt>
                <c:pt idx="1710">
                  <c:v>1397-02-09</c:v>
                </c:pt>
                <c:pt idx="1711">
                  <c:v>1397-02-10</c:v>
                </c:pt>
                <c:pt idx="1712">
                  <c:v>1397-02-11</c:v>
                </c:pt>
                <c:pt idx="1713">
                  <c:v>1397-02-15</c:v>
                </c:pt>
                <c:pt idx="1714">
                  <c:v>1397-02-16</c:v>
                </c:pt>
                <c:pt idx="1715">
                  <c:v>1397-02-17</c:v>
                </c:pt>
                <c:pt idx="1716">
                  <c:v>1397-02-18</c:v>
                </c:pt>
                <c:pt idx="1717">
                  <c:v>1397-02-19</c:v>
                </c:pt>
                <c:pt idx="1718">
                  <c:v>1397-02-22</c:v>
                </c:pt>
                <c:pt idx="1719">
                  <c:v>1397-02-23</c:v>
                </c:pt>
                <c:pt idx="1720">
                  <c:v>1397-02-24</c:v>
                </c:pt>
                <c:pt idx="1721">
                  <c:v>1397-02-25</c:v>
                </c:pt>
                <c:pt idx="1722">
                  <c:v>1397-02-26</c:v>
                </c:pt>
                <c:pt idx="1723">
                  <c:v>1397-02-29</c:v>
                </c:pt>
                <c:pt idx="1724">
                  <c:v>1397-02-30</c:v>
                </c:pt>
                <c:pt idx="1725">
                  <c:v>1397-02-31</c:v>
                </c:pt>
                <c:pt idx="1726">
                  <c:v>1397-03-01</c:v>
                </c:pt>
                <c:pt idx="1727">
                  <c:v>1397-03-02</c:v>
                </c:pt>
                <c:pt idx="1728">
                  <c:v>1397-03-05</c:v>
                </c:pt>
                <c:pt idx="1729">
                  <c:v>1397-03-06</c:v>
                </c:pt>
                <c:pt idx="1730">
                  <c:v>1397-03-07</c:v>
                </c:pt>
                <c:pt idx="1731">
                  <c:v>1397-03-08</c:v>
                </c:pt>
                <c:pt idx="1732">
                  <c:v>1397-03-09</c:v>
                </c:pt>
                <c:pt idx="1733">
                  <c:v>1397-03-12</c:v>
                </c:pt>
                <c:pt idx="1734">
                  <c:v>1397-03-13</c:v>
                </c:pt>
                <c:pt idx="1735">
                  <c:v>1397-03-19</c:v>
                </c:pt>
                <c:pt idx="1736">
                  <c:v>1397-03-20</c:v>
                </c:pt>
                <c:pt idx="1737">
                  <c:v>1397-03-21</c:v>
                </c:pt>
                <c:pt idx="1738">
                  <c:v>1397-03-22</c:v>
                </c:pt>
                <c:pt idx="1739">
                  <c:v>1397-03-23</c:v>
                </c:pt>
                <c:pt idx="1740">
                  <c:v>1397-03-27</c:v>
                </c:pt>
                <c:pt idx="1741">
                  <c:v>1397-03-28</c:v>
                </c:pt>
                <c:pt idx="1742">
                  <c:v>1397-03-29</c:v>
                </c:pt>
                <c:pt idx="1743">
                  <c:v>1397-03-30</c:v>
                </c:pt>
                <c:pt idx="1744">
                  <c:v>1397-04-02</c:v>
                </c:pt>
                <c:pt idx="1745">
                  <c:v>1397-04-03</c:v>
                </c:pt>
                <c:pt idx="1746">
                  <c:v>1397-04-04</c:v>
                </c:pt>
                <c:pt idx="1747">
                  <c:v>1397-04-05</c:v>
                </c:pt>
                <c:pt idx="1748">
                  <c:v>1397-04-06</c:v>
                </c:pt>
                <c:pt idx="1749">
                  <c:v>1397-04-09</c:v>
                </c:pt>
                <c:pt idx="1750">
                  <c:v>1397-04-10</c:v>
                </c:pt>
                <c:pt idx="1751">
                  <c:v>1397-04-11</c:v>
                </c:pt>
                <c:pt idx="1752">
                  <c:v>1397-04-12</c:v>
                </c:pt>
                <c:pt idx="1753">
                  <c:v>1397-04-13</c:v>
                </c:pt>
                <c:pt idx="1754">
                  <c:v>1397-04-16</c:v>
                </c:pt>
                <c:pt idx="1755">
                  <c:v>1397-04-17</c:v>
                </c:pt>
                <c:pt idx="1756">
                  <c:v>1397-04-19</c:v>
                </c:pt>
                <c:pt idx="1757">
                  <c:v>1397-04-20</c:v>
                </c:pt>
                <c:pt idx="1758">
                  <c:v>1397-04-23</c:v>
                </c:pt>
                <c:pt idx="1759">
                  <c:v>1397-04-24</c:v>
                </c:pt>
                <c:pt idx="1760">
                  <c:v>1397-04-25</c:v>
                </c:pt>
                <c:pt idx="1761">
                  <c:v>1397-04-26</c:v>
                </c:pt>
                <c:pt idx="1762">
                  <c:v>1397-04-27</c:v>
                </c:pt>
                <c:pt idx="1763">
                  <c:v>1397-04-30</c:v>
                </c:pt>
                <c:pt idx="1764">
                  <c:v>1397-04-31</c:v>
                </c:pt>
                <c:pt idx="1765">
                  <c:v>1397-05-01</c:v>
                </c:pt>
                <c:pt idx="1766">
                  <c:v>1397-05-02</c:v>
                </c:pt>
                <c:pt idx="1767">
                  <c:v>1397-05-03</c:v>
                </c:pt>
                <c:pt idx="1768">
                  <c:v>1397-05-06</c:v>
                </c:pt>
                <c:pt idx="1769">
                  <c:v>1397-05-07</c:v>
                </c:pt>
                <c:pt idx="1770">
                  <c:v>1397-05-08</c:v>
                </c:pt>
                <c:pt idx="1771">
                  <c:v>1397-05-09</c:v>
                </c:pt>
                <c:pt idx="1772">
                  <c:v>1397-05-10</c:v>
                </c:pt>
                <c:pt idx="1773">
                  <c:v>1397-05-13</c:v>
                </c:pt>
                <c:pt idx="1774">
                  <c:v>1397-05-14</c:v>
                </c:pt>
                <c:pt idx="1775">
                  <c:v>1397-05-15</c:v>
                </c:pt>
                <c:pt idx="1776">
                  <c:v>1397-05-16</c:v>
                </c:pt>
                <c:pt idx="1777">
                  <c:v>1397-05-17</c:v>
                </c:pt>
                <c:pt idx="1778">
                  <c:v>1397-05-20</c:v>
                </c:pt>
                <c:pt idx="1779">
                  <c:v>1397-05-21</c:v>
                </c:pt>
                <c:pt idx="1780">
                  <c:v>1397-05-22</c:v>
                </c:pt>
                <c:pt idx="1781">
                  <c:v>1397-05-23</c:v>
                </c:pt>
                <c:pt idx="1782">
                  <c:v>1397-05-24</c:v>
                </c:pt>
                <c:pt idx="1783">
                  <c:v>1397-05-27</c:v>
                </c:pt>
                <c:pt idx="1784">
                  <c:v>1397-05-28</c:v>
                </c:pt>
                <c:pt idx="1785">
                  <c:v>1397-05-29</c:v>
                </c:pt>
                <c:pt idx="1786">
                  <c:v>1397-05-30</c:v>
                </c:pt>
                <c:pt idx="1787">
                  <c:v>1397-06-03</c:v>
                </c:pt>
                <c:pt idx="1788">
                  <c:v>1397-06-04</c:v>
                </c:pt>
                <c:pt idx="1789">
                  <c:v>1397-06-05</c:v>
                </c:pt>
                <c:pt idx="1790">
                  <c:v>1397-06-06</c:v>
                </c:pt>
                <c:pt idx="1791">
                  <c:v>1397-06-07</c:v>
                </c:pt>
                <c:pt idx="1792">
                  <c:v>1397-06-10</c:v>
                </c:pt>
                <c:pt idx="1793">
                  <c:v>1397-06-11</c:v>
                </c:pt>
                <c:pt idx="1794">
                  <c:v>1397-06-12</c:v>
                </c:pt>
                <c:pt idx="1795">
                  <c:v>1397-06-13</c:v>
                </c:pt>
                <c:pt idx="1796">
                  <c:v>1397-06-14</c:v>
                </c:pt>
                <c:pt idx="1797">
                  <c:v>1397-06-17</c:v>
                </c:pt>
                <c:pt idx="1798">
                  <c:v>1397-06-18</c:v>
                </c:pt>
                <c:pt idx="1799">
                  <c:v>1397-06-19</c:v>
                </c:pt>
                <c:pt idx="1800">
                  <c:v>1397-06-20</c:v>
                </c:pt>
                <c:pt idx="1801">
                  <c:v>1397-06-21</c:v>
                </c:pt>
                <c:pt idx="1802">
                  <c:v>1397-06-24</c:v>
                </c:pt>
                <c:pt idx="1803">
                  <c:v>1397-06-25</c:v>
                </c:pt>
                <c:pt idx="1804">
                  <c:v>1397-06-26</c:v>
                </c:pt>
                <c:pt idx="1805">
                  <c:v>1397-06-27</c:v>
                </c:pt>
                <c:pt idx="1806">
                  <c:v>1397-06-31</c:v>
                </c:pt>
                <c:pt idx="1807">
                  <c:v>1397-07-01</c:v>
                </c:pt>
                <c:pt idx="1808">
                  <c:v>1397-07-02</c:v>
                </c:pt>
                <c:pt idx="1809">
                  <c:v>1397-07-03</c:v>
                </c:pt>
                <c:pt idx="1810">
                  <c:v>1397-07-04</c:v>
                </c:pt>
                <c:pt idx="1811">
                  <c:v>1397-07-07</c:v>
                </c:pt>
                <c:pt idx="1812">
                  <c:v>1397-07-08</c:v>
                </c:pt>
                <c:pt idx="1813">
                  <c:v>1397-07-09</c:v>
                </c:pt>
                <c:pt idx="1814">
                  <c:v>1397-07-10</c:v>
                </c:pt>
                <c:pt idx="1815">
                  <c:v>1397-07-11</c:v>
                </c:pt>
                <c:pt idx="1816">
                  <c:v>1397-07-14</c:v>
                </c:pt>
                <c:pt idx="1817">
                  <c:v>1397-07-15</c:v>
                </c:pt>
                <c:pt idx="1818">
                  <c:v>1397-07-16</c:v>
                </c:pt>
                <c:pt idx="1819">
                  <c:v>1397-07-17</c:v>
                </c:pt>
                <c:pt idx="1820">
                  <c:v>1397-07-18</c:v>
                </c:pt>
                <c:pt idx="1821">
                  <c:v>1397-07-21</c:v>
                </c:pt>
                <c:pt idx="1822">
                  <c:v>1397-07-22</c:v>
                </c:pt>
                <c:pt idx="1823">
                  <c:v>1397-07-23</c:v>
                </c:pt>
                <c:pt idx="1824">
                  <c:v>1397-07-24</c:v>
                </c:pt>
                <c:pt idx="1825">
                  <c:v>1397-07-25</c:v>
                </c:pt>
                <c:pt idx="1826">
                  <c:v>1397-07-28</c:v>
                </c:pt>
                <c:pt idx="1827">
                  <c:v>1397-07-29</c:v>
                </c:pt>
                <c:pt idx="1828">
                  <c:v>1397-07-30</c:v>
                </c:pt>
                <c:pt idx="1829">
                  <c:v>1397-08-01</c:v>
                </c:pt>
                <c:pt idx="1830">
                  <c:v>1397-08-02</c:v>
                </c:pt>
                <c:pt idx="1831">
                  <c:v>1397-08-05</c:v>
                </c:pt>
                <c:pt idx="1832">
                  <c:v>1397-08-06</c:v>
                </c:pt>
                <c:pt idx="1833">
                  <c:v>1397-08-07</c:v>
                </c:pt>
                <c:pt idx="1834">
                  <c:v>1397-08-09</c:v>
                </c:pt>
                <c:pt idx="1835">
                  <c:v>1397-08-12</c:v>
                </c:pt>
                <c:pt idx="1836">
                  <c:v>1397-08-13</c:v>
                </c:pt>
                <c:pt idx="1837">
                  <c:v>1397-08-14</c:v>
                </c:pt>
                <c:pt idx="1838">
                  <c:v>1397-08-15</c:v>
                </c:pt>
                <c:pt idx="1839">
                  <c:v>1397-08-19</c:v>
                </c:pt>
                <c:pt idx="1840">
                  <c:v>1397-08-20</c:v>
                </c:pt>
                <c:pt idx="1841">
                  <c:v>1397-08-21</c:v>
                </c:pt>
                <c:pt idx="1842">
                  <c:v>1397-08-22</c:v>
                </c:pt>
                <c:pt idx="1843">
                  <c:v>1397-08-23</c:v>
                </c:pt>
                <c:pt idx="1844">
                  <c:v>1397-08-26</c:v>
                </c:pt>
                <c:pt idx="1845">
                  <c:v>1397-08-27</c:v>
                </c:pt>
                <c:pt idx="1846">
                  <c:v>1397-08-28</c:v>
                </c:pt>
                <c:pt idx="1847">
                  <c:v>1397-08-29</c:v>
                </c:pt>
                <c:pt idx="1848">
                  <c:v>1397-08-30</c:v>
                </c:pt>
                <c:pt idx="1849">
                  <c:v>1397-09-03</c:v>
                </c:pt>
                <c:pt idx="1850">
                  <c:v>1397-09-05</c:v>
                </c:pt>
                <c:pt idx="1851">
                  <c:v>1397-09-06</c:v>
                </c:pt>
                <c:pt idx="1852">
                  <c:v>1397-09-07</c:v>
                </c:pt>
                <c:pt idx="1853">
                  <c:v>1397-09-10</c:v>
                </c:pt>
                <c:pt idx="1854">
                  <c:v>1397-09-11</c:v>
                </c:pt>
                <c:pt idx="1855">
                  <c:v>1397-09-12</c:v>
                </c:pt>
                <c:pt idx="1856">
                  <c:v>1397-09-13</c:v>
                </c:pt>
                <c:pt idx="1857">
                  <c:v>1397-09-14</c:v>
                </c:pt>
                <c:pt idx="1858">
                  <c:v>1397-09-17</c:v>
                </c:pt>
                <c:pt idx="1859">
                  <c:v>1397-09-18</c:v>
                </c:pt>
                <c:pt idx="1860">
                  <c:v>1397-09-19</c:v>
                </c:pt>
                <c:pt idx="1861">
                  <c:v>1397-09-20</c:v>
                </c:pt>
                <c:pt idx="1862">
                  <c:v>1397-09-21</c:v>
                </c:pt>
                <c:pt idx="1863">
                  <c:v>1397-09-24</c:v>
                </c:pt>
                <c:pt idx="1864">
                  <c:v>1397-09-25</c:v>
                </c:pt>
                <c:pt idx="1865">
                  <c:v>1397-09-26</c:v>
                </c:pt>
                <c:pt idx="1866">
                  <c:v>1397-09-27</c:v>
                </c:pt>
                <c:pt idx="1867">
                  <c:v>1397-09-28</c:v>
                </c:pt>
                <c:pt idx="1868">
                  <c:v>1397-10-01</c:v>
                </c:pt>
                <c:pt idx="1869">
                  <c:v>1397-10-02</c:v>
                </c:pt>
                <c:pt idx="1870">
                  <c:v>1397-10-03</c:v>
                </c:pt>
                <c:pt idx="1871">
                  <c:v>1397-10-04</c:v>
                </c:pt>
                <c:pt idx="1872">
                  <c:v>1397-10-05</c:v>
                </c:pt>
                <c:pt idx="1873">
                  <c:v>1397-10-08</c:v>
                </c:pt>
                <c:pt idx="1874">
                  <c:v>1397-10-09</c:v>
                </c:pt>
                <c:pt idx="1875">
                  <c:v>1397-10-10</c:v>
                </c:pt>
                <c:pt idx="1876">
                  <c:v>1397-10-11</c:v>
                </c:pt>
                <c:pt idx="1877">
                  <c:v>1397-10-12</c:v>
                </c:pt>
                <c:pt idx="1878">
                  <c:v>1397-10-15</c:v>
                </c:pt>
                <c:pt idx="1879">
                  <c:v>1397-10-16</c:v>
                </c:pt>
                <c:pt idx="1880">
                  <c:v>1397-10-17</c:v>
                </c:pt>
                <c:pt idx="1881">
                  <c:v>1397-10-18</c:v>
                </c:pt>
                <c:pt idx="1882">
                  <c:v>1397-10-19</c:v>
                </c:pt>
                <c:pt idx="1883">
                  <c:v>1397-10-22</c:v>
                </c:pt>
                <c:pt idx="1884">
                  <c:v>1397-10-23</c:v>
                </c:pt>
                <c:pt idx="1885">
                  <c:v>1397-10-24</c:v>
                </c:pt>
                <c:pt idx="1886">
                  <c:v>1397-10-25</c:v>
                </c:pt>
                <c:pt idx="1887">
                  <c:v>1397-10-26</c:v>
                </c:pt>
                <c:pt idx="1888">
                  <c:v>1397-10-29</c:v>
                </c:pt>
                <c:pt idx="1889">
                  <c:v>1397-10-30</c:v>
                </c:pt>
                <c:pt idx="1890">
                  <c:v>1397-11-01</c:v>
                </c:pt>
                <c:pt idx="1891">
                  <c:v>1397-11-02</c:v>
                </c:pt>
                <c:pt idx="1892">
                  <c:v>1397-11-03</c:v>
                </c:pt>
                <c:pt idx="1893">
                  <c:v>1397-11-06</c:v>
                </c:pt>
                <c:pt idx="1894">
                  <c:v>1397-11-07</c:v>
                </c:pt>
                <c:pt idx="1895">
                  <c:v>1397-11-08</c:v>
                </c:pt>
                <c:pt idx="1896">
                  <c:v>1397-11-09</c:v>
                </c:pt>
                <c:pt idx="1897">
                  <c:v>1397-11-10</c:v>
                </c:pt>
                <c:pt idx="1898">
                  <c:v>1397-11-13</c:v>
                </c:pt>
                <c:pt idx="1899">
                  <c:v>1397-11-14</c:v>
                </c:pt>
                <c:pt idx="1900">
                  <c:v>1397-11-15</c:v>
                </c:pt>
                <c:pt idx="1901">
                  <c:v>1397-11-16</c:v>
                </c:pt>
                <c:pt idx="1902">
                  <c:v>1397-11-17</c:v>
                </c:pt>
                <c:pt idx="1903">
                  <c:v>1397-11-21</c:v>
                </c:pt>
                <c:pt idx="1904">
                  <c:v>1397-11-23</c:v>
                </c:pt>
                <c:pt idx="1905">
                  <c:v>1397-11-24</c:v>
                </c:pt>
                <c:pt idx="1906">
                  <c:v>1397-11-27</c:v>
                </c:pt>
                <c:pt idx="1907">
                  <c:v>1397-11-28</c:v>
                </c:pt>
                <c:pt idx="1908">
                  <c:v>1397-11-29</c:v>
                </c:pt>
                <c:pt idx="1909">
                  <c:v>1397-11-30</c:v>
                </c:pt>
                <c:pt idx="1910">
                  <c:v>1397-12-01</c:v>
                </c:pt>
                <c:pt idx="1911">
                  <c:v>1397-12-04</c:v>
                </c:pt>
                <c:pt idx="1912">
                  <c:v>1397-12-05</c:v>
                </c:pt>
                <c:pt idx="1913">
                  <c:v>1397-12-06</c:v>
                </c:pt>
                <c:pt idx="1914">
                  <c:v>1397-12-07</c:v>
                </c:pt>
                <c:pt idx="1915">
                  <c:v>1397-12-08</c:v>
                </c:pt>
                <c:pt idx="1916">
                  <c:v>1397-12-11</c:v>
                </c:pt>
                <c:pt idx="1917">
                  <c:v>1397-12-12</c:v>
                </c:pt>
                <c:pt idx="1918">
                  <c:v>1397-12-13</c:v>
                </c:pt>
                <c:pt idx="1919">
                  <c:v>1397-12-14</c:v>
                </c:pt>
                <c:pt idx="1920">
                  <c:v>1397-12-15</c:v>
                </c:pt>
                <c:pt idx="1921">
                  <c:v>1397-12-18</c:v>
                </c:pt>
                <c:pt idx="1922">
                  <c:v>1397-12-19</c:v>
                </c:pt>
                <c:pt idx="1923">
                  <c:v>1397-12-20</c:v>
                </c:pt>
                <c:pt idx="1924">
                  <c:v>1397-12-21</c:v>
                </c:pt>
                <c:pt idx="1925">
                  <c:v>1397-12-22</c:v>
                </c:pt>
                <c:pt idx="1926">
                  <c:v>1397-12-25</c:v>
                </c:pt>
                <c:pt idx="1927">
                  <c:v>1397-12-26</c:v>
                </c:pt>
                <c:pt idx="1928">
                  <c:v>1397-12-27</c:v>
                </c:pt>
                <c:pt idx="1929">
                  <c:v>1397-12-28</c:v>
                </c:pt>
                <c:pt idx="1930">
                  <c:v>1398-01-05</c:v>
                </c:pt>
                <c:pt idx="1931">
                  <c:v>1398-01-06</c:v>
                </c:pt>
                <c:pt idx="1932">
                  <c:v>1398-01-07</c:v>
                </c:pt>
                <c:pt idx="1933">
                  <c:v>1398-01-10</c:v>
                </c:pt>
                <c:pt idx="1934">
                  <c:v>1398-01-11</c:v>
                </c:pt>
                <c:pt idx="1935">
                  <c:v>1398-01-17</c:v>
                </c:pt>
                <c:pt idx="1936">
                  <c:v>1398-01-18</c:v>
                </c:pt>
                <c:pt idx="1937">
                  <c:v>1398-01-19</c:v>
                </c:pt>
                <c:pt idx="1938">
                  <c:v>1398-01-20</c:v>
                </c:pt>
                <c:pt idx="1939">
                  <c:v>1398-01-21</c:v>
                </c:pt>
                <c:pt idx="1940">
                  <c:v>1398-01-24</c:v>
                </c:pt>
                <c:pt idx="1941">
                  <c:v>1398-01-25</c:v>
                </c:pt>
                <c:pt idx="1942">
                  <c:v>1398-01-26</c:v>
                </c:pt>
                <c:pt idx="1943">
                  <c:v>1398-01-27</c:v>
                </c:pt>
                <c:pt idx="1944">
                  <c:v>1398-01-28</c:v>
                </c:pt>
                <c:pt idx="1945">
                  <c:v>1398-01-31</c:v>
                </c:pt>
                <c:pt idx="1946">
                  <c:v>1398-02-02</c:v>
                </c:pt>
                <c:pt idx="1947">
                  <c:v>1398-02-03</c:v>
                </c:pt>
                <c:pt idx="1948">
                  <c:v>1398-02-04</c:v>
                </c:pt>
                <c:pt idx="1949">
                  <c:v>1398-02-07</c:v>
                </c:pt>
                <c:pt idx="1950">
                  <c:v>1398-02-08</c:v>
                </c:pt>
                <c:pt idx="1951">
                  <c:v>1398-02-09</c:v>
                </c:pt>
                <c:pt idx="1952">
                  <c:v>1398-02-10</c:v>
                </c:pt>
                <c:pt idx="1953">
                  <c:v>1398-02-11</c:v>
                </c:pt>
                <c:pt idx="1954">
                  <c:v>1398-02-14</c:v>
                </c:pt>
                <c:pt idx="1955">
                  <c:v>1398-02-15</c:v>
                </c:pt>
                <c:pt idx="1956">
                  <c:v>1398-02-16</c:v>
                </c:pt>
                <c:pt idx="1957">
                  <c:v>1398-02-17</c:v>
                </c:pt>
                <c:pt idx="1958">
                  <c:v>1398-02-18</c:v>
                </c:pt>
                <c:pt idx="1959">
                  <c:v>1398-02-21</c:v>
                </c:pt>
                <c:pt idx="1960">
                  <c:v>1398-02-22</c:v>
                </c:pt>
                <c:pt idx="1961">
                  <c:v>1398-02-23</c:v>
                </c:pt>
                <c:pt idx="1962">
                  <c:v>1398-02-24</c:v>
                </c:pt>
                <c:pt idx="1963">
                  <c:v>1398-02-25</c:v>
                </c:pt>
                <c:pt idx="1964">
                  <c:v>1398-02-28</c:v>
                </c:pt>
                <c:pt idx="1965">
                  <c:v>1398-02-29</c:v>
                </c:pt>
                <c:pt idx="1966">
                  <c:v>1398-02-30</c:v>
                </c:pt>
                <c:pt idx="1967">
                  <c:v>1398-02-31</c:v>
                </c:pt>
                <c:pt idx="1968">
                  <c:v>1398-03-01</c:v>
                </c:pt>
                <c:pt idx="1969">
                  <c:v>1398-03-04</c:v>
                </c:pt>
                <c:pt idx="1970">
                  <c:v>1398-03-05</c:v>
                </c:pt>
                <c:pt idx="1971">
                  <c:v>1398-03-07</c:v>
                </c:pt>
                <c:pt idx="1972">
                  <c:v>1398-03-08</c:v>
                </c:pt>
                <c:pt idx="1973">
                  <c:v>1398-03-11</c:v>
                </c:pt>
                <c:pt idx="1974">
                  <c:v>1398-03-12</c:v>
                </c:pt>
                <c:pt idx="1975">
                  <c:v>1398-03-13</c:v>
                </c:pt>
                <c:pt idx="1976">
                  <c:v>1398-03-18</c:v>
                </c:pt>
                <c:pt idx="1977">
                  <c:v>1398-03-19</c:v>
                </c:pt>
                <c:pt idx="1978">
                  <c:v>1398-03-20</c:v>
                </c:pt>
                <c:pt idx="1979">
                  <c:v>1398-03-21</c:v>
                </c:pt>
                <c:pt idx="1980">
                  <c:v>1398-03-22</c:v>
                </c:pt>
                <c:pt idx="1981">
                  <c:v>1398-03-25</c:v>
                </c:pt>
                <c:pt idx="1982">
                  <c:v>1398-03-26</c:v>
                </c:pt>
                <c:pt idx="1983">
                  <c:v>1398-03-27</c:v>
                </c:pt>
                <c:pt idx="1984">
                  <c:v>1398-03-28</c:v>
                </c:pt>
                <c:pt idx="1985">
                  <c:v>1398-03-29</c:v>
                </c:pt>
                <c:pt idx="1986">
                  <c:v>1398-04-01</c:v>
                </c:pt>
                <c:pt idx="1987">
                  <c:v>1398-04-02</c:v>
                </c:pt>
                <c:pt idx="1988">
                  <c:v>1398-04-03</c:v>
                </c:pt>
                <c:pt idx="1989">
                  <c:v>1398-04-04</c:v>
                </c:pt>
                <c:pt idx="1990">
                  <c:v>1398-04-05</c:v>
                </c:pt>
                <c:pt idx="1991">
                  <c:v>1398-04-09</c:v>
                </c:pt>
                <c:pt idx="1992">
                  <c:v>1398-04-10</c:v>
                </c:pt>
                <c:pt idx="1993">
                  <c:v>1398-04-11</c:v>
                </c:pt>
                <c:pt idx="1994">
                  <c:v>1398-04-12</c:v>
                </c:pt>
                <c:pt idx="1995">
                  <c:v>1398-04-15</c:v>
                </c:pt>
                <c:pt idx="1996">
                  <c:v>1398-04-16</c:v>
                </c:pt>
                <c:pt idx="1997">
                  <c:v>1398-04-17</c:v>
                </c:pt>
                <c:pt idx="1998">
                  <c:v>1398-04-18</c:v>
                </c:pt>
                <c:pt idx="1999">
                  <c:v>1398-04-19</c:v>
                </c:pt>
                <c:pt idx="2000">
                  <c:v>1398-04-22</c:v>
                </c:pt>
                <c:pt idx="2001">
                  <c:v>1398-04-23</c:v>
                </c:pt>
                <c:pt idx="2002">
                  <c:v>1398-04-24</c:v>
                </c:pt>
                <c:pt idx="2003">
                  <c:v>1398-04-25</c:v>
                </c:pt>
                <c:pt idx="2004">
                  <c:v>1398-04-26</c:v>
                </c:pt>
                <c:pt idx="2005">
                  <c:v>1398-04-29</c:v>
                </c:pt>
                <c:pt idx="2006">
                  <c:v>1398-04-30</c:v>
                </c:pt>
                <c:pt idx="2007">
                  <c:v>1398-04-31</c:v>
                </c:pt>
                <c:pt idx="2008">
                  <c:v>1398-05-01</c:v>
                </c:pt>
                <c:pt idx="2009">
                  <c:v>1398-05-02</c:v>
                </c:pt>
                <c:pt idx="2010">
                  <c:v>1398-05-05</c:v>
                </c:pt>
                <c:pt idx="2011">
                  <c:v>1398-05-06</c:v>
                </c:pt>
                <c:pt idx="2012">
                  <c:v>1398-05-07</c:v>
                </c:pt>
                <c:pt idx="2013">
                  <c:v>1398-05-08</c:v>
                </c:pt>
                <c:pt idx="2014">
                  <c:v>1398-05-09</c:v>
                </c:pt>
                <c:pt idx="2015">
                  <c:v>1398-05-12</c:v>
                </c:pt>
                <c:pt idx="2016">
                  <c:v>1398-05-13</c:v>
                </c:pt>
                <c:pt idx="2017">
                  <c:v>1398-05-14</c:v>
                </c:pt>
                <c:pt idx="2018">
                  <c:v>1398-05-15</c:v>
                </c:pt>
                <c:pt idx="2019">
                  <c:v>1398-05-16</c:v>
                </c:pt>
                <c:pt idx="2020">
                  <c:v>1398-05-19</c:v>
                </c:pt>
                <c:pt idx="2021">
                  <c:v>1398-05-20</c:v>
                </c:pt>
                <c:pt idx="2022">
                  <c:v>1398-05-22</c:v>
                </c:pt>
                <c:pt idx="2023">
                  <c:v>1398-05-23</c:v>
                </c:pt>
                <c:pt idx="2024">
                  <c:v>1398-05-26</c:v>
                </c:pt>
                <c:pt idx="2025">
                  <c:v>1398-05-27</c:v>
                </c:pt>
                <c:pt idx="2026">
                  <c:v>1398-05-28</c:v>
                </c:pt>
                <c:pt idx="2027">
                  <c:v>1398-05-30</c:v>
                </c:pt>
                <c:pt idx="2028">
                  <c:v>1398-06-02</c:v>
                </c:pt>
                <c:pt idx="2029">
                  <c:v>1398-06-03</c:v>
                </c:pt>
                <c:pt idx="2030">
                  <c:v>1398-06-04</c:v>
                </c:pt>
                <c:pt idx="2031">
                  <c:v>1398-06-05</c:v>
                </c:pt>
                <c:pt idx="2032">
                  <c:v>1398-06-06</c:v>
                </c:pt>
                <c:pt idx="2033">
                  <c:v>1398-06-09</c:v>
                </c:pt>
                <c:pt idx="2034">
                  <c:v>1398-06-10</c:v>
                </c:pt>
                <c:pt idx="2035">
                  <c:v>1398-06-11</c:v>
                </c:pt>
                <c:pt idx="2036">
                  <c:v>1398-06-12</c:v>
                </c:pt>
                <c:pt idx="2037">
                  <c:v>1398-06-13</c:v>
                </c:pt>
                <c:pt idx="2038">
                  <c:v>1398-06-16</c:v>
                </c:pt>
                <c:pt idx="2039">
                  <c:v>1398-06-17</c:v>
                </c:pt>
                <c:pt idx="2040">
                  <c:v>1398-06-20</c:v>
                </c:pt>
                <c:pt idx="2041">
                  <c:v>1398-06-23</c:v>
                </c:pt>
                <c:pt idx="2042">
                  <c:v>1398-06-24</c:v>
                </c:pt>
                <c:pt idx="2043">
                  <c:v>1398-06-25</c:v>
                </c:pt>
                <c:pt idx="2044">
                  <c:v>1398-06-26</c:v>
                </c:pt>
                <c:pt idx="2045">
                  <c:v>1398-06-27</c:v>
                </c:pt>
                <c:pt idx="2046">
                  <c:v>1398-06-30</c:v>
                </c:pt>
                <c:pt idx="2047">
                  <c:v>1398-06-31</c:v>
                </c:pt>
                <c:pt idx="2048">
                  <c:v>1398-07-01</c:v>
                </c:pt>
                <c:pt idx="2049">
                  <c:v>1398-07-02</c:v>
                </c:pt>
                <c:pt idx="2050">
                  <c:v>1398-07-03</c:v>
                </c:pt>
                <c:pt idx="2051">
                  <c:v>1398-07-06</c:v>
                </c:pt>
                <c:pt idx="2052">
                  <c:v>1398-07-07</c:v>
                </c:pt>
                <c:pt idx="2053">
                  <c:v>1398-07-08</c:v>
                </c:pt>
                <c:pt idx="2054">
                  <c:v>1398-07-09</c:v>
                </c:pt>
                <c:pt idx="2055">
                  <c:v>1398-07-10</c:v>
                </c:pt>
                <c:pt idx="2056">
                  <c:v>1398-07-13</c:v>
                </c:pt>
                <c:pt idx="2057">
                  <c:v>1398-07-14</c:v>
                </c:pt>
                <c:pt idx="2058">
                  <c:v>1398-07-15</c:v>
                </c:pt>
                <c:pt idx="2059">
                  <c:v>1398-07-16</c:v>
                </c:pt>
                <c:pt idx="2060">
                  <c:v>1398-07-17</c:v>
                </c:pt>
                <c:pt idx="2061">
                  <c:v>1398-07-20</c:v>
                </c:pt>
                <c:pt idx="2062">
                  <c:v>1398-07-21</c:v>
                </c:pt>
                <c:pt idx="2063">
                  <c:v>1398-07-22</c:v>
                </c:pt>
                <c:pt idx="2064">
                  <c:v>1398-07-23</c:v>
                </c:pt>
                <c:pt idx="2065">
                  <c:v>1398-07-24</c:v>
                </c:pt>
                <c:pt idx="2066">
                  <c:v>1398-07-28</c:v>
                </c:pt>
                <c:pt idx="2067">
                  <c:v>1398-07-29</c:v>
                </c:pt>
                <c:pt idx="2068">
                  <c:v>1398-07-30</c:v>
                </c:pt>
                <c:pt idx="2069">
                  <c:v>1398-08-01</c:v>
                </c:pt>
                <c:pt idx="2070">
                  <c:v>1398-08-04</c:v>
                </c:pt>
                <c:pt idx="2071">
                  <c:v>1398-08-06</c:v>
                </c:pt>
                <c:pt idx="2072">
                  <c:v>1398-08-08</c:v>
                </c:pt>
                <c:pt idx="2073">
                  <c:v>1398-08-11</c:v>
                </c:pt>
                <c:pt idx="2074">
                  <c:v>1398-08-12</c:v>
                </c:pt>
                <c:pt idx="2075">
                  <c:v>1398-08-13</c:v>
                </c:pt>
                <c:pt idx="2076">
                  <c:v>1398-08-14</c:v>
                </c:pt>
                <c:pt idx="2077">
                  <c:v>1398-08-18</c:v>
                </c:pt>
                <c:pt idx="2078">
                  <c:v>1398-08-19</c:v>
                </c:pt>
                <c:pt idx="2079">
                  <c:v>1398-08-20</c:v>
                </c:pt>
                <c:pt idx="2080">
                  <c:v>1398-08-21</c:v>
                </c:pt>
                <c:pt idx="2081">
                  <c:v>1398-08-22</c:v>
                </c:pt>
                <c:pt idx="2082">
                  <c:v>1398-08-25</c:v>
                </c:pt>
                <c:pt idx="2083">
                  <c:v>1398-08-26</c:v>
                </c:pt>
                <c:pt idx="2084">
                  <c:v>1398-08-27</c:v>
                </c:pt>
                <c:pt idx="2085">
                  <c:v>1398-08-28</c:v>
                </c:pt>
                <c:pt idx="2086">
                  <c:v>1398-08-29</c:v>
                </c:pt>
                <c:pt idx="2087">
                  <c:v>1398-09-02</c:v>
                </c:pt>
                <c:pt idx="2088">
                  <c:v>1398-09-03</c:v>
                </c:pt>
                <c:pt idx="2089">
                  <c:v>1398-09-04</c:v>
                </c:pt>
                <c:pt idx="2090">
                  <c:v>1398-09-05</c:v>
                </c:pt>
                <c:pt idx="2091">
                  <c:v>1398-09-06</c:v>
                </c:pt>
                <c:pt idx="2092">
                  <c:v>1398-09-09</c:v>
                </c:pt>
                <c:pt idx="2093">
                  <c:v>1398-09-10</c:v>
                </c:pt>
                <c:pt idx="2094">
                  <c:v>1398-09-11</c:v>
                </c:pt>
                <c:pt idx="2095">
                  <c:v>1398-09-12</c:v>
                </c:pt>
                <c:pt idx="2096">
                  <c:v>1398-09-13</c:v>
                </c:pt>
                <c:pt idx="2097">
                  <c:v>1398-09-16</c:v>
                </c:pt>
                <c:pt idx="2098">
                  <c:v>1398-09-17</c:v>
                </c:pt>
                <c:pt idx="2099">
                  <c:v>1398-09-18</c:v>
                </c:pt>
                <c:pt idx="2100">
                  <c:v>1398-09-19</c:v>
                </c:pt>
                <c:pt idx="2101">
                  <c:v>1398-09-20</c:v>
                </c:pt>
                <c:pt idx="2102">
                  <c:v>1398-09-23</c:v>
                </c:pt>
                <c:pt idx="2103">
                  <c:v>1398-09-24</c:v>
                </c:pt>
                <c:pt idx="2104">
                  <c:v>1398-09-25</c:v>
                </c:pt>
                <c:pt idx="2105">
                  <c:v>1398-09-26</c:v>
                </c:pt>
                <c:pt idx="2106">
                  <c:v>1398-09-27</c:v>
                </c:pt>
                <c:pt idx="2107">
                  <c:v>1398-09-30</c:v>
                </c:pt>
                <c:pt idx="2108">
                  <c:v>1398-10-01</c:v>
                </c:pt>
                <c:pt idx="2109">
                  <c:v>1398-10-02</c:v>
                </c:pt>
                <c:pt idx="2110">
                  <c:v>1398-10-03</c:v>
                </c:pt>
                <c:pt idx="2111">
                  <c:v>1398-10-04</c:v>
                </c:pt>
                <c:pt idx="2112">
                  <c:v>1398-10-07</c:v>
                </c:pt>
                <c:pt idx="2113">
                  <c:v>1398-10-08</c:v>
                </c:pt>
                <c:pt idx="2114">
                  <c:v>1398-10-09</c:v>
                </c:pt>
                <c:pt idx="2115">
                  <c:v>1398-10-10</c:v>
                </c:pt>
                <c:pt idx="2116">
                  <c:v>1398-10-11</c:v>
                </c:pt>
                <c:pt idx="2117">
                  <c:v>1398-10-14</c:v>
                </c:pt>
                <c:pt idx="2118">
                  <c:v>1398-10-15</c:v>
                </c:pt>
                <c:pt idx="2119">
                  <c:v>1398-10-17</c:v>
                </c:pt>
                <c:pt idx="2120">
                  <c:v>1398-10-18</c:v>
                </c:pt>
                <c:pt idx="2121">
                  <c:v>1398-10-21</c:v>
                </c:pt>
                <c:pt idx="2122">
                  <c:v>1398-10-22</c:v>
                </c:pt>
                <c:pt idx="2123">
                  <c:v>1398-10-23</c:v>
                </c:pt>
                <c:pt idx="2124">
                  <c:v>1398-10-24</c:v>
                </c:pt>
                <c:pt idx="2125">
                  <c:v>1398-10-25</c:v>
                </c:pt>
                <c:pt idx="2126">
                  <c:v>1398-10-28</c:v>
                </c:pt>
                <c:pt idx="2127">
                  <c:v>1398-10-29</c:v>
                </c:pt>
                <c:pt idx="2128">
                  <c:v>1398-10-30</c:v>
                </c:pt>
                <c:pt idx="2129">
                  <c:v>1398-11-01</c:v>
                </c:pt>
                <c:pt idx="2130">
                  <c:v>1398-11-02</c:v>
                </c:pt>
                <c:pt idx="2131">
                  <c:v>1398-11-05</c:v>
                </c:pt>
                <c:pt idx="2132">
                  <c:v>1398-11-06</c:v>
                </c:pt>
                <c:pt idx="2133">
                  <c:v>1398-11-07</c:v>
                </c:pt>
                <c:pt idx="2134">
                  <c:v>1398-11-08</c:v>
                </c:pt>
                <c:pt idx="2135">
                  <c:v>1398-11-12</c:v>
                </c:pt>
                <c:pt idx="2136">
                  <c:v>1398-11-13</c:v>
                </c:pt>
                <c:pt idx="2137">
                  <c:v>1398-11-14</c:v>
                </c:pt>
                <c:pt idx="2138">
                  <c:v>1398-11-15</c:v>
                </c:pt>
                <c:pt idx="2139">
                  <c:v>1398-11-16</c:v>
                </c:pt>
                <c:pt idx="2140">
                  <c:v>1398-11-19</c:v>
                </c:pt>
                <c:pt idx="2141">
                  <c:v>1398-11-20</c:v>
                </c:pt>
                <c:pt idx="2142">
                  <c:v>1398-11-21</c:v>
                </c:pt>
                <c:pt idx="2143">
                  <c:v>1398-11-23</c:v>
                </c:pt>
                <c:pt idx="2144">
                  <c:v>1398-11-26</c:v>
                </c:pt>
                <c:pt idx="2145">
                  <c:v>1398-11-27</c:v>
                </c:pt>
                <c:pt idx="2146">
                  <c:v>1398-11-28</c:v>
                </c:pt>
                <c:pt idx="2147">
                  <c:v>1398-11-29</c:v>
                </c:pt>
                <c:pt idx="2148">
                  <c:v>1398-11-30</c:v>
                </c:pt>
                <c:pt idx="2149">
                  <c:v>1398-12-03</c:v>
                </c:pt>
                <c:pt idx="2150">
                  <c:v>1398-12-04</c:v>
                </c:pt>
                <c:pt idx="2151">
                  <c:v>1398-12-05</c:v>
                </c:pt>
                <c:pt idx="2152">
                  <c:v>1398-12-06</c:v>
                </c:pt>
                <c:pt idx="2153">
                  <c:v>1398-12-07</c:v>
                </c:pt>
                <c:pt idx="2154">
                  <c:v>1398-12-10</c:v>
                </c:pt>
                <c:pt idx="2155">
                  <c:v>1398-12-11</c:v>
                </c:pt>
                <c:pt idx="2156">
                  <c:v>1398-12-12</c:v>
                </c:pt>
                <c:pt idx="2157">
                  <c:v>1398-12-13</c:v>
                </c:pt>
                <c:pt idx="2158">
                  <c:v>1398-12-14</c:v>
                </c:pt>
                <c:pt idx="2159">
                  <c:v>1398-12-17</c:v>
                </c:pt>
                <c:pt idx="2160">
                  <c:v>1398-12-19</c:v>
                </c:pt>
                <c:pt idx="2161">
                  <c:v>1398-12-20</c:v>
                </c:pt>
                <c:pt idx="2162">
                  <c:v>1398-12-21</c:v>
                </c:pt>
                <c:pt idx="2163">
                  <c:v>1398-12-24</c:v>
                </c:pt>
                <c:pt idx="2164">
                  <c:v>1398-12-25</c:v>
                </c:pt>
                <c:pt idx="2165">
                  <c:v>1398-12-26</c:v>
                </c:pt>
                <c:pt idx="2166">
                  <c:v>1398-12-27</c:v>
                </c:pt>
                <c:pt idx="2167">
                  <c:v>1398-12-28</c:v>
                </c:pt>
                <c:pt idx="2168">
                  <c:v>1399-01-05</c:v>
                </c:pt>
                <c:pt idx="2169">
                  <c:v>1399-01-06</c:v>
                </c:pt>
                <c:pt idx="2170">
                  <c:v>1399-01-09</c:v>
                </c:pt>
                <c:pt idx="2171">
                  <c:v>1399-01-10</c:v>
                </c:pt>
                <c:pt idx="2172">
                  <c:v>1399-01-11</c:v>
                </c:pt>
                <c:pt idx="2173">
                  <c:v>1399-01-16</c:v>
                </c:pt>
                <c:pt idx="2174">
                  <c:v>1399-01-17</c:v>
                </c:pt>
                <c:pt idx="2175">
                  <c:v>1399-01-18</c:v>
                </c:pt>
                <c:pt idx="2176">
                  <c:v>1399-01-19</c:v>
                </c:pt>
                <c:pt idx="2177">
                  <c:v>1399-01-20</c:v>
                </c:pt>
                <c:pt idx="2178">
                  <c:v>1399-01-23</c:v>
                </c:pt>
                <c:pt idx="2179">
                  <c:v>1399-01-24</c:v>
                </c:pt>
                <c:pt idx="2180">
                  <c:v>1399-01-25</c:v>
                </c:pt>
                <c:pt idx="2181">
                  <c:v>1399-01-26</c:v>
                </c:pt>
                <c:pt idx="2182">
                  <c:v>1399-01-27</c:v>
                </c:pt>
                <c:pt idx="2183">
                  <c:v>1399-01-30</c:v>
                </c:pt>
                <c:pt idx="2184">
                  <c:v>1399-01-31</c:v>
                </c:pt>
                <c:pt idx="2185">
                  <c:v>1399-02-01</c:v>
                </c:pt>
                <c:pt idx="2186">
                  <c:v>1399-02-02</c:v>
                </c:pt>
                <c:pt idx="2187">
                  <c:v>1399-02-03</c:v>
                </c:pt>
                <c:pt idx="2188">
                  <c:v>1399-02-06</c:v>
                </c:pt>
                <c:pt idx="2189">
                  <c:v>1399-02-07</c:v>
                </c:pt>
                <c:pt idx="2190">
                  <c:v>1399-02-08</c:v>
                </c:pt>
                <c:pt idx="2191">
                  <c:v>1399-02-09</c:v>
                </c:pt>
                <c:pt idx="2192">
                  <c:v>1399-02-10</c:v>
                </c:pt>
                <c:pt idx="2193">
                  <c:v>1399-02-13</c:v>
                </c:pt>
                <c:pt idx="2194">
                  <c:v>1399-02-14</c:v>
                </c:pt>
                <c:pt idx="2195">
                  <c:v>1399-02-15</c:v>
                </c:pt>
                <c:pt idx="2196">
                  <c:v>1399-02-16</c:v>
                </c:pt>
                <c:pt idx="2197">
                  <c:v>1399-02-17</c:v>
                </c:pt>
                <c:pt idx="2198">
                  <c:v>1399-02-20</c:v>
                </c:pt>
                <c:pt idx="2199">
                  <c:v>1399-02-21</c:v>
                </c:pt>
                <c:pt idx="2200">
                  <c:v>1399-02-22</c:v>
                </c:pt>
                <c:pt idx="2201">
                  <c:v>1399-02-23</c:v>
                </c:pt>
                <c:pt idx="2202">
                  <c:v>1399-02-24</c:v>
                </c:pt>
                <c:pt idx="2203">
                  <c:v>1399-02-27</c:v>
                </c:pt>
                <c:pt idx="2204">
                  <c:v>1399-02-28</c:v>
                </c:pt>
                <c:pt idx="2205">
                  <c:v>1399-02-29</c:v>
                </c:pt>
                <c:pt idx="2206">
                  <c:v>1399-02-30</c:v>
                </c:pt>
                <c:pt idx="2207">
                  <c:v>1399-02-31</c:v>
                </c:pt>
                <c:pt idx="2208">
                  <c:v>1399-03-03</c:v>
                </c:pt>
                <c:pt idx="2209">
                  <c:v>1399-03-06</c:v>
                </c:pt>
                <c:pt idx="2210">
                  <c:v>1399-03-07</c:v>
                </c:pt>
                <c:pt idx="2211">
                  <c:v>1399-03-10</c:v>
                </c:pt>
                <c:pt idx="2212">
                  <c:v>1399-03-11</c:v>
                </c:pt>
                <c:pt idx="2213">
                  <c:v>1399-03-12</c:v>
                </c:pt>
                <c:pt idx="2214">
                  <c:v>1399-03-13</c:v>
                </c:pt>
                <c:pt idx="2215">
                  <c:v>1399-03-17</c:v>
                </c:pt>
                <c:pt idx="2216">
                  <c:v>1399-03-18</c:v>
                </c:pt>
                <c:pt idx="2217">
                  <c:v>1399-03-19</c:v>
                </c:pt>
                <c:pt idx="2218">
                  <c:v>1399-03-20</c:v>
                </c:pt>
                <c:pt idx="2219">
                  <c:v>1399-03-21</c:v>
                </c:pt>
                <c:pt idx="2220">
                  <c:v>1399-03-24</c:v>
                </c:pt>
                <c:pt idx="2221">
                  <c:v>1399-03-25</c:v>
                </c:pt>
                <c:pt idx="2222">
                  <c:v>1399-03-26</c:v>
                </c:pt>
                <c:pt idx="2223">
                  <c:v>1399-03-27</c:v>
                </c:pt>
                <c:pt idx="2224">
                  <c:v>1399-03-31</c:v>
                </c:pt>
                <c:pt idx="2225">
                  <c:v>1399-04-01</c:v>
                </c:pt>
                <c:pt idx="2226">
                  <c:v>1399-04-02</c:v>
                </c:pt>
                <c:pt idx="2227">
                  <c:v>1399-04-03</c:v>
                </c:pt>
                <c:pt idx="2228">
                  <c:v>1399-04-04</c:v>
                </c:pt>
                <c:pt idx="2229">
                  <c:v>1399-04-07</c:v>
                </c:pt>
                <c:pt idx="2230">
                  <c:v>1399-04-08</c:v>
                </c:pt>
                <c:pt idx="2231">
                  <c:v>1399-04-09</c:v>
                </c:pt>
                <c:pt idx="2232">
                  <c:v>1399-04-10</c:v>
                </c:pt>
                <c:pt idx="2233">
                  <c:v>1399-04-11</c:v>
                </c:pt>
                <c:pt idx="2234">
                  <c:v>1399-04-14</c:v>
                </c:pt>
                <c:pt idx="2235">
                  <c:v>1399-04-15</c:v>
                </c:pt>
                <c:pt idx="2236">
                  <c:v>1399-04-16</c:v>
                </c:pt>
                <c:pt idx="2237">
                  <c:v>1399-04-17</c:v>
                </c:pt>
                <c:pt idx="2238">
                  <c:v>1399-04-18</c:v>
                </c:pt>
                <c:pt idx="2239">
                  <c:v>1399-04-21</c:v>
                </c:pt>
                <c:pt idx="2240">
                  <c:v>1399-04-22</c:v>
                </c:pt>
                <c:pt idx="2241">
                  <c:v>1399-04-23</c:v>
                </c:pt>
                <c:pt idx="2242">
                  <c:v>1399-04-24</c:v>
                </c:pt>
                <c:pt idx="2243">
                  <c:v>1399-04-25</c:v>
                </c:pt>
                <c:pt idx="2244">
                  <c:v>1399-04-28</c:v>
                </c:pt>
                <c:pt idx="2245">
                  <c:v>1399-04-29</c:v>
                </c:pt>
                <c:pt idx="2246">
                  <c:v>1399-04-30</c:v>
                </c:pt>
                <c:pt idx="2247">
                  <c:v>1399-04-31</c:v>
                </c:pt>
                <c:pt idx="2248">
                  <c:v>1399-05-01</c:v>
                </c:pt>
                <c:pt idx="2249">
                  <c:v>1399-05-04</c:v>
                </c:pt>
                <c:pt idx="2250">
                  <c:v>1399-05-05</c:v>
                </c:pt>
                <c:pt idx="2251">
                  <c:v>1399-05-06</c:v>
                </c:pt>
                <c:pt idx="2252">
                  <c:v>1399-05-07</c:v>
                </c:pt>
                <c:pt idx="2253">
                  <c:v>1399-05-08</c:v>
                </c:pt>
                <c:pt idx="2254">
                  <c:v>1399-05-11</c:v>
                </c:pt>
                <c:pt idx="2255">
                  <c:v>1399-05-12</c:v>
                </c:pt>
                <c:pt idx="2256">
                  <c:v>1399-05-13</c:v>
                </c:pt>
                <c:pt idx="2257">
                  <c:v>1399-05-14</c:v>
                </c:pt>
                <c:pt idx="2258">
                  <c:v>1399-05-15</c:v>
                </c:pt>
                <c:pt idx="2259">
                  <c:v>1399-05-19</c:v>
                </c:pt>
                <c:pt idx="2260">
                  <c:v>1399-05-20</c:v>
                </c:pt>
                <c:pt idx="2261">
                  <c:v>1399-05-21</c:v>
                </c:pt>
                <c:pt idx="2262">
                  <c:v>1399-05-22</c:v>
                </c:pt>
                <c:pt idx="2263">
                  <c:v>1399-05-25</c:v>
                </c:pt>
                <c:pt idx="2264">
                  <c:v>1399-05-26</c:v>
                </c:pt>
                <c:pt idx="2265">
                  <c:v>1399-05-27</c:v>
                </c:pt>
                <c:pt idx="2266">
                  <c:v>1399-05-28</c:v>
                </c:pt>
                <c:pt idx="2267">
                  <c:v>1399-05-29</c:v>
                </c:pt>
                <c:pt idx="2268">
                  <c:v>1399-06-01</c:v>
                </c:pt>
                <c:pt idx="2269">
                  <c:v>1399-06-02</c:v>
                </c:pt>
                <c:pt idx="2270">
                  <c:v>1399-06-03</c:v>
                </c:pt>
                <c:pt idx="2271">
                  <c:v>1399-06-04</c:v>
                </c:pt>
                <c:pt idx="2272">
                  <c:v>1399-06-05</c:v>
                </c:pt>
                <c:pt idx="2273">
                  <c:v>1399-06-10</c:v>
                </c:pt>
                <c:pt idx="2274">
                  <c:v>1399-06-11</c:v>
                </c:pt>
                <c:pt idx="2275">
                  <c:v>1399-06-12</c:v>
                </c:pt>
                <c:pt idx="2276">
                  <c:v>1399-06-15</c:v>
                </c:pt>
                <c:pt idx="2277">
                  <c:v>1399-06-16</c:v>
                </c:pt>
                <c:pt idx="2278">
                  <c:v>1399-06-17</c:v>
                </c:pt>
                <c:pt idx="2279">
                  <c:v>1399-06-18</c:v>
                </c:pt>
                <c:pt idx="2280">
                  <c:v>1399-06-19</c:v>
                </c:pt>
                <c:pt idx="2281">
                  <c:v>1399-06-22</c:v>
                </c:pt>
                <c:pt idx="2282">
                  <c:v>1399-06-23</c:v>
                </c:pt>
                <c:pt idx="2283">
                  <c:v>1399-06-24</c:v>
                </c:pt>
                <c:pt idx="2284">
                  <c:v>1399-06-25</c:v>
                </c:pt>
                <c:pt idx="2285">
                  <c:v>1399-06-26</c:v>
                </c:pt>
                <c:pt idx="2286">
                  <c:v>1399-06-29</c:v>
                </c:pt>
                <c:pt idx="2287">
                  <c:v>1399-06-30</c:v>
                </c:pt>
                <c:pt idx="2288">
                  <c:v>1399-06-31</c:v>
                </c:pt>
                <c:pt idx="2289">
                  <c:v>1399-07-01</c:v>
                </c:pt>
                <c:pt idx="2290">
                  <c:v>1399-07-02</c:v>
                </c:pt>
                <c:pt idx="2291">
                  <c:v>1399-07-05</c:v>
                </c:pt>
                <c:pt idx="2292">
                  <c:v>1399-07-06</c:v>
                </c:pt>
                <c:pt idx="2293">
                  <c:v>1399-07-07</c:v>
                </c:pt>
                <c:pt idx="2294">
                  <c:v>1399-07-08</c:v>
                </c:pt>
                <c:pt idx="2295">
                  <c:v>1399-07-09</c:v>
                </c:pt>
                <c:pt idx="2296">
                  <c:v>1399-07-12</c:v>
                </c:pt>
                <c:pt idx="2297">
                  <c:v>1399-07-13</c:v>
                </c:pt>
                <c:pt idx="2298">
                  <c:v>1399-07-14</c:v>
                </c:pt>
                <c:pt idx="2299">
                  <c:v>1399-07-15</c:v>
                </c:pt>
                <c:pt idx="2300">
                  <c:v>1399-07-16</c:v>
                </c:pt>
                <c:pt idx="2301">
                  <c:v>1399-07-19</c:v>
                </c:pt>
                <c:pt idx="2302">
                  <c:v>1399-07-20</c:v>
                </c:pt>
                <c:pt idx="2303">
                  <c:v>1399-07-21</c:v>
                </c:pt>
                <c:pt idx="2304">
                  <c:v>1399-07-22</c:v>
                </c:pt>
                <c:pt idx="2305">
                  <c:v>1399-07-23</c:v>
                </c:pt>
                <c:pt idx="2306">
                  <c:v>1399-07-27</c:v>
                </c:pt>
                <c:pt idx="2307">
                  <c:v>1399-07-28</c:v>
                </c:pt>
                <c:pt idx="2308">
                  <c:v>1399-07-29</c:v>
                </c:pt>
                <c:pt idx="2309">
                  <c:v>1399-07-30</c:v>
                </c:pt>
                <c:pt idx="2310">
                  <c:v>1399-08-03</c:v>
                </c:pt>
                <c:pt idx="2311">
                  <c:v>1399-08-05</c:v>
                </c:pt>
                <c:pt idx="2312">
                  <c:v>1399-08-06</c:v>
                </c:pt>
                <c:pt idx="2313">
                  <c:v>1399-08-07</c:v>
                </c:pt>
                <c:pt idx="2314">
                  <c:v>1399-08-10</c:v>
                </c:pt>
                <c:pt idx="2315">
                  <c:v>1399-08-11</c:v>
                </c:pt>
                <c:pt idx="2316">
                  <c:v>1399-08-12</c:v>
                </c:pt>
                <c:pt idx="2317">
                  <c:v>1399-08-14</c:v>
                </c:pt>
                <c:pt idx="2318">
                  <c:v>1399-08-17</c:v>
                </c:pt>
                <c:pt idx="2319">
                  <c:v>1399-08-18</c:v>
                </c:pt>
                <c:pt idx="2320">
                  <c:v>1399-08-19</c:v>
                </c:pt>
                <c:pt idx="2321">
                  <c:v>1399-08-20</c:v>
                </c:pt>
                <c:pt idx="2322">
                  <c:v>1399-08-21</c:v>
                </c:pt>
                <c:pt idx="2323">
                  <c:v>1399-08-24</c:v>
                </c:pt>
                <c:pt idx="2324">
                  <c:v>1399-08-25</c:v>
                </c:pt>
                <c:pt idx="2325">
                  <c:v>1399-08-26</c:v>
                </c:pt>
                <c:pt idx="2326">
                  <c:v>1399-08-27</c:v>
                </c:pt>
                <c:pt idx="2327">
                  <c:v>1399-08-28</c:v>
                </c:pt>
                <c:pt idx="2328">
                  <c:v>1399-09-01</c:v>
                </c:pt>
                <c:pt idx="2329">
                  <c:v>1399-09-02</c:v>
                </c:pt>
                <c:pt idx="2330">
                  <c:v>1399-09-03</c:v>
                </c:pt>
                <c:pt idx="2331">
                  <c:v>1399-09-04</c:v>
                </c:pt>
                <c:pt idx="2332">
                  <c:v>1399-09-05</c:v>
                </c:pt>
                <c:pt idx="2333">
                  <c:v>1399-09-08</c:v>
                </c:pt>
                <c:pt idx="2334">
                  <c:v>1399-09-09</c:v>
                </c:pt>
                <c:pt idx="2335">
                  <c:v>1399-09-10</c:v>
                </c:pt>
                <c:pt idx="2336">
                  <c:v>1399-09-11</c:v>
                </c:pt>
                <c:pt idx="2337">
                  <c:v>1399-09-12</c:v>
                </c:pt>
                <c:pt idx="2338">
                  <c:v>1399-09-15</c:v>
                </c:pt>
                <c:pt idx="2339">
                  <c:v>1399-09-16</c:v>
                </c:pt>
                <c:pt idx="2340">
                  <c:v>1399-09-17</c:v>
                </c:pt>
                <c:pt idx="2341">
                  <c:v>1399-09-18</c:v>
                </c:pt>
                <c:pt idx="2342">
                  <c:v>1399-09-19</c:v>
                </c:pt>
                <c:pt idx="2343">
                  <c:v>1399-09-22</c:v>
                </c:pt>
                <c:pt idx="2344">
                  <c:v>1399-09-23</c:v>
                </c:pt>
                <c:pt idx="2345">
                  <c:v>1399-09-24</c:v>
                </c:pt>
                <c:pt idx="2346">
                  <c:v>1399-09-25</c:v>
                </c:pt>
                <c:pt idx="2347">
                  <c:v>1399-09-26</c:v>
                </c:pt>
                <c:pt idx="2348">
                  <c:v>1399-09-29</c:v>
                </c:pt>
                <c:pt idx="2349">
                  <c:v>1399-09-30</c:v>
                </c:pt>
                <c:pt idx="2350">
                  <c:v>1399-10-01</c:v>
                </c:pt>
                <c:pt idx="2351">
                  <c:v>1399-10-02</c:v>
                </c:pt>
                <c:pt idx="2352">
                  <c:v>1399-10-03</c:v>
                </c:pt>
                <c:pt idx="2353">
                  <c:v>1399-10-06</c:v>
                </c:pt>
                <c:pt idx="2354">
                  <c:v>1399-10-07</c:v>
                </c:pt>
                <c:pt idx="2355">
                  <c:v>1399-10-08</c:v>
                </c:pt>
                <c:pt idx="2356">
                  <c:v>1399-10-09</c:v>
                </c:pt>
                <c:pt idx="2357">
                  <c:v>1399-10-10</c:v>
                </c:pt>
                <c:pt idx="2358">
                  <c:v>1399-10-13</c:v>
                </c:pt>
                <c:pt idx="2359">
                  <c:v>1399-10-14</c:v>
                </c:pt>
                <c:pt idx="2360">
                  <c:v>1399-10-15</c:v>
                </c:pt>
                <c:pt idx="2361">
                  <c:v>1399-10-16</c:v>
                </c:pt>
                <c:pt idx="2362">
                  <c:v>1399-10-17</c:v>
                </c:pt>
                <c:pt idx="2363">
                  <c:v>1399-10-20</c:v>
                </c:pt>
                <c:pt idx="2364">
                  <c:v>1399-10-21</c:v>
                </c:pt>
                <c:pt idx="2365">
                  <c:v>1399-10-22</c:v>
                </c:pt>
                <c:pt idx="2366">
                  <c:v>1399-10-23</c:v>
                </c:pt>
                <c:pt idx="2367">
                  <c:v>1399-10-24</c:v>
                </c:pt>
                <c:pt idx="2368">
                  <c:v>1399-10-27</c:v>
                </c:pt>
                <c:pt idx="2369">
                  <c:v>1399-10-29</c:v>
                </c:pt>
                <c:pt idx="2370">
                  <c:v>1399-10-30</c:v>
                </c:pt>
                <c:pt idx="2371">
                  <c:v>1399-11-01</c:v>
                </c:pt>
                <c:pt idx="2372">
                  <c:v>1399-11-04</c:v>
                </c:pt>
                <c:pt idx="2373">
                  <c:v>1399-11-05</c:v>
                </c:pt>
                <c:pt idx="2374">
                  <c:v>1399-11-06</c:v>
                </c:pt>
                <c:pt idx="2375">
                  <c:v>1399-11-07</c:v>
                </c:pt>
                <c:pt idx="2376">
                  <c:v>1399-11-08</c:v>
                </c:pt>
                <c:pt idx="2377">
                  <c:v>1399-11-11</c:v>
                </c:pt>
                <c:pt idx="2378">
                  <c:v>1399-11-12</c:v>
                </c:pt>
                <c:pt idx="2379">
                  <c:v>1399-11-13</c:v>
                </c:pt>
                <c:pt idx="2380">
                  <c:v>1399-11-14</c:v>
                </c:pt>
                <c:pt idx="2381">
                  <c:v>1399-11-15</c:v>
                </c:pt>
                <c:pt idx="2382">
                  <c:v>1399-11-18</c:v>
                </c:pt>
                <c:pt idx="2383">
                  <c:v>1399-11-19</c:v>
                </c:pt>
                <c:pt idx="2384">
                  <c:v>1399-11-20</c:v>
                </c:pt>
                <c:pt idx="2385">
                  <c:v>1399-11-21</c:v>
                </c:pt>
                <c:pt idx="2386">
                  <c:v>1399-11-25</c:v>
                </c:pt>
                <c:pt idx="2387">
                  <c:v>1399-11-26</c:v>
                </c:pt>
                <c:pt idx="2388">
                  <c:v>1399-11-27</c:v>
                </c:pt>
                <c:pt idx="2389">
                  <c:v>1399-11-28</c:v>
                </c:pt>
                <c:pt idx="2390">
                  <c:v>1399-11-29</c:v>
                </c:pt>
                <c:pt idx="2391">
                  <c:v>1399-12-02</c:v>
                </c:pt>
                <c:pt idx="2392">
                  <c:v>1399-12-03</c:v>
                </c:pt>
                <c:pt idx="2393">
                  <c:v>1399-12-04</c:v>
                </c:pt>
                <c:pt idx="2394">
                  <c:v>1399-12-05</c:v>
                </c:pt>
                <c:pt idx="2395">
                  <c:v>1399-12-06</c:v>
                </c:pt>
                <c:pt idx="2396">
                  <c:v>1399-12-09</c:v>
                </c:pt>
                <c:pt idx="2397">
                  <c:v>1399-12-10</c:v>
                </c:pt>
                <c:pt idx="2398">
                  <c:v>1399-12-11</c:v>
                </c:pt>
                <c:pt idx="2399">
                  <c:v>1399-12-12</c:v>
                </c:pt>
                <c:pt idx="2400">
                  <c:v>1399-12-13</c:v>
                </c:pt>
                <c:pt idx="2401">
                  <c:v>1399-12-16</c:v>
                </c:pt>
                <c:pt idx="2402">
                  <c:v>1399-12-17</c:v>
                </c:pt>
                <c:pt idx="2403">
                  <c:v>1399-12-18</c:v>
                </c:pt>
                <c:pt idx="2404">
                  <c:v>1399-12-19</c:v>
                </c:pt>
                <c:pt idx="2405">
                  <c:v>1399-12-20</c:v>
                </c:pt>
                <c:pt idx="2406">
                  <c:v>1399-12-23</c:v>
                </c:pt>
                <c:pt idx="2407">
                  <c:v>1399-12-24</c:v>
                </c:pt>
                <c:pt idx="2408">
                  <c:v>1399-12-25</c:v>
                </c:pt>
                <c:pt idx="2409">
                  <c:v>1399-12-26</c:v>
                </c:pt>
                <c:pt idx="2410">
                  <c:v>1399-12-27</c:v>
                </c:pt>
                <c:pt idx="2411">
                  <c:v>1400-01-07</c:v>
                </c:pt>
                <c:pt idx="2412">
                  <c:v>1400-01-08</c:v>
                </c:pt>
                <c:pt idx="2413">
                  <c:v>1400-01-10</c:v>
                </c:pt>
                <c:pt idx="2414">
                  <c:v>1400-01-11</c:v>
                </c:pt>
                <c:pt idx="2415">
                  <c:v>1400-01-14</c:v>
                </c:pt>
                <c:pt idx="2416">
                  <c:v>1400-01-15</c:v>
                </c:pt>
                <c:pt idx="2417">
                  <c:v>1400-01-16</c:v>
                </c:pt>
                <c:pt idx="2418">
                  <c:v>1400-01-17</c:v>
                </c:pt>
                <c:pt idx="2419">
                  <c:v>1400-01-18</c:v>
                </c:pt>
                <c:pt idx="2420">
                  <c:v>1400-01-21</c:v>
                </c:pt>
                <c:pt idx="2421">
                  <c:v>1400-01-22</c:v>
                </c:pt>
                <c:pt idx="2422">
                  <c:v>1400-01-23</c:v>
                </c:pt>
                <c:pt idx="2423">
                  <c:v>1400-01-24</c:v>
                </c:pt>
                <c:pt idx="2424">
                  <c:v>1400-01-25</c:v>
                </c:pt>
                <c:pt idx="2425">
                  <c:v>1400-01-28</c:v>
                </c:pt>
                <c:pt idx="2426">
                  <c:v>1400-01-29</c:v>
                </c:pt>
                <c:pt idx="2427">
                  <c:v>1400-01-30</c:v>
                </c:pt>
                <c:pt idx="2428">
                  <c:v>1400-01-31</c:v>
                </c:pt>
                <c:pt idx="2429">
                  <c:v>1400-02-01</c:v>
                </c:pt>
                <c:pt idx="2430">
                  <c:v>1400-02-04</c:v>
                </c:pt>
                <c:pt idx="2431">
                  <c:v>1400-02-05</c:v>
                </c:pt>
                <c:pt idx="2432">
                  <c:v>1400-02-06</c:v>
                </c:pt>
                <c:pt idx="2433">
                  <c:v>1400-02-07</c:v>
                </c:pt>
                <c:pt idx="2434">
                  <c:v>1400-02-08</c:v>
                </c:pt>
                <c:pt idx="2435">
                  <c:v>1400-02-11</c:v>
                </c:pt>
                <c:pt idx="2436">
                  <c:v>1400-02-12</c:v>
                </c:pt>
                <c:pt idx="2437">
                  <c:v>1400-02-13</c:v>
                </c:pt>
                <c:pt idx="2438">
                  <c:v>1400-02-15</c:v>
                </c:pt>
                <c:pt idx="2439">
                  <c:v>1400-02-18</c:v>
                </c:pt>
                <c:pt idx="2440">
                  <c:v>1400-02-19</c:v>
                </c:pt>
                <c:pt idx="2441">
                  <c:v>1400-02-20</c:v>
                </c:pt>
                <c:pt idx="2442">
                  <c:v>1400-02-21</c:v>
                </c:pt>
                <c:pt idx="2443">
                  <c:v>1400-02-22</c:v>
                </c:pt>
                <c:pt idx="2444">
                  <c:v>1400-02-25</c:v>
                </c:pt>
                <c:pt idx="2445">
                  <c:v>1400-02-26</c:v>
                </c:pt>
                <c:pt idx="2446">
                  <c:v>1400-02-27</c:v>
                </c:pt>
                <c:pt idx="2447">
                  <c:v>1400-02-28</c:v>
                </c:pt>
                <c:pt idx="2448">
                  <c:v>1400-02-29</c:v>
                </c:pt>
                <c:pt idx="2449">
                  <c:v>1400-03-01</c:v>
                </c:pt>
                <c:pt idx="2450">
                  <c:v>1400-03-02</c:v>
                </c:pt>
                <c:pt idx="2451">
                  <c:v>1400-03-03</c:v>
                </c:pt>
                <c:pt idx="2452">
                  <c:v>1400-03-04</c:v>
                </c:pt>
                <c:pt idx="2453">
                  <c:v>1400-03-05</c:v>
                </c:pt>
                <c:pt idx="2454">
                  <c:v>1400-03-08</c:v>
                </c:pt>
                <c:pt idx="2455">
                  <c:v>1400-03-09</c:v>
                </c:pt>
                <c:pt idx="2456">
                  <c:v>1400-03-10</c:v>
                </c:pt>
                <c:pt idx="2457">
                  <c:v>1400-03-11</c:v>
                </c:pt>
                <c:pt idx="2458">
                  <c:v>1400-03-12</c:v>
                </c:pt>
                <c:pt idx="2459">
                  <c:v>1400-03-17</c:v>
                </c:pt>
                <c:pt idx="2460">
                  <c:v>1400-03-18</c:v>
                </c:pt>
                <c:pt idx="2461">
                  <c:v>1400-03-19</c:v>
                </c:pt>
                <c:pt idx="2462">
                  <c:v>1400-03-22</c:v>
                </c:pt>
                <c:pt idx="2463">
                  <c:v>1400-03-23</c:v>
                </c:pt>
                <c:pt idx="2464">
                  <c:v>1400-03-24</c:v>
                </c:pt>
                <c:pt idx="2465">
                  <c:v>1400-03-25</c:v>
                </c:pt>
                <c:pt idx="2466">
                  <c:v>1400-03-26</c:v>
                </c:pt>
                <c:pt idx="2467">
                  <c:v>1400-03-29</c:v>
                </c:pt>
                <c:pt idx="2468">
                  <c:v>1400-03-30</c:v>
                </c:pt>
                <c:pt idx="2469">
                  <c:v>1400-03-31</c:v>
                </c:pt>
                <c:pt idx="2470">
                  <c:v>1400-04-01</c:v>
                </c:pt>
                <c:pt idx="2471">
                  <c:v>1400-04-02</c:v>
                </c:pt>
                <c:pt idx="2472">
                  <c:v>1400-04-05</c:v>
                </c:pt>
                <c:pt idx="2473">
                  <c:v>1400-04-06</c:v>
                </c:pt>
                <c:pt idx="2474">
                  <c:v>1400-04-07</c:v>
                </c:pt>
                <c:pt idx="2475">
                  <c:v>1400-04-08</c:v>
                </c:pt>
                <c:pt idx="2476">
                  <c:v>1400-04-09</c:v>
                </c:pt>
                <c:pt idx="2477">
                  <c:v>1400-04-12</c:v>
                </c:pt>
                <c:pt idx="2478">
                  <c:v>1400-04-13</c:v>
                </c:pt>
                <c:pt idx="2479">
                  <c:v>1400-04-14</c:v>
                </c:pt>
                <c:pt idx="2480">
                  <c:v>1400-04-15</c:v>
                </c:pt>
                <c:pt idx="2481">
                  <c:v>1400-04-16</c:v>
                </c:pt>
                <c:pt idx="2482">
                  <c:v>1400-04-19</c:v>
                </c:pt>
                <c:pt idx="2483">
                  <c:v>1400-04-20</c:v>
                </c:pt>
                <c:pt idx="2484">
                  <c:v>1400-04-21</c:v>
                </c:pt>
                <c:pt idx="2485">
                  <c:v>1400-04-22</c:v>
                </c:pt>
                <c:pt idx="2486">
                  <c:v>1400-04-23</c:v>
                </c:pt>
                <c:pt idx="2487">
                  <c:v>1400-04-26</c:v>
                </c:pt>
                <c:pt idx="2488">
                  <c:v>1400-04-27</c:v>
                </c:pt>
                <c:pt idx="2489">
                  <c:v>1400-04-28</c:v>
                </c:pt>
                <c:pt idx="2490">
                  <c:v>1400-05-04</c:v>
                </c:pt>
                <c:pt idx="2491">
                  <c:v>1400-05-05</c:v>
                </c:pt>
                <c:pt idx="2492">
                  <c:v>1400-05-06</c:v>
                </c:pt>
                <c:pt idx="2493">
                  <c:v>1400-05-09</c:v>
                </c:pt>
                <c:pt idx="2494">
                  <c:v>1400-05-10</c:v>
                </c:pt>
                <c:pt idx="2495">
                  <c:v>1400-05-11</c:v>
                </c:pt>
                <c:pt idx="2496">
                  <c:v>1400-05-12</c:v>
                </c:pt>
                <c:pt idx="2497">
                  <c:v>1400-05-13</c:v>
                </c:pt>
                <c:pt idx="2498">
                  <c:v>1400-05-16</c:v>
                </c:pt>
                <c:pt idx="2499">
                  <c:v>1400-05-17</c:v>
                </c:pt>
                <c:pt idx="2500">
                  <c:v>1400-05-18</c:v>
                </c:pt>
                <c:pt idx="2501">
                  <c:v>1400-05-19</c:v>
                </c:pt>
                <c:pt idx="2502">
                  <c:v>1400-05-20</c:v>
                </c:pt>
                <c:pt idx="2503">
                  <c:v>1400-05-23</c:v>
                </c:pt>
                <c:pt idx="2504">
                  <c:v>1400-05-24</c:v>
                </c:pt>
                <c:pt idx="2505">
                  <c:v>1400-05-31</c:v>
                </c:pt>
                <c:pt idx="2506">
                  <c:v>1400-06-01</c:v>
                </c:pt>
                <c:pt idx="2507">
                  <c:v>1400-06-02</c:v>
                </c:pt>
                <c:pt idx="2508">
                  <c:v>1400-06-03</c:v>
                </c:pt>
                <c:pt idx="2509">
                  <c:v>1400-06-06</c:v>
                </c:pt>
                <c:pt idx="2510">
                  <c:v>1400-06-07</c:v>
                </c:pt>
                <c:pt idx="2511">
                  <c:v>1400-06-08</c:v>
                </c:pt>
                <c:pt idx="2512">
                  <c:v>1400-06-09</c:v>
                </c:pt>
                <c:pt idx="2513">
                  <c:v>1400-06-10</c:v>
                </c:pt>
                <c:pt idx="2514">
                  <c:v>1400-06-13</c:v>
                </c:pt>
                <c:pt idx="2515">
                  <c:v>1400-06-14</c:v>
                </c:pt>
                <c:pt idx="2516">
                  <c:v>1400-06-15</c:v>
                </c:pt>
                <c:pt idx="2517">
                  <c:v>1400-06-16</c:v>
                </c:pt>
                <c:pt idx="2518">
                  <c:v>1400-06-17</c:v>
                </c:pt>
                <c:pt idx="2519">
                  <c:v>1400-06-20</c:v>
                </c:pt>
                <c:pt idx="2520">
                  <c:v>1400-06-21</c:v>
                </c:pt>
                <c:pt idx="2521">
                  <c:v>1400-06-22</c:v>
                </c:pt>
                <c:pt idx="2522">
                  <c:v>1400-06-23</c:v>
                </c:pt>
                <c:pt idx="2523">
                  <c:v>1400-06-24</c:v>
                </c:pt>
                <c:pt idx="2524">
                  <c:v>1400-06-27</c:v>
                </c:pt>
                <c:pt idx="2525">
                  <c:v>1400-06-28</c:v>
                </c:pt>
                <c:pt idx="2526">
                  <c:v>1400-06-29</c:v>
                </c:pt>
                <c:pt idx="2527">
                  <c:v>1400-06-30</c:v>
                </c:pt>
                <c:pt idx="2528">
                  <c:v>1400-06-31</c:v>
                </c:pt>
                <c:pt idx="2529">
                  <c:v>1400-07-03</c:v>
                </c:pt>
                <c:pt idx="2530">
                  <c:v>1400-07-04</c:v>
                </c:pt>
                <c:pt idx="2531">
                  <c:v>1400-07-06</c:v>
                </c:pt>
                <c:pt idx="2532">
                  <c:v>1400-07-07</c:v>
                </c:pt>
                <c:pt idx="2533">
                  <c:v>1400-07-10</c:v>
                </c:pt>
                <c:pt idx="2534">
                  <c:v>1400-07-11</c:v>
                </c:pt>
                <c:pt idx="2535">
                  <c:v>1400-07-12</c:v>
                </c:pt>
                <c:pt idx="2536">
                  <c:v>1400-07-14</c:v>
                </c:pt>
                <c:pt idx="2537">
                  <c:v>1400-07-17</c:v>
                </c:pt>
                <c:pt idx="2538">
                  <c:v>1400-07-18</c:v>
                </c:pt>
                <c:pt idx="2539">
                  <c:v>1400-07-19</c:v>
                </c:pt>
                <c:pt idx="2540">
                  <c:v>1400-07-20</c:v>
                </c:pt>
                <c:pt idx="2541">
                  <c:v>1400-07-21</c:v>
                </c:pt>
                <c:pt idx="2542">
                  <c:v>1400-07-24</c:v>
                </c:pt>
                <c:pt idx="2543">
                  <c:v>1400-07-25</c:v>
                </c:pt>
                <c:pt idx="2544">
                  <c:v>1400-07-26</c:v>
                </c:pt>
                <c:pt idx="2545">
                  <c:v>1400-07-27</c:v>
                </c:pt>
                <c:pt idx="2546">
                  <c:v>1400-07-28</c:v>
                </c:pt>
                <c:pt idx="2547">
                  <c:v>1400-08-01</c:v>
                </c:pt>
                <c:pt idx="2548">
                  <c:v>1400-08-03</c:v>
                </c:pt>
                <c:pt idx="2549">
                  <c:v>1400-08-04</c:v>
                </c:pt>
                <c:pt idx="2550">
                  <c:v>1400-08-05</c:v>
                </c:pt>
                <c:pt idx="2551">
                  <c:v>1400-08-08</c:v>
                </c:pt>
                <c:pt idx="2552">
                  <c:v>1400-08-09</c:v>
                </c:pt>
                <c:pt idx="2553">
                  <c:v>1400-08-10</c:v>
                </c:pt>
                <c:pt idx="2554">
                  <c:v>1400-08-11</c:v>
                </c:pt>
                <c:pt idx="2555">
                  <c:v>1400-08-12</c:v>
                </c:pt>
                <c:pt idx="2556">
                  <c:v>1400-08-15</c:v>
                </c:pt>
                <c:pt idx="2557">
                  <c:v>1400-08-16</c:v>
                </c:pt>
                <c:pt idx="2558">
                  <c:v>1400-08-17</c:v>
                </c:pt>
                <c:pt idx="2559">
                  <c:v>1400-08-18</c:v>
                </c:pt>
                <c:pt idx="2560">
                  <c:v>1400-08-19</c:v>
                </c:pt>
                <c:pt idx="2561">
                  <c:v>1400-08-22</c:v>
                </c:pt>
                <c:pt idx="2562">
                  <c:v>1400-08-23</c:v>
                </c:pt>
                <c:pt idx="2563">
                  <c:v>1400-08-24</c:v>
                </c:pt>
                <c:pt idx="2564">
                  <c:v>1400-08-25</c:v>
                </c:pt>
                <c:pt idx="2565">
                  <c:v>1400-08-26</c:v>
                </c:pt>
                <c:pt idx="2566">
                  <c:v>1400-08-29</c:v>
                </c:pt>
                <c:pt idx="2567">
                  <c:v>1400-08-30</c:v>
                </c:pt>
                <c:pt idx="2568">
                  <c:v>1400-09-01</c:v>
                </c:pt>
                <c:pt idx="2569">
                  <c:v>1400-09-02</c:v>
                </c:pt>
                <c:pt idx="2570">
                  <c:v>1400-09-03</c:v>
                </c:pt>
                <c:pt idx="2571">
                  <c:v>1400-09-06</c:v>
                </c:pt>
                <c:pt idx="2572">
                  <c:v>1400-09-07</c:v>
                </c:pt>
                <c:pt idx="2573">
                  <c:v>1400-09-08</c:v>
                </c:pt>
                <c:pt idx="2574">
                  <c:v>1400-09-09</c:v>
                </c:pt>
                <c:pt idx="2575">
                  <c:v>1400-09-10</c:v>
                </c:pt>
                <c:pt idx="2576">
                  <c:v>1400-09-13</c:v>
                </c:pt>
                <c:pt idx="2577">
                  <c:v>1400-09-14</c:v>
                </c:pt>
                <c:pt idx="2578">
                  <c:v>1400-09-15</c:v>
                </c:pt>
                <c:pt idx="2579">
                  <c:v>1400-09-16</c:v>
                </c:pt>
                <c:pt idx="2580">
                  <c:v>1400-09-17</c:v>
                </c:pt>
                <c:pt idx="2581">
                  <c:v>1400-09-20</c:v>
                </c:pt>
                <c:pt idx="2582">
                  <c:v>1400-09-21</c:v>
                </c:pt>
                <c:pt idx="2583">
                  <c:v>1400-09-22</c:v>
                </c:pt>
                <c:pt idx="2584">
                  <c:v>1400-09-23</c:v>
                </c:pt>
                <c:pt idx="2585">
                  <c:v>1400-09-24</c:v>
                </c:pt>
                <c:pt idx="2586">
                  <c:v>1400-09-27</c:v>
                </c:pt>
                <c:pt idx="2587">
                  <c:v>1400-09-28</c:v>
                </c:pt>
                <c:pt idx="2588">
                  <c:v>1400-09-29</c:v>
                </c:pt>
                <c:pt idx="2589">
                  <c:v>1400-09-30</c:v>
                </c:pt>
                <c:pt idx="2590">
                  <c:v>1400-10-01</c:v>
                </c:pt>
                <c:pt idx="2591">
                  <c:v>1400-10-04</c:v>
                </c:pt>
                <c:pt idx="2592">
                  <c:v>1400-10-05</c:v>
                </c:pt>
                <c:pt idx="2593">
                  <c:v>1400-10-06</c:v>
                </c:pt>
                <c:pt idx="2594">
                  <c:v>1400-10-07</c:v>
                </c:pt>
                <c:pt idx="2595">
                  <c:v>1400-10-08</c:v>
                </c:pt>
                <c:pt idx="2596">
                  <c:v>1400-10-11</c:v>
                </c:pt>
                <c:pt idx="2597">
                  <c:v>1400-10-12</c:v>
                </c:pt>
                <c:pt idx="2598">
                  <c:v>1400-10-13</c:v>
                </c:pt>
                <c:pt idx="2599">
                  <c:v>1400-10-14</c:v>
                </c:pt>
                <c:pt idx="2600">
                  <c:v>1400-10-15</c:v>
                </c:pt>
                <c:pt idx="2601">
                  <c:v>1400-10-18</c:v>
                </c:pt>
                <c:pt idx="2602">
                  <c:v>1400-10-19</c:v>
                </c:pt>
                <c:pt idx="2603">
                  <c:v>1400-10-20</c:v>
                </c:pt>
                <c:pt idx="2604">
                  <c:v>1400-10-21</c:v>
                </c:pt>
                <c:pt idx="2605">
                  <c:v>1400-10-22</c:v>
                </c:pt>
                <c:pt idx="2606">
                  <c:v>1400-10-25</c:v>
                </c:pt>
                <c:pt idx="2607">
                  <c:v>1400-10-26</c:v>
                </c:pt>
                <c:pt idx="2608">
                  <c:v>1400-10-27</c:v>
                </c:pt>
                <c:pt idx="2609">
                  <c:v>1400-10-28</c:v>
                </c:pt>
                <c:pt idx="2610">
                  <c:v>1400-10-29</c:v>
                </c:pt>
                <c:pt idx="2611">
                  <c:v>1400-11-02</c:v>
                </c:pt>
                <c:pt idx="2612">
                  <c:v>1400-11-03</c:v>
                </c:pt>
                <c:pt idx="2613">
                  <c:v>1400-11-04</c:v>
                </c:pt>
                <c:pt idx="2614">
                  <c:v>1400-11-05</c:v>
                </c:pt>
                <c:pt idx="2615">
                  <c:v>1400-11-06</c:v>
                </c:pt>
                <c:pt idx="2616">
                  <c:v>1400-11-09</c:v>
                </c:pt>
                <c:pt idx="2617">
                  <c:v>1400-11-10</c:v>
                </c:pt>
                <c:pt idx="2618">
                  <c:v>1400-11-11</c:v>
                </c:pt>
                <c:pt idx="2619">
                  <c:v>1400-11-12</c:v>
                </c:pt>
                <c:pt idx="2620">
                  <c:v>1400-11-13</c:v>
                </c:pt>
                <c:pt idx="2621">
                  <c:v>1400-11-16</c:v>
                </c:pt>
                <c:pt idx="2622">
                  <c:v>1400-11-17</c:v>
                </c:pt>
                <c:pt idx="2623">
                  <c:v>1400-11-18</c:v>
                </c:pt>
                <c:pt idx="2624">
                  <c:v>1400-11-19</c:v>
                </c:pt>
                <c:pt idx="2625">
                  <c:v>1400-11-20</c:v>
                </c:pt>
                <c:pt idx="2626">
                  <c:v>1400-11-23</c:v>
                </c:pt>
                <c:pt idx="2627">
                  <c:v>1400-11-24</c:v>
                </c:pt>
                <c:pt idx="2628">
                  <c:v>1400-11-25</c:v>
                </c:pt>
                <c:pt idx="2629">
                  <c:v>1400-11-27</c:v>
                </c:pt>
                <c:pt idx="2630">
                  <c:v>1400-11-30</c:v>
                </c:pt>
                <c:pt idx="2631">
                  <c:v>1400-12-01</c:v>
                </c:pt>
                <c:pt idx="2632">
                  <c:v>1400-12-02</c:v>
                </c:pt>
                <c:pt idx="2633">
                  <c:v>1400-12-03</c:v>
                </c:pt>
                <c:pt idx="2634">
                  <c:v>1400-12-04</c:v>
                </c:pt>
                <c:pt idx="2635">
                  <c:v>1400-12-07</c:v>
                </c:pt>
                <c:pt idx="2636">
                  <c:v>1400-12-08</c:v>
                </c:pt>
                <c:pt idx="2637">
                  <c:v>1400-12-09</c:v>
                </c:pt>
                <c:pt idx="2638">
                  <c:v>1400-12-11</c:v>
                </c:pt>
                <c:pt idx="2639">
                  <c:v>1400-12-14</c:v>
                </c:pt>
                <c:pt idx="2640">
                  <c:v>1400-12-15</c:v>
                </c:pt>
                <c:pt idx="2641">
                  <c:v>1400-12-16</c:v>
                </c:pt>
                <c:pt idx="2642">
                  <c:v>1400-12-17</c:v>
                </c:pt>
                <c:pt idx="2643">
                  <c:v>1400-12-18</c:v>
                </c:pt>
                <c:pt idx="2644">
                  <c:v>1400-12-21</c:v>
                </c:pt>
                <c:pt idx="2645">
                  <c:v>1400-12-22</c:v>
                </c:pt>
                <c:pt idx="2646">
                  <c:v>1400-12-23</c:v>
                </c:pt>
                <c:pt idx="2647">
                  <c:v>1400-12-24</c:v>
                </c:pt>
                <c:pt idx="2648">
                  <c:v>1400-12-25</c:v>
                </c:pt>
                <c:pt idx="2649">
                  <c:v>1400-12-28</c:v>
                </c:pt>
                <c:pt idx="2650">
                  <c:v>1401-01-06</c:v>
                </c:pt>
                <c:pt idx="2651">
                  <c:v>1401-01-07</c:v>
                </c:pt>
                <c:pt idx="2652">
                  <c:v>1401-01-08</c:v>
                </c:pt>
                <c:pt idx="2653">
                  <c:v>1401-01-09</c:v>
                </c:pt>
                <c:pt idx="2654">
                  <c:v>1401-01-10</c:v>
                </c:pt>
                <c:pt idx="2655">
                  <c:v>1401-01-14</c:v>
                </c:pt>
                <c:pt idx="2656">
                  <c:v>1401-01-15</c:v>
                </c:pt>
                <c:pt idx="2657">
                  <c:v>1401-01-16</c:v>
                </c:pt>
                <c:pt idx="2658">
                  <c:v>1401-01-17</c:v>
                </c:pt>
                <c:pt idx="2659">
                  <c:v>1401-01-20</c:v>
                </c:pt>
                <c:pt idx="2660">
                  <c:v>1401-01-21</c:v>
                </c:pt>
                <c:pt idx="2661">
                  <c:v>1401-01-22</c:v>
                </c:pt>
                <c:pt idx="2662">
                  <c:v>1401-01-23</c:v>
                </c:pt>
                <c:pt idx="2663">
                  <c:v>1401-01-24</c:v>
                </c:pt>
                <c:pt idx="2664">
                  <c:v>1401-01-27</c:v>
                </c:pt>
                <c:pt idx="2665">
                  <c:v>1401-01-28</c:v>
                </c:pt>
                <c:pt idx="2666">
                  <c:v>1401-01-29</c:v>
                </c:pt>
                <c:pt idx="2667">
                  <c:v>1401-01-30</c:v>
                </c:pt>
                <c:pt idx="2668">
                  <c:v>1401-01-31</c:v>
                </c:pt>
                <c:pt idx="2669">
                  <c:v>1401-02-04</c:v>
                </c:pt>
                <c:pt idx="2670">
                  <c:v>1401-02-05</c:v>
                </c:pt>
                <c:pt idx="2671">
                  <c:v>1401-02-06</c:v>
                </c:pt>
                <c:pt idx="2672">
                  <c:v>1401-02-07</c:v>
                </c:pt>
                <c:pt idx="2673">
                  <c:v>1401-02-10</c:v>
                </c:pt>
                <c:pt idx="2674">
                  <c:v>1401-02-11</c:v>
                </c:pt>
                <c:pt idx="2675">
                  <c:v>1401-02-12</c:v>
                </c:pt>
                <c:pt idx="2676">
                  <c:v>1401-02-17</c:v>
                </c:pt>
                <c:pt idx="2677">
                  <c:v>1401-02-18</c:v>
                </c:pt>
                <c:pt idx="2678">
                  <c:v>1401-02-19</c:v>
                </c:pt>
                <c:pt idx="2679">
                  <c:v>1401-02-20</c:v>
                </c:pt>
                <c:pt idx="2680">
                  <c:v>1401-02-21</c:v>
                </c:pt>
                <c:pt idx="2681">
                  <c:v>1401-02-24</c:v>
                </c:pt>
                <c:pt idx="2682">
                  <c:v>1401-02-25</c:v>
                </c:pt>
                <c:pt idx="2683">
                  <c:v>1401-02-26</c:v>
                </c:pt>
                <c:pt idx="2684">
                  <c:v>1401-02-27</c:v>
                </c:pt>
                <c:pt idx="2685">
                  <c:v>1401-02-28</c:v>
                </c:pt>
                <c:pt idx="2686">
                  <c:v>1401-02-31</c:v>
                </c:pt>
                <c:pt idx="2687">
                  <c:v>1401-03-01</c:v>
                </c:pt>
                <c:pt idx="2688">
                  <c:v>1401-03-02</c:v>
                </c:pt>
                <c:pt idx="2689">
                  <c:v>1401-03-03</c:v>
                </c:pt>
                <c:pt idx="2690">
                  <c:v>1401-03-04</c:v>
                </c:pt>
                <c:pt idx="2691">
                  <c:v>1401-03-07</c:v>
                </c:pt>
                <c:pt idx="2692">
                  <c:v>1401-03-08</c:v>
                </c:pt>
                <c:pt idx="2693">
                  <c:v>1401-03-09</c:v>
                </c:pt>
                <c:pt idx="2694">
                  <c:v>1401-03-10</c:v>
                </c:pt>
                <c:pt idx="2695">
                  <c:v>1401-03-11</c:v>
                </c:pt>
                <c:pt idx="2696">
                  <c:v>1401-03-16</c:v>
                </c:pt>
                <c:pt idx="2697">
                  <c:v>1401-03-17</c:v>
                </c:pt>
                <c:pt idx="2698">
                  <c:v>1401-03-18</c:v>
                </c:pt>
                <c:pt idx="2699">
                  <c:v>1401-03-21</c:v>
                </c:pt>
                <c:pt idx="2700">
                  <c:v>1401-03-22</c:v>
                </c:pt>
                <c:pt idx="2701">
                  <c:v>1401-03-23</c:v>
                </c:pt>
                <c:pt idx="2702">
                  <c:v>1401-03-24</c:v>
                </c:pt>
                <c:pt idx="2703">
                  <c:v>1401-03-25</c:v>
                </c:pt>
                <c:pt idx="2704">
                  <c:v>1401-03-28</c:v>
                </c:pt>
                <c:pt idx="2705">
                  <c:v>1401-03-29</c:v>
                </c:pt>
                <c:pt idx="2706">
                  <c:v>1401-03-30</c:v>
                </c:pt>
                <c:pt idx="2707">
                  <c:v>1401-03-31</c:v>
                </c:pt>
                <c:pt idx="2708">
                  <c:v>1401-04-01</c:v>
                </c:pt>
                <c:pt idx="2709">
                  <c:v>1401-04-04</c:v>
                </c:pt>
                <c:pt idx="2710">
                  <c:v>1401-04-05</c:v>
                </c:pt>
                <c:pt idx="2711">
                  <c:v>1401-04-06</c:v>
                </c:pt>
                <c:pt idx="2712">
                  <c:v>1401-04-07</c:v>
                </c:pt>
                <c:pt idx="2713">
                  <c:v>1401-04-08</c:v>
                </c:pt>
                <c:pt idx="2714">
                  <c:v>1401-04-11</c:v>
                </c:pt>
                <c:pt idx="2715">
                  <c:v>1401-04-12</c:v>
                </c:pt>
                <c:pt idx="2716">
                  <c:v>1401-04-13</c:v>
                </c:pt>
                <c:pt idx="2717">
                  <c:v>1401-04-14</c:v>
                </c:pt>
                <c:pt idx="2718">
                  <c:v>1401-04-15</c:v>
                </c:pt>
                <c:pt idx="2719">
                  <c:v>1401-04-18</c:v>
                </c:pt>
                <c:pt idx="2720">
                  <c:v>1401-04-20</c:v>
                </c:pt>
                <c:pt idx="2721">
                  <c:v>1401-04-21</c:v>
                </c:pt>
                <c:pt idx="2722">
                  <c:v>1401-04-22</c:v>
                </c:pt>
                <c:pt idx="2723">
                  <c:v>1401-04-25</c:v>
                </c:pt>
                <c:pt idx="2724">
                  <c:v>1401-04-26</c:v>
                </c:pt>
                <c:pt idx="2725">
                  <c:v>1401-04-28</c:v>
                </c:pt>
                <c:pt idx="2726">
                  <c:v>1401-04-29</c:v>
                </c:pt>
                <c:pt idx="2727">
                  <c:v>1401-05-01</c:v>
                </c:pt>
                <c:pt idx="2728">
                  <c:v>1401-05-02</c:v>
                </c:pt>
                <c:pt idx="2729">
                  <c:v>1401-05-03</c:v>
                </c:pt>
                <c:pt idx="2730">
                  <c:v>1401-05-04</c:v>
                </c:pt>
                <c:pt idx="2731">
                  <c:v>1401-05-05</c:v>
                </c:pt>
                <c:pt idx="2732">
                  <c:v>1401-05-08</c:v>
                </c:pt>
                <c:pt idx="2733">
                  <c:v>1401-05-09</c:v>
                </c:pt>
                <c:pt idx="2734">
                  <c:v>1401-05-10</c:v>
                </c:pt>
                <c:pt idx="2735">
                  <c:v>1401-05-11</c:v>
                </c:pt>
                <c:pt idx="2736">
                  <c:v>1401-05-12</c:v>
                </c:pt>
                <c:pt idx="2737">
                  <c:v>1401-05-15</c:v>
                </c:pt>
                <c:pt idx="2738">
                  <c:v>1401-05-18</c:v>
                </c:pt>
                <c:pt idx="2739">
                  <c:v>1401-05-19</c:v>
                </c:pt>
                <c:pt idx="2740">
                  <c:v>1401-05-22</c:v>
                </c:pt>
                <c:pt idx="2741">
                  <c:v>1401-05-23</c:v>
                </c:pt>
                <c:pt idx="2742">
                  <c:v>1401-05-24</c:v>
                </c:pt>
                <c:pt idx="2743">
                  <c:v>1401-05-25</c:v>
                </c:pt>
                <c:pt idx="2744">
                  <c:v>1401-05-26</c:v>
                </c:pt>
                <c:pt idx="2745">
                  <c:v>1401-05-29</c:v>
                </c:pt>
                <c:pt idx="2746">
                  <c:v>1401-05-30</c:v>
                </c:pt>
                <c:pt idx="2747">
                  <c:v>1401-05-31</c:v>
                </c:pt>
                <c:pt idx="2748">
                  <c:v>1401-06-01</c:v>
                </c:pt>
                <c:pt idx="2749">
                  <c:v>1401-06-02</c:v>
                </c:pt>
                <c:pt idx="2750">
                  <c:v>1401-06-05</c:v>
                </c:pt>
                <c:pt idx="2751">
                  <c:v>1401-06-06</c:v>
                </c:pt>
                <c:pt idx="2752">
                  <c:v>1401-06-07</c:v>
                </c:pt>
                <c:pt idx="2753">
                  <c:v>1401-06-08</c:v>
                </c:pt>
                <c:pt idx="2754">
                  <c:v>1401-06-09</c:v>
                </c:pt>
                <c:pt idx="2755">
                  <c:v>1401-06-12</c:v>
                </c:pt>
                <c:pt idx="2756">
                  <c:v>1401-06-13</c:v>
                </c:pt>
                <c:pt idx="2757">
                  <c:v>1401-06-14</c:v>
                </c:pt>
                <c:pt idx="2758">
                  <c:v>1401-06-15</c:v>
                </c:pt>
                <c:pt idx="2759">
                  <c:v>1401-06-16</c:v>
                </c:pt>
                <c:pt idx="2760">
                  <c:v>1401-06-19</c:v>
                </c:pt>
                <c:pt idx="2761">
                  <c:v>1401-06-20</c:v>
                </c:pt>
                <c:pt idx="2762">
                  <c:v>1401-06-21</c:v>
                </c:pt>
                <c:pt idx="2763">
                  <c:v>1401-06-22</c:v>
                </c:pt>
                <c:pt idx="2764">
                  <c:v>1401-06-23</c:v>
                </c:pt>
                <c:pt idx="2765">
                  <c:v>1401-06-27</c:v>
                </c:pt>
                <c:pt idx="2766">
                  <c:v>1401-06-28</c:v>
                </c:pt>
                <c:pt idx="2767">
                  <c:v>1401-06-29</c:v>
                </c:pt>
                <c:pt idx="2768">
                  <c:v>1401-06-30</c:v>
                </c:pt>
                <c:pt idx="2769">
                  <c:v>1401-07-02</c:v>
                </c:pt>
                <c:pt idx="2770">
                  <c:v>1401-07-04</c:v>
                </c:pt>
                <c:pt idx="2771">
                  <c:v>1401-07-06</c:v>
                </c:pt>
                <c:pt idx="2772">
                  <c:v>1401-07-09</c:v>
                </c:pt>
                <c:pt idx="2773">
                  <c:v>1401-07-10</c:v>
                </c:pt>
                <c:pt idx="2774">
                  <c:v>1401-07-11</c:v>
                </c:pt>
                <c:pt idx="2775">
                  <c:v>1401-07-12</c:v>
                </c:pt>
                <c:pt idx="2776">
                  <c:v>1401-07-16</c:v>
                </c:pt>
                <c:pt idx="2777">
                  <c:v>1401-07-17</c:v>
                </c:pt>
                <c:pt idx="2778">
                  <c:v>1401-07-18</c:v>
                </c:pt>
                <c:pt idx="2779">
                  <c:v>1401-07-19</c:v>
                </c:pt>
                <c:pt idx="2780">
                  <c:v>1401-07-20</c:v>
                </c:pt>
                <c:pt idx="2781">
                  <c:v>1401-07-23</c:v>
                </c:pt>
                <c:pt idx="2782">
                  <c:v>1401-07-24</c:v>
                </c:pt>
                <c:pt idx="2783">
                  <c:v>1401-07-25</c:v>
                </c:pt>
                <c:pt idx="2784">
                  <c:v>1401-07-26</c:v>
                </c:pt>
                <c:pt idx="2785">
                  <c:v>1401-07-27</c:v>
                </c:pt>
                <c:pt idx="2786">
                  <c:v>1401-07-30</c:v>
                </c:pt>
                <c:pt idx="2787">
                  <c:v>1401-08-01</c:v>
                </c:pt>
                <c:pt idx="2788">
                  <c:v>1401-08-02</c:v>
                </c:pt>
                <c:pt idx="2789">
                  <c:v>1401-08-03</c:v>
                </c:pt>
                <c:pt idx="2790">
                  <c:v>1401-08-04</c:v>
                </c:pt>
                <c:pt idx="2791">
                  <c:v>1401-08-07</c:v>
                </c:pt>
                <c:pt idx="2792">
                  <c:v>1401-08-08</c:v>
                </c:pt>
                <c:pt idx="2793">
                  <c:v>1401-08-09</c:v>
                </c:pt>
                <c:pt idx="2794">
                  <c:v>1401-08-10</c:v>
                </c:pt>
                <c:pt idx="2795">
                  <c:v>1401-08-11</c:v>
                </c:pt>
                <c:pt idx="2796">
                  <c:v>1401-08-14</c:v>
                </c:pt>
                <c:pt idx="2797">
                  <c:v>1401-08-15</c:v>
                </c:pt>
                <c:pt idx="2798">
                  <c:v>1401-08-16</c:v>
                </c:pt>
                <c:pt idx="2799">
                  <c:v>1401-08-17</c:v>
                </c:pt>
                <c:pt idx="2800">
                  <c:v>1401-08-18</c:v>
                </c:pt>
                <c:pt idx="2801">
                  <c:v>1401-08-21</c:v>
                </c:pt>
                <c:pt idx="2802">
                  <c:v>1401-08-22</c:v>
                </c:pt>
                <c:pt idx="2803">
                  <c:v>1401-08-23</c:v>
                </c:pt>
                <c:pt idx="2804">
                  <c:v>1401-08-24</c:v>
                </c:pt>
                <c:pt idx="2805">
                  <c:v>1401-08-25</c:v>
                </c:pt>
                <c:pt idx="2806">
                  <c:v>1401-08-28</c:v>
                </c:pt>
                <c:pt idx="2807">
                  <c:v>1401-08-29</c:v>
                </c:pt>
                <c:pt idx="2808">
                  <c:v>1401-08-30</c:v>
                </c:pt>
                <c:pt idx="2809">
                  <c:v>1401-09-01</c:v>
                </c:pt>
                <c:pt idx="2810">
                  <c:v>1401-09-02</c:v>
                </c:pt>
                <c:pt idx="2811">
                  <c:v>1401-09-05</c:v>
                </c:pt>
                <c:pt idx="2812">
                  <c:v>1401-09-06</c:v>
                </c:pt>
                <c:pt idx="2813">
                  <c:v>1401-09-07</c:v>
                </c:pt>
                <c:pt idx="2814">
                  <c:v>1401-09-08</c:v>
                </c:pt>
                <c:pt idx="2815">
                  <c:v>1401-09-09</c:v>
                </c:pt>
                <c:pt idx="2816">
                  <c:v>1401-09-12</c:v>
                </c:pt>
                <c:pt idx="2817">
                  <c:v>1401-09-13</c:v>
                </c:pt>
                <c:pt idx="2818">
                  <c:v>1401-09-14</c:v>
                </c:pt>
                <c:pt idx="2819">
                  <c:v>1401-09-15</c:v>
                </c:pt>
                <c:pt idx="2820">
                  <c:v>1401-09-16</c:v>
                </c:pt>
                <c:pt idx="2821">
                  <c:v>1401-09-19</c:v>
                </c:pt>
                <c:pt idx="2822">
                  <c:v>1401-09-20</c:v>
                </c:pt>
                <c:pt idx="2823">
                  <c:v>1401-09-21</c:v>
                </c:pt>
                <c:pt idx="2824">
                  <c:v>1401-09-22</c:v>
                </c:pt>
                <c:pt idx="2825">
                  <c:v>1401-09-23</c:v>
                </c:pt>
                <c:pt idx="2826">
                  <c:v>1401-09-26</c:v>
                </c:pt>
                <c:pt idx="2827">
                  <c:v>1401-09-27</c:v>
                </c:pt>
                <c:pt idx="2828">
                  <c:v>1401-09-28</c:v>
                </c:pt>
                <c:pt idx="2829">
                  <c:v>1401-09-29</c:v>
                </c:pt>
                <c:pt idx="2830">
                  <c:v>1401-09-30</c:v>
                </c:pt>
                <c:pt idx="2831">
                  <c:v>1401-10-03</c:v>
                </c:pt>
                <c:pt idx="2832">
                  <c:v>1401-10-04</c:v>
                </c:pt>
                <c:pt idx="2833">
                  <c:v>1401-10-05</c:v>
                </c:pt>
                <c:pt idx="2834">
                  <c:v>1401-10-07</c:v>
                </c:pt>
                <c:pt idx="2835">
                  <c:v>1401-10-10</c:v>
                </c:pt>
                <c:pt idx="2836">
                  <c:v>1401-10-11</c:v>
                </c:pt>
                <c:pt idx="2837">
                  <c:v>1401-10-12</c:v>
                </c:pt>
                <c:pt idx="2838">
                  <c:v>1401-10-13</c:v>
                </c:pt>
                <c:pt idx="2839">
                  <c:v>1401-10-14</c:v>
                </c:pt>
                <c:pt idx="2840">
                  <c:v>1401-10-17</c:v>
                </c:pt>
                <c:pt idx="2841">
                  <c:v>1401-10-18</c:v>
                </c:pt>
                <c:pt idx="2842">
                  <c:v>1401-10-19</c:v>
                </c:pt>
                <c:pt idx="2843">
                  <c:v>1401-10-20</c:v>
                </c:pt>
                <c:pt idx="2844">
                  <c:v>1401-10-21</c:v>
                </c:pt>
                <c:pt idx="2845">
                  <c:v>1401-10-24</c:v>
                </c:pt>
                <c:pt idx="2846">
                  <c:v>1401-10-26</c:v>
                </c:pt>
                <c:pt idx="2847">
                  <c:v>1401-10-27</c:v>
                </c:pt>
                <c:pt idx="2848">
                  <c:v>1401-10-28</c:v>
                </c:pt>
                <c:pt idx="2849">
                  <c:v>1401-11-01</c:v>
                </c:pt>
                <c:pt idx="2850">
                  <c:v>1401-11-02</c:v>
                </c:pt>
                <c:pt idx="2851">
                  <c:v>1401-11-03</c:v>
                </c:pt>
                <c:pt idx="2852">
                  <c:v>1401-11-04</c:v>
                </c:pt>
                <c:pt idx="2853">
                  <c:v>1401-11-05</c:v>
                </c:pt>
                <c:pt idx="2854">
                  <c:v>1401-11-08</c:v>
                </c:pt>
                <c:pt idx="2855">
                  <c:v>1401-11-09</c:v>
                </c:pt>
                <c:pt idx="2856">
                  <c:v>1401-11-10</c:v>
                </c:pt>
                <c:pt idx="2857">
                  <c:v>1401-11-11</c:v>
                </c:pt>
                <c:pt idx="2858">
                  <c:v>1401-11-12</c:v>
                </c:pt>
                <c:pt idx="2859">
                  <c:v>1401-11-16</c:v>
                </c:pt>
                <c:pt idx="2860">
                  <c:v>1401-11-17</c:v>
                </c:pt>
                <c:pt idx="2861">
                  <c:v>1401-11-18</c:v>
                </c:pt>
                <c:pt idx="2862">
                  <c:v>1401-11-19</c:v>
                </c:pt>
                <c:pt idx="2863">
                  <c:v>1401-11-23</c:v>
                </c:pt>
                <c:pt idx="2864">
                  <c:v>1401-11-24</c:v>
                </c:pt>
                <c:pt idx="2865">
                  <c:v>1401-11-25</c:v>
                </c:pt>
                <c:pt idx="2866">
                  <c:v>1401-11-26</c:v>
                </c:pt>
                <c:pt idx="2867">
                  <c:v>1401-11-30</c:v>
                </c:pt>
                <c:pt idx="2868">
                  <c:v>1401-12-01</c:v>
                </c:pt>
                <c:pt idx="2869">
                  <c:v>1401-12-02</c:v>
                </c:pt>
                <c:pt idx="2870">
                  <c:v>1401-12-03</c:v>
                </c:pt>
                <c:pt idx="2871">
                  <c:v>1401-12-06</c:v>
                </c:pt>
                <c:pt idx="2872">
                  <c:v>1401-12-07</c:v>
                </c:pt>
                <c:pt idx="2873">
                  <c:v>1401-12-08</c:v>
                </c:pt>
                <c:pt idx="2874">
                  <c:v>1401-12-09</c:v>
                </c:pt>
                <c:pt idx="2875">
                  <c:v>1401-12-10</c:v>
                </c:pt>
                <c:pt idx="2876">
                  <c:v>1401-12-13</c:v>
                </c:pt>
                <c:pt idx="2877">
                  <c:v>1401-12-14</c:v>
                </c:pt>
                <c:pt idx="2878">
                  <c:v>1401-12-15</c:v>
                </c:pt>
                <c:pt idx="2879">
                  <c:v>1401-12-16</c:v>
                </c:pt>
                <c:pt idx="2880">
                  <c:v>1401-12-20</c:v>
                </c:pt>
                <c:pt idx="2881">
                  <c:v>1401-12-21</c:v>
                </c:pt>
                <c:pt idx="2882">
                  <c:v>1401-12-22</c:v>
                </c:pt>
                <c:pt idx="2883">
                  <c:v>1401-12-23</c:v>
                </c:pt>
                <c:pt idx="2884">
                  <c:v>1401-12-24</c:v>
                </c:pt>
                <c:pt idx="2885">
                  <c:v>1401-12-27</c:v>
                </c:pt>
                <c:pt idx="2886">
                  <c:v>1401-12-28</c:v>
                </c:pt>
                <c:pt idx="2887">
                  <c:v>1402-01-05</c:v>
                </c:pt>
                <c:pt idx="2888">
                  <c:v>1402-01-06</c:v>
                </c:pt>
                <c:pt idx="2889">
                  <c:v>1402-01-07</c:v>
                </c:pt>
                <c:pt idx="2890">
                  <c:v>1402-01-08</c:v>
                </c:pt>
                <c:pt idx="2891">
                  <c:v>1402-01-09</c:v>
                </c:pt>
                <c:pt idx="2892">
                  <c:v>1402-01-14</c:v>
                </c:pt>
                <c:pt idx="2893">
                  <c:v>1402-01-15</c:v>
                </c:pt>
                <c:pt idx="2894">
                  <c:v>1402-01-16</c:v>
                </c:pt>
                <c:pt idx="2895">
                  <c:v>1402-01-19</c:v>
                </c:pt>
                <c:pt idx="2896">
                  <c:v>1402-01-20</c:v>
                </c:pt>
                <c:pt idx="2897">
                  <c:v>1402-01-21</c:v>
                </c:pt>
                <c:pt idx="2898">
                  <c:v>1402-01-22</c:v>
                </c:pt>
                <c:pt idx="2899">
                  <c:v>1402-01-26</c:v>
                </c:pt>
                <c:pt idx="2900">
                  <c:v>1402-01-27</c:v>
                </c:pt>
                <c:pt idx="2901">
                  <c:v>1402-01-28</c:v>
                </c:pt>
                <c:pt idx="2902">
                  <c:v>1402-01-29</c:v>
                </c:pt>
                <c:pt idx="2903">
                  <c:v>1402-01-30</c:v>
                </c:pt>
                <c:pt idx="2904">
                  <c:v>1402-02-04</c:v>
                </c:pt>
                <c:pt idx="2905">
                  <c:v>1402-02-05</c:v>
                </c:pt>
                <c:pt idx="2906">
                  <c:v>1402-02-06</c:v>
                </c:pt>
                <c:pt idx="2907">
                  <c:v>1402-02-09</c:v>
                </c:pt>
                <c:pt idx="2908">
                  <c:v>1402-02-10</c:v>
                </c:pt>
                <c:pt idx="2909">
                  <c:v>1402-02-11</c:v>
                </c:pt>
                <c:pt idx="2910">
                  <c:v>1402-02-12</c:v>
                </c:pt>
                <c:pt idx="2911">
                  <c:v>1402-02-13</c:v>
                </c:pt>
                <c:pt idx="2912">
                  <c:v>1402-02-16</c:v>
                </c:pt>
                <c:pt idx="2913">
                  <c:v>1402-02-17</c:v>
                </c:pt>
                <c:pt idx="2914">
                  <c:v>1402-02-18</c:v>
                </c:pt>
                <c:pt idx="2915">
                  <c:v>1402-02-19</c:v>
                </c:pt>
                <c:pt idx="2916">
                  <c:v>1402-02-20</c:v>
                </c:pt>
                <c:pt idx="2917">
                  <c:v>1402-02-23</c:v>
                </c:pt>
                <c:pt idx="2918">
                  <c:v>1402-02-24</c:v>
                </c:pt>
                <c:pt idx="2919">
                  <c:v>1402-02-25</c:v>
                </c:pt>
                <c:pt idx="2920">
                  <c:v>1402-02-27</c:v>
                </c:pt>
                <c:pt idx="2921">
                  <c:v>1402-02-30</c:v>
                </c:pt>
                <c:pt idx="2922">
                  <c:v>1402-02-31</c:v>
                </c:pt>
                <c:pt idx="2923">
                  <c:v>1402-03-01</c:v>
                </c:pt>
                <c:pt idx="2924">
                  <c:v>1402-03-02</c:v>
                </c:pt>
                <c:pt idx="2925">
                  <c:v>1402-03-03</c:v>
                </c:pt>
                <c:pt idx="2926">
                  <c:v>1402-03-06</c:v>
                </c:pt>
                <c:pt idx="2927">
                  <c:v>1402-03-07</c:v>
                </c:pt>
                <c:pt idx="2928">
                  <c:v>1402-03-08</c:v>
                </c:pt>
                <c:pt idx="2929">
                  <c:v>1402-03-09</c:v>
                </c:pt>
                <c:pt idx="2930">
                  <c:v>1402-03-10</c:v>
                </c:pt>
                <c:pt idx="2931">
                  <c:v>1402-03-13</c:v>
                </c:pt>
                <c:pt idx="2932">
                  <c:v>1402-03-16</c:v>
                </c:pt>
                <c:pt idx="2933">
                  <c:v>1402-03-17</c:v>
                </c:pt>
                <c:pt idx="2934">
                  <c:v>1402-03-20</c:v>
                </c:pt>
                <c:pt idx="2935">
                  <c:v>1402-03-21</c:v>
                </c:pt>
                <c:pt idx="2936">
                  <c:v>1402-03-22</c:v>
                </c:pt>
                <c:pt idx="2937">
                  <c:v>1402-03-23</c:v>
                </c:pt>
                <c:pt idx="2938">
                  <c:v>1402-03-24</c:v>
                </c:pt>
                <c:pt idx="2939">
                  <c:v>1402-03-27</c:v>
                </c:pt>
                <c:pt idx="2940">
                  <c:v>1402-03-28</c:v>
                </c:pt>
                <c:pt idx="2941">
                  <c:v>1402-03-29</c:v>
                </c:pt>
                <c:pt idx="2942">
                  <c:v>1402-03-30</c:v>
                </c:pt>
                <c:pt idx="2943">
                  <c:v>1402-03-31</c:v>
                </c:pt>
                <c:pt idx="2944">
                  <c:v>1402-04-03</c:v>
                </c:pt>
                <c:pt idx="2945">
                  <c:v>1402-04-04</c:v>
                </c:pt>
                <c:pt idx="2946">
                  <c:v>1402-04-05</c:v>
                </c:pt>
                <c:pt idx="2947">
                  <c:v>1402-04-06</c:v>
                </c:pt>
                <c:pt idx="2948">
                  <c:v>1402-04-07</c:v>
                </c:pt>
                <c:pt idx="2949">
                  <c:v>1402-04-10</c:v>
                </c:pt>
                <c:pt idx="2950">
                  <c:v>1402-04-11</c:v>
                </c:pt>
                <c:pt idx="2951">
                  <c:v>1402-04-12</c:v>
                </c:pt>
                <c:pt idx="2952">
                  <c:v>1402-04-13</c:v>
                </c:pt>
                <c:pt idx="2953">
                  <c:v>1402-04-14</c:v>
                </c:pt>
                <c:pt idx="2954">
                  <c:v>1402-04-17</c:v>
                </c:pt>
                <c:pt idx="2955">
                  <c:v>1402-04-18</c:v>
                </c:pt>
                <c:pt idx="2956">
                  <c:v>1402-04-19</c:v>
                </c:pt>
                <c:pt idx="2957">
                  <c:v>1402-04-20</c:v>
                </c:pt>
                <c:pt idx="2958">
                  <c:v>1402-04-21</c:v>
                </c:pt>
                <c:pt idx="2959">
                  <c:v>1402-04-24</c:v>
                </c:pt>
                <c:pt idx="2960">
                  <c:v>1402-04-25</c:v>
                </c:pt>
                <c:pt idx="2961">
                  <c:v>1402-04-26</c:v>
                </c:pt>
                <c:pt idx="2962">
                  <c:v>1402-04-27</c:v>
                </c:pt>
                <c:pt idx="2963">
                  <c:v>1402-04-28</c:v>
                </c:pt>
                <c:pt idx="2964">
                  <c:v>1402-04-31</c:v>
                </c:pt>
                <c:pt idx="2965">
                  <c:v>1402-05-01</c:v>
                </c:pt>
                <c:pt idx="2966">
                  <c:v>1402-05-02</c:v>
                </c:pt>
                <c:pt idx="2967">
                  <c:v>1402-05-03</c:v>
                </c:pt>
                <c:pt idx="2968">
                  <c:v>1402-05-04</c:v>
                </c:pt>
                <c:pt idx="2969">
                  <c:v>1402-05-07</c:v>
                </c:pt>
                <c:pt idx="2970">
                  <c:v>1402-05-08</c:v>
                </c:pt>
                <c:pt idx="2971">
                  <c:v>1402-05-09</c:v>
                </c:pt>
                <c:pt idx="2972">
                  <c:v>1402-05-10</c:v>
                </c:pt>
                <c:pt idx="2973">
                  <c:v>1402-05-14</c:v>
                </c:pt>
                <c:pt idx="2974">
                  <c:v>1402-05-15</c:v>
                </c:pt>
                <c:pt idx="2975">
                  <c:v>1402-05-16</c:v>
                </c:pt>
                <c:pt idx="2976">
                  <c:v>1402-05-17</c:v>
                </c:pt>
                <c:pt idx="2977">
                  <c:v>1402-05-18</c:v>
                </c:pt>
                <c:pt idx="2978">
                  <c:v>1402-05-21</c:v>
                </c:pt>
                <c:pt idx="2979">
                  <c:v>1402-05-22</c:v>
                </c:pt>
                <c:pt idx="2980">
                  <c:v>1402-05-23</c:v>
                </c:pt>
                <c:pt idx="2981">
                  <c:v>1402-05-24</c:v>
                </c:pt>
                <c:pt idx="2982">
                  <c:v>1402-05-25</c:v>
                </c:pt>
                <c:pt idx="2983">
                  <c:v>1402-05-28</c:v>
                </c:pt>
                <c:pt idx="2984">
                  <c:v>1402-05-29</c:v>
                </c:pt>
                <c:pt idx="2985">
                  <c:v>1402-05-30</c:v>
                </c:pt>
                <c:pt idx="2986">
                  <c:v>1402-05-31</c:v>
                </c:pt>
                <c:pt idx="2987">
                  <c:v>1402-06-01</c:v>
                </c:pt>
                <c:pt idx="2988">
                  <c:v>1402-06-04</c:v>
                </c:pt>
                <c:pt idx="2989">
                  <c:v>1402-06-05</c:v>
                </c:pt>
                <c:pt idx="2990">
                  <c:v>1402-06-06</c:v>
                </c:pt>
                <c:pt idx="2991">
                  <c:v>1402-06-07</c:v>
                </c:pt>
                <c:pt idx="2992">
                  <c:v>1402-06-08</c:v>
                </c:pt>
                <c:pt idx="2993">
                  <c:v>1402-06-11</c:v>
                </c:pt>
                <c:pt idx="2994">
                  <c:v>1402-06-12</c:v>
                </c:pt>
                <c:pt idx="2995">
                  <c:v>1402-06-13</c:v>
                </c:pt>
                <c:pt idx="2996">
                  <c:v>1402-06-14</c:v>
                </c:pt>
                <c:pt idx="2997">
                  <c:v>1402-06-18</c:v>
                </c:pt>
                <c:pt idx="2998">
                  <c:v>1402-06-19</c:v>
                </c:pt>
                <c:pt idx="2999">
                  <c:v>1402-06-20</c:v>
                </c:pt>
                <c:pt idx="3000">
                  <c:v>1402-06-21</c:v>
                </c:pt>
                <c:pt idx="3001">
                  <c:v>1402-06-22</c:v>
                </c:pt>
                <c:pt idx="3002">
                  <c:v>1402-06-26</c:v>
                </c:pt>
                <c:pt idx="3003">
                  <c:v>1402-06-27</c:v>
                </c:pt>
                <c:pt idx="3004">
                  <c:v>1402-06-28</c:v>
                </c:pt>
                <c:pt idx="3005">
                  <c:v>1402-06-29</c:v>
                </c:pt>
                <c:pt idx="3006">
                  <c:v>1402-07-01</c:v>
                </c:pt>
                <c:pt idx="3007">
                  <c:v>1402-07-03</c:v>
                </c:pt>
                <c:pt idx="3008">
                  <c:v>1402-07-04</c:v>
                </c:pt>
                <c:pt idx="3009">
                  <c:v>1402-07-05</c:v>
                </c:pt>
                <c:pt idx="3010">
                  <c:v>1402-07-08</c:v>
                </c:pt>
                <c:pt idx="3011">
                  <c:v>1402-07-09</c:v>
                </c:pt>
                <c:pt idx="3012">
                  <c:v>1402-07-10</c:v>
                </c:pt>
                <c:pt idx="3013">
                  <c:v>1402-07-12</c:v>
                </c:pt>
                <c:pt idx="3014">
                  <c:v>1402-07-15</c:v>
                </c:pt>
                <c:pt idx="3015">
                  <c:v>1402-07-16</c:v>
                </c:pt>
                <c:pt idx="3016">
                  <c:v>1402-07-17</c:v>
                </c:pt>
                <c:pt idx="3017">
                  <c:v>1402-07-18</c:v>
                </c:pt>
                <c:pt idx="3018">
                  <c:v>1402-07-19</c:v>
                </c:pt>
                <c:pt idx="3019">
                  <c:v>1402-07-22</c:v>
                </c:pt>
                <c:pt idx="3020">
                  <c:v>1402-07-23</c:v>
                </c:pt>
                <c:pt idx="3021">
                  <c:v>1402-07-24</c:v>
                </c:pt>
                <c:pt idx="3022">
                  <c:v>1402-07-25</c:v>
                </c:pt>
                <c:pt idx="3023">
                  <c:v>1402-07-26</c:v>
                </c:pt>
                <c:pt idx="3024">
                  <c:v>1402-07-29</c:v>
                </c:pt>
                <c:pt idx="3025">
                  <c:v>1402-07-30</c:v>
                </c:pt>
                <c:pt idx="3026">
                  <c:v>1402-08-01</c:v>
                </c:pt>
                <c:pt idx="3027">
                  <c:v>1402-08-02</c:v>
                </c:pt>
                <c:pt idx="3028">
                  <c:v>1402-08-03</c:v>
                </c:pt>
                <c:pt idx="3029">
                  <c:v>1402-08-06</c:v>
                </c:pt>
                <c:pt idx="3030">
                  <c:v>1402-08-07</c:v>
                </c:pt>
                <c:pt idx="3031">
                  <c:v>1402-08-08</c:v>
                </c:pt>
                <c:pt idx="3032">
                  <c:v>1402-08-09</c:v>
                </c:pt>
                <c:pt idx="3033">
                  <c:v>1402-08-10</c:v>
                </c:pt>
                <c:pt idx="3034">
                  <c:v>1402-08-13</c:v>
                </c:pt>
                <c:pt idx="3035">
                  <c:v>1402-08-14</c:v>
                </c:pt>
                <c:pt idx="3036">
                  <c:v>1402-08-15</c:v>
                </c:pt>
                <c:pt idx="3037">
                  <c:v>1402-08-16</c:v>
                </c:pt>
                <c:pt idx="3038">
                  <c:v>1402-08-17</c:v>
                </c:pt>
                <c:pt idx="3039">
                  <c:v>1402-08-20</c:v>
                </c:pt>
                <c:pt idx="3040">
                  <c:v>1402-08-21</c:v>
                </c:pt>
                <c:pt idx="3041">
                  <c:v>1402-08-22</c:v>
                </c:pt>
                <c:pt idx="3042">
                  <c:v>1402-08-23</c:v>
                </c:pt>
                <c:pt idx="3043">
                  <c:v>1402-08-24</c:v>
                </c:pt>
                <c:pt idx="3044">
                  <c:v>1402-08-27</c:v>
                </c:pt>
                <c:pt idx="3045">
                  <c:v>1402-08-28</c:v>
                </c:pt>
                <c:pt idx="3046">
                  <c:v>1402-08-29</c:v>
                </c:pt>
                <c:pt idx="3047">
                  <c:v>1402-08-30</c:v>
                </c:pt>
                <c:pt idx="3048">
                  <c:v>1402-09-01</c:v>
                </c:pt>
                <c:pt idx="3049">
                  <c:v>1402-09-04</c:v>
                </c:pt>
                <c:pt idx="3050">
                  <c:v>1402-09-05</c:v>
                </c:pt>
                <c:pt idx="3051">
                  <c:v>1402-09-06</c:v>
                </c:pt>
                <c:pt idx="3052">
                  <c:v>1402-09-07</c:v>
                </c:pt>
                <c:pt idx="3053">
                  <c:v>1402-09-08</c:v>
                </c:pt>
                <c:pt idx="3054">
                  <c:v>1402-09-11</c:v>
                </c:pt>
                <c:pt idx="3055">
                  <c:v>1402-09-12</c:v>
                </c:pt>
                <c:pt idx="3056">
                  <c:v>1402-09-13</c:v>
                </c:pt>
                <c:pt idx="3057">
                  <c:v>1402-09-14</c:v>
                </c:pt>
                <c:pt idx="3058">
                  <c:v>1402-09-15</c:v>
                </c:pt>
                <c:pt idx="3059">
                  <c:v>1402-09-18</c:v>
                </c:pt>
                <c:pt idx="3060">
                  <c:v>1402-09-19</c:v>
                </c:pt>
                <c:pt idx="3061">
                  <c:v>1402-09-20</c:v>
                </c:pt>
                <c:pt idx="3062">
                  <c:v>1402-09-21</c:v>
                </c:pt>
                <c:pt idx="3063">
                  <c:v>1402-09-22</c:v>
                </c:pt>
                <c:pt idx="3064">
                  <c:v>1402-09-25</c:v>
                </c:pt>
                <c:pt idx="3065">
                  <c:v>1402-09-27</c:v>
                </c:pt>
                <c:pt idx="3066">
                  <c:v>1402-09-28</c:v>
                </c:pt>
                <c:pt idx="3067">
                  <c:v>1402-09-29</c:v>
                </c:pt>
                <c:pt idx="3068">
                  <c:v>1402-10-03</c:v>
                </c:pt>
                <c:pt idx="3069">
                  <c:v>1402-10-04</c:v>
                </c:pt>
                <c:pt idx="3070">
                  <c:v>1402-10-05</c:v>
                </c:pt>
                <c:pt idx="3071">
                  <c:v>1402-10-06</c:v>
                </c:pt>
                <c:pt idx="3072">
                  <c:v>1402-10-09</c:v>
                </c:pt>
                <c:pt idx="3073">
                  <c:v>1402-10-10</c:v>
                </c:pt>
                <c:pt idx="3074">
                  <c:v>1402-10-11</c:v>
                </c:pt>
                <c:pt idx="3075">
                  <c:v>1402-10-12</c:v>
                </c:pt>
                <c:pt idx="3076">
                  <c:v>1402-10-13</c:v>
                </c:pt>
                <c:pt idx="3077">
                  <c:v>1402-10-16</c:v>
                </c:pt>
                <c:pt idx="3078">
                  <c:v>1402-10-17</c:v>
                </c:pt>
                <c:pt idx="3079">
                  <c:v>1402-10-18</c:v>
                </c:pt>
                <c:pt idx="3080">
                  <c:v>1402-10-19</c:v>
                </c:pt>
                <c:pt idx="3081">
                  <c:v>1402-10-20</c:v>
                </c:pt>
                <c:pt idx="3082">
                  <c:v>1402-10-23</c:v>
                </c:pt>
                <c:pt idx="3083">
                  <c:v>1402-10-24</c:v>
                </c:pt>
                <c:pt idx="3084">
                  <c:v>1402-10-25</c:v>
                </c:pt>
                <c:pt idx="3085">
                  <c:v>1402-10-26</c:v>
                </c:pt>
                <c:pt idx="3086">
                  <c:v>1402-10-27</c:v>
                </c:pt>
                <c:pt idx="3087">
                  <c:v>1402-10-30</c:v>
                </c:pt>
                <c:pt idx="3088">
                  <c:v>1402-11-01</c:v>
                </c:pt>
                <c:pt idx="3089">
                  <c:v>1402-11-02</c:v>
                </c:pt>
                <c:pt idx="3090">
                  <c:v>1402-11-03</c:v>
                </c:pt>
                <c:pt idx="3091">
                  <c:v>1402-11-04</c:v>
                </c:pt>
                <c:pt idx="3092">
                  <c:v>1402-11-07</c:v>
                </c:pt>
                <c:pt idx="3093">
                  <c:v>1402-11-08</c:v>
                </c:pt>
                <c:pt idx="3094">
                  <c:v>1402-11-09</c:v>
                </c:pt>
                <c:pt idx="3095">
                  <c:v>1402-11-10</c:v>
                </c:pt>
                <c:pt idx="3096">
                  <c:v>1402-11-11</c:v>
                </c:pt>
                <c:pt idx="3097">
                  <c:v>1402-11-14</c:v>
                </c:pt>
                <c:pt idx="3098">
                  <c:v>1402-11-15</c:v>
                </c:pt>
                <c:pt idx="3099">
                  <c:v>1402-11-16</c:v>
                </c:pt>
                <c:pt idx="3100">
                  <c:v>1402-11-17</c:v>
                </c:pt>
                <c:pt idx="3101">
                  <c:v>1402-11-18</c:v>
                </c:pt>
                <c:pt idx="3102">
                  <c:v>1402-11-21</c:v>
                </c:pt>
                <c:pt idx="3103">
                  <c:v>1402-11-23</c:v>
                </c:pt>
                <c:pt idx="3104">
                  <c:v>1402-11-24</c:v>
                </c:pt>
                <c:pt idx="3105">
                  <c:v>1402-11-25</c:v>
                </c:pt>
                <c:pt idx="3106">
                  <c:v>1402-11-28</c:v>
                </c:pt>
                <c:pt idx="3107">
                  <c:v>1402-11-29</c:v>
                </c:pt>
                <c:pt idx="3108">
                  <c:v>1402-11-30</c:v>
                </c:pt>
                <c:pt idx="3109">
                  <c:v>1402-12-01</c:v>
                </c:pt>
                <c:pt idx="3110">
                  <c:v>1402-12-02</c:v>
                </c:pt>
                <c:pt idx="3111">
                  <c:v>1402-12-05</c:v>
                </c:pt>
                <c:pt idx="3112">
                  <c:v>1402-12-07</c:v>
                </c:pt>
                <c:pt idx="3113">
                  <c:v>1402-12-08</c:v>
                </c:pt>
                <c:pt idx="3114">
                  <c:v>1402-12-09</c:v>
                </c:pt>
                <c:pt idx="3115">
                  <c:v>1402-12-12</c:v>
                </c:pt>
                <c:pt idx="3116">
                  <c:v>1402-12-13</c:v>
                </c:pt>
                <c:pt idx="3117">
                  <c:v>1402-12-14</c:v>
                </c:pt>
                <c:pt idx="3118">
                  <c:v>1402-12-15</c:v>
                </c:pt>
                <c:pt idx="3119">
                  <c:v>1402-12-16</c:v>
                </c:pt>
                <c:pt idx="3120">
                  <c:v>1402-12-19</c:v>
                </c:pt>
                <c:pt idx="3121">
                  <c:v>1402-12-20</c:v>
                </c:pt>
                <c:pt idx="3122">
                  <c:v>1402-12-21</c:v>
                </c:pt>
                <c:pt idx="3123">
                  <c:v>1402-12-22</c:v>
                </c:pt>
                <c:pt idx="3124">
                  <c:v>1402-12-23</c:v>
                </c:pt>
                <c:pt idx="3125">
                  <c:v>1402-12-26</c:v>
                </c:pt>
                <c:pt idx="3126">
                  <c:v>1402-12-27</c:v>
                </c:pt>
                <c:pt idx="3127">
                  <c:v>1402-12-28</c:v>
                </c:pt>
                <c:pt idx="3128">
                  <c:v>1403-01-05</c:v>
                </c:pt>
                <c:pt idx="3129">
                  <c:v>1403-01-06</c:v>
                </c:pt>
                <c:pt idx="3130">
                  <c:v>1403-01-07</c:v>
                </c:pt>
                <c:pt idx="3131">
                  <c:v>1403-01-08</c:v>
                </c:pt>
                <c:pt idx="3132">
                  <c:v>1403-01-11</c:v>
                </c:pt>
                <c:pt idx="3133">
                  <c:v>1403-01-14</c:v>
                </c:pt>
                <c:pt idx="3134">
                  <c:v>1403-01-15</c:v>
                </c:pt>
                <c:pt idx="3135">
                  <c:v>1403-01-18</c:v>
                </c:pt>
                <c:pt idx="3136">
                  <c:v>1403-01-19</c:v>
                </c:pt>
                <c:pt idx="3137">
                  <c:v>1403-01-20</c:v>
                </c:pt>
                <c:pt idx="3138">
                  <c:v>1403-01-21</c:v>
                </c:pt>
                <c:pt idx="3139">
                  <c:v>1403-01-25</c:v>
                </c:pt>
                <c:pt idx="3140">
                  <c:v>1403-01-26</c:v>
                </c:pt>
                <c:pt idx="3141">
                  <c:v>1403-01-27</c:v>
                </c:pt>
                <c:pt idx="3142">
                  <c:v>1403-01-28</c:v>
                </c:pt>
                <c:pt idx="3143">
                  <c:v>1403-01-29</c:v>
                </c:pt>
                <c:pt idx="3144">
                  <c:v>1403-02-01</c:v>
                </c:pt>
                <c:pt idx="3145">
                  <c:v>1403-02-02</c:v>
                </c:pt>
                <c:pt idx="3146">
                  <c:v>1403-02-03</c:v>
                </c:pt>
                <c:pt idx="3147">
                  <c:v>1403-02-04</c:v>
                </c:pt>
                <c:pt idx="3148">
                  <c:v>1403-02-05</c:v>
                </c:pt>
                <c:pt idx="3149">
                  <c:v>1403-02-08</c:v>
                </c:pt>
                <c:pt idx="3150">
                  <c:v>1403-02-09</c:v>
                </c:pt>
                <c:pt idx="3151">
                  <c:v>1403-02-10</c:v>
                </c:pt>
                <c:pt idx="3152">
                  <c:v>1403-02-11</c:v>
                </c:pt>
                <c:pt idx="3153">
                  <c:v>1403-02-12</c:v>
                </c:pt>
                <c:pt idx="3154">
                  <c:v>1403-02-16</c:v>
                </c:pt>
                <c:pt idx="3155">
                  <c:v>1403-02-17</c:v>
                </c:pt>
                <c:pt idx="3156">
                  <c:v>1403-02-18</c:v>
                </c:pt>
                <c:pt idx="3157">
                  <c:v>1403-02-19</c:v>
                </c:pt>
                <c:pt idx="3158">
                  <c:v>1403-02-22</c:v>
                </c:pt>
                <c:pt idx="3159">
                  <c:v>1403-02-23</c:v>
                </c:pt>
                <c:pt idx="3160">
                  <c:v>1403-02-24</c:v>
                </c:pt>
                <c:pt idx="3161">
                  <c:v>1403-02-25</c:v>
                </c:pt>
                <c:pt idx="3162">
                  <c:v>1403-02-26</c:v>
                </c:pt>
                <c:pt idx="3163">
                  <c:v>1403-02-29</c:v>
                </c:pt>
                <c:pt idx="3164">
                  <c:v>1403-02-30</c:v>
                </c:pt>
                <c:pt idx="3165">
                  <c:v>1403-03-01</c:v>
                </c:pt>
                <c:pt idx="3166">
                  <c:v>1403-03-05</c:v>
                </c:pt>
                <c:pt idx="3167">
                  <c:v>1403-03-06</c:v>
                </c:pt>
                <c:pt idx="3168">
                  <c:v>1403-03-07</c:v>
                </c:pt>
                <c:pt idx="3169">
                  <c:v>1403-03-08</c:v>
                </c:pt>
                <c:pt idx="3170">
                  <c:v>1403-03-09</c:v>
                </c:pt>
                <c:pt idx="3171">
                  <c:v>1403-03-12</c:v>
                </c:pt>
                <c:pt idx="3172">
                  <c:v>1403-03-13</c:v>
                </c:pt>
                <c:pt idx="3173">
                  <c:v>1403-03-16</c:v>
                </c:pt>
                <c:pt idx="3174">
                  <c:v>1403-03-19</c:v>
                </c:pt>
                <c:pt idx="3175">
                  <c:v>1403-03-20</c:v>
                </c:pt>
                <c:pt idx="3176">
                  <c:v>1403-03-21</c:v>
                </c:pt>
                <c:pt idx="3177">
                  <c:v>1403-03-22</c:v>
                </c:pt>
                <c:pt idx="3178">
                  <c:v>1403-03-23</c:v>
                </c:pt>
                <c:pt idx="3179">
                  <c:v>1403-03-26</c:v>
                </c:pt>
                <c:pt idx="3180">
                  <c:v>1403-03-27</c:v>
                </c:pt>
                <c:pt idx="3181">
                  <c:v>1403-03-29</c:v>
                </c:pt>
                <c:pt idx="3182">
                  <c:v>1403-03-30</c:v>
                </c:pt>
                <c:pt idx="3183">
                  <c:v>1403-04-02</c:v>
                </c:pt>
                <c:pt idx="3184">
                  <c:v>1403-04-03</c:v>
                </c:pt>
                <c:pt idx="3185">
                  <c:v>1403-04-04</c:v>
                </c:pt>
                <c:pt idx="3186">
                  <c:v>1403-04-06</c:v>
                </c:pt>
                <c:pt idx="3187">
                  <c:v>1403-04-09</c:v>
                </c:pt>
                <c:pt idx="3188">
                  <c:v>1403-04-10</c:v>
                </c:pt>
                <c:pt idx="3189">
                  <c:v>1403-04-11</c:v>
                </c:pt>
                <c:pt idx="3190">
                  <c:v>1403-04-09</c:v>
                </c:pt>
                <c:pt idx="3191">
                  <c:v>1403-04-10</c:v>
                </c:pt>
                <c:pt idx="3192">
                  <c:v>1403-04-11</c:v>
                </c:pt>
                <c:pt idx="3193">
                  <c:v>1403-04-12</c:v>
                </c:pt>
                <c:pt idx="3194">
                  <c:v>1403-04-13</c:v>
                </c:pt>
                <c:pt idx="3195">
                  <c:v>1403-04-16</c:v>
                </c:pt>
                <c:pt idx="3196">
                  <c:v>1403-04-17</c:v>
                </c:pt>
                <c:pt idx="3197">
                  <c:v>1403-04-18</c:v>
                </c:pt>
                <c:pt idx="3198">
                  <c:v>1403-04-19</c:v>
                </c:pt>
                <c:pt idx="3199">
                  <c:v>1403-04-20</c:v>
                </c:pt>
                <c:pt idx="3200">
                  <c:v>1403-04-23</c:v>
                </c:pt>
                <c:pt idx="3201">
                  <c:v>1403-04-24</c:v>
                </c:pt>
                <c:pt idx="3202">
                  <c:v>1403-04-27</c:v>
                </c:pt>
                <c:pt idx="3203">
                  <c:v>1403-04-30</c:v>
                </c:pt>
                <c:pt idx="3204">
                  <c:v>1403-04-31</c:v>
                </c:pt>
                <c:pt idx="3205">
                  <c:v>1403-05-01</c:v>
                </c:pt>
                <c:pt idx="3206">
                  <c:v>1403-05-02</c:v>
                </c:pt>
                <c:pt idx="3207">
                  <c:v>1403-05-03</c:v>
                </c:pt>
                <c:pt idx="3208">
                  <c:v>1403-05-06</c:v>
                </c:pt>
                <c:pt idx="3209">
                  <c:v>1403-05-08</c:v>
                </c:pt>
                <c:pt idx="3210">
                  <c:v>1403-05-09</c:v>
                </c:pt>
                <c:pt idx="3211">
                  <c:v>1403-05-10</c:v>
                </c:pt>
                <c:pt idx="3212">
                  <c:v>1403-05-13</c:v>
                </c:pt>
                <c:pt idx="3213">
                  <c:v>1403-05-14</c:v>
                </c:pt>
                <c:pt idx="3214">
                  <c:v>1403-05-15</c:v>
                </c:pt>
                <c:pt idx="3215">
                  <c:v>1403-05-16</c:v>
                </c:pt>
                <c:pt idx="3216">
                  <c:v>1403-05-20</c:v>
                </c:pt>
                <c:pt idx="3217">
                  <c:v>1403-05-21</c:v>
                </c:pt>
                <c:pt idx="3218">
                  <c:v>1403-05-22</c:v>
                </c:pt>
                <c:pt idx="3219">
                  <c:v>1403-05-23</c:v>
                </c:pt>
                <c:pt idx="3220">
                  <c:v>1403-05-24</c:v>
                </c:pt>
                <c:pt idx="3221">
                  <c:v>1403-05-27</c:v>
                </c:pt>
                <c:pt idx="3222">
                  <c:v>1403-05-28</c:v>
                </c:pt>
                <c:pt idx="3223">
                  <c:v>1403-05-29</c:v>
                </c:pt>
                <c:pt idx="3224">
                  <c:v>1403-05-30</c:v>
                </c:pt>
                <c:pt idx="3225">
                  <c:v>1403-05-31</c:v>
                </c:pt>
                <c:pt idx="3226">
                  <c:v>1403-06-03</c:v>
                </c:pt>
                <c:pt idx="3227">
                  <c:v>1403-06-05</c:v>
                </c:pt>
                <c:pt idx="3228">
                  <c:v>1403-06-06</c:v>
                </c:pt>
                <c:pt idx="3229">
                  <c:v>1403-06-07</c:v>
                </c:pt>
                <c:pt idx="3230">
                  <c:v>1403-06-10</c:v>
                </c:pt>
                <c:pt idx="3231">
                  <c:v>1403-06-11</c:v>
                </c:pt>
                <c:pt idx="3232">
                  <c:v>1403-06-13</c:v>
                </c:pt>
                <c:pt idx="3233">
                  <c:v>1403-06-17</c:v>
                </c:pt>
                <c:pt idx="3234">
                  <c:v>1403-06-18</c:v>
                </c:pt>
                <c:pt idx="3235">
                  <c:v>1403-06-19</c:v>
                </c:pt>
                <c:pt idx="3236">
                  <c:v>1403-06-20</c:v>
                </c:pt>
                <c:pt idx="3237">
                  <c:v>1403-06-21</c:v>
                </c:pt>
                <c:pt idx="3238">
                  <c:v>1403-06-24</c:v>
                </c:pt>
                <c:pt idx="3239">
                  <c:v>1403-06-25</c:v>
                </c:pt>
                <c:pt idx="3240">
                  <c:v>1403-06-26</c:v>
                </c:pt>
                <c:pt idx="3241">
                  <c:v>1403-06-28</c:v>
                </c:pt>
                <c:pt idx="3242">
                  <c:v>1403-07-01</c:v>
                </c:pt>
                <c:pt idx="3243">
                  <c:v>1403-07-02</c:v>
                </c:pt>
                <c:pt idx="3244">
                  <c:v>1403-07-03</c:v>
                </c:pt>
                <c:pt idx="3245">
                  <c:v>1403-07-04</c:v>
                </c:pt>
                <c:pt idx="3246">
                  <c:v>1403-07-07</c:v>
                </c:pt>
                <c:pt idx="3247">
                  <c:v>1403-07-08</c:v>
                </c:pt>
                <c:pt idx="3248">
                  <c:v>1403-07-09</c:v>
                </c:pt>
                <c:pt idx="3249">
                  <c:v>1403-07-10</c:v>
                </c:pt>
                <c:pt idx="3250">
                  <c:v>1403-07-11</c:v>
                </c:pt>
                <c:pt idx="3251">
                  <c:v>1403-07-14</c:v>
                </c:pt>
                <c:pt idx="3252">
                  <c:v>1403-07-15</c:v>
                </c:pt>
                <c:pt idx="3253">
                  <c:v>1403-07-16</c:v>
                </c:pt>
                <c:pt idx="3254">
                  <c:v>1403-07-17</c:v>
                </c:pt>
                <c:pt idx="3255">
                  <c:v>1403-07-18</c:v>
                </c:pt>
                <c:pt idx="3256">
                  <c:v>1403-07-18</c:v>
                </c:pt>
                <c:pt idx="3257">
                  <c:v>1403-07-21</c:v>
                </c:pt>
                <c:pt idx="3258">
                  <c:v>1403-07-22</c:v>
                </c:pt>
                <c:pt idx="3259">
                  <c:v>1403-07-23</c:v>
                </c:pt>
                <c:pt idx="3260">
                  <c:v>1403-07-24</c:v>
                </c:pt>
                <c:pt idx="3261">
                  <c:v>1403-07-25</c:v>
                </c:pt>
                <c:pt idx="3262">
                  <c:v>1403-07-28</c:v>
                </c:pt>
                <c:pt idx="3263">
                  <c:v>1403-07-29</c:v>
                </c:pt>
                <c:pt idx="3264">
                  <c:v>1403-07-30</c:v>
                </c:pt>
                <c:pt idx="3265">
                  <c:v>1403-08-01</c:v>
                </c:pt>
                <c:pt idx="3266">
                  <c:v>1403-08-02</c:v>
                </c:pt>
                <c:pt idx="3267">
                  <c:v>1403-08-05</c:v>
                </c:pt>
                <c:pt idx="3268">
                  <c:v>1403-08-06</c:v>
                </c:pt>
                <c:pt idx="3269">
                  <c:v>1403-08-07</c:v>
                </c:pt>
                <c:pt idx="3270">
                  <c:v>1403-08-08</c:v>
                </c:pt>
                <c:pt idx="3271">
                  <c:v>1403-08-09</c:v>
                </c:pt>
                <c:pt idx="3272">
                  <c:v>1403-08-12</c:v>
                </c:pt>
                <c:pt idx="3273">
                  <c:v>1403-08-13</c:v>
                </c:pt>
                <c:pt idx="3274">
                  <c:v>1403-08-14</c:v>
                </c:pt>
                <c:pt idx="3275">
                  <c:v>1403-08-15</c:v>
                </c:pt>
                <c:pt idx="3276">
                  <c:v>1403-08-16</c:v>
                </c:pt>
                <c:pt idx="3277">
                  <c:v>1403-08-19</c:v>
                </c:pt>
                <c:pt idx="3278">
                  <c:v>1403-08-20</c:v>
                </c:pt>
                <c:pt idx="3279">
                  <c:v>1403-08-21</c:v>
                </c:pt>
                <c:pt idx="3280">
                  <c:v>1403-08-22</c:v>
                </c:pt>
                <c:pt idx="3281">
                  <c:v>1403-08-23</c:v>
                </c:pt>
                <c:pt idx="3282">
                  <c:v>1403-08-26</c:v>
                </c:pt>
                <c:pt idx="3283">
                  <c:v>1403-08-27</c:v>
                </c:pt>
                <c:pt idx="3284">
                  <c:v>1403-08-28</c:v>
                </c:pt>
                <c:pt idx="3285">
                  <c:v>1403-08-29</c:v>
                </c:pt>
                <c:pt idx="3286">
                  <c:v>1403-08-30</c:v>
                </c:pt>
                <c:pt idx="3287">
                  <c:v>1403-08-30</c:v>
                </c:pt>
                <c:pt idx="3288">
                  <c:v>1403-09-03</c:v>
                </c:pt>
                <c:pt idx="3289">
                  <c:v>1403-09-04</c:v>
                </c:pt>
                <c:pt idx="3290">
                  <c:v>1403-09-05</c:v>
                </c:pt>
                <c:pt idx="3291">
                  <c:v>1403-09-06</c:v>
                </c:pt>
                <c:pt idx="3292">
                  <c:v>1403-09-07</c:v>
                </c:pt>
                <c:pt idx="3293">
                  <c:v>1403-09-10</c:v>
                </c:pt>
                <c:pt idx="3294">
                  <c:v>1403-09-11</c:v>
                </c:pt>
                <c:pt idx="3295">
                  <c:v>1403-09-12</c:v>
                </c:pt>
                <c:pt idx="3296">
                  <c:v>1403-09-13</c:v>
                </c:pt>
                <c:pt idx="3297">
                  <c:v>1403-09-14</c:v>
                </c:pt>
                <c:pt idx="3298">
                  <c:v>1403-09-17</c:v>
                </c:pt>
                <c:pt idx="3299">
                  <c:v>1403-09-18</c:v>
                </c:pt>
                <c:pt idx="3300">
                  <c:v>1403-09-19</c:v>
                </c:pt>
                <c:pt idx="3301">
                  <c:v>1403-09-20</c:v>
                </c:pt>
                <c:pt idx="3302">
                  <c:v>1403-09-21</c:v>
                </c:pt>
                <c:pt idx="3303">
                  <c:v>1403-09-24</c:v>
                </c:pt>
                <c:pt idx="3304">
                  <c:v>1403-09-25</c:v>
                </c:pt>
                <c:pt idx="3305">
                  <c:v>1403-09-26</c:v>
                </c:pt>
                <c:pt idx="3306">
                  <c:v>1403-09-27</c:v>
                </c:pt>
                <c:pt idx="3307">
                  <c:v>1403-09-28</c:v>
                </c:pt>
                <c:pt idx="3308">
                  <c:v>1403-10-01</c:v>
                </c:pt>
                <c:pt idx="3309">
                  <c:v>1403-10-02</c:v>
                </c:pt>
                <c:pt idx="3310">
                  <c:v>1403-10-02</c:v>
                </c:pt>
                <c:pt idx="3311">
                  <c:v>1403-10-03</c:v>
                </c:pt>
                <c:pt idx="3312">
                  <c:v>1403-10-04</c:v>
                </c:pt>
                <c:pt idx="3313">
                  <c:v>1403-10-05</c:v>
                </c:pt>
                <c:pt idx="3314">
                  <c:v> 1403-10-08 </c:v>
                </c:pt>
                <c:pt idx="3315">
                  <c:v> 1403-10-09 </c:v>
                </c:pt>
                <c:pt idx="3316">
                  <c:v> 1403-10-10 </c:v>
                </c:pt>
                <c:pt idx="3317">
                  <c:v> 1403-10-11 </c:v>
                </c:pt>
                <c:pt idx="3318">
                  <c:v> 1403-10-12 </c:v>
                </c:pt>
                <c:pt idx="3319">
                  <c:v>1403-10-15</c:v>
                </c:pt>
                <c:pt idx="3320">
                  <c:v>1403-10-16</c:v>
                </c:pt>
                <c:pt idx="3321">
                  <c:v>1403-10-17</c:v>
                </c:pt>
                <c:pt idx="3322">
                  <c:v>1403-10-18</c:v>
                </c:pt>
                <c:pt idx="3323">
                  <c:v>1403-10-19</c:v>
                </c:pt>
                <c:pt idx="3324">
                  <c:v>1403-10-22</c:v>
                </c:pt>
                <c:pt idx="3325">
                  <c:v>1403-10-23</c:v>
                </c:pt>
                <c:pt idx="3326">
                  <c:v>1403-10-24</c:v>
                </c:pt>
                <c:pt idx="3327">
                  <c:v>1403-10-26</c:v>
                </c:pt>
                <c:pt idx="3328">
                  <c:v>1403-10-29</c:v>
                </c:pt>
                <c:pt idx="3329">
                  <c:v>1403-10-30</c:v>
                </c:pt>
                <c:pt idx="3330">
                  <c:v>1403-11-01</c:v>
                </c:pt>
                <c:pt idx="3331">
                  <c:v>1403-11-02</c:v>
                </c:pt>
                <c:pt idx="3332">
                  <c:v>1403-11-03</c:v>
                </c:pt>
                <c:pt idx="3333">
                  <c:v>1403-11-06</c:v>
                </c:pt>
                <c:pt idx="3334">
                  <c:v>1403-11-07</c:v>
                </c:pt>
                <c:pt idx="3335">
                  <c:v>1403-11-08</c:v>
                </c:pt>
                <c:pt idx="3336">
                  <c:v>1403-11-10</c:v>
                </c:pt>
                <c:pt idx="3337">
                  <c:v>1403-11-13</c:v>
                </c:pt>
                <c:pt idx="3338">
                  <c:v>1403-11-14</c:v>
                </c:pt>
                <c:pt idx="3339">
                  <c:v>1403-11-15</c:v>
                </c:pt>
                <c:pt idx="3340">
                  <c:v>1403-11-16</c:v>
                </c:pt>
                <c:pt idx="3341">
                  <c:v>1403-11-17</c:v>
                </c:pt>
                <c:pt idx="3342">
                  <c:v>1403-11-21</c:v>
                </c:pt>
                <c:pt idx="3343">
                  <c:v>1403-11-23</c:v>
                </c:pt>
                <c:pt idx="3344">
                  <c:v>1403-11-27</c:v>
                </c:pt>
                <c:pt idx="3345">
                  <c:v>1403-11-28</c:v>
                </c:pt>
                <c:pt idx="3346">
                  <c:v>1403-11-29</c:v>
                </c:pt>
                <c:pt idx="3347">
                  <c:v>1403-11-30</c:v>
                </c:pt>
                <c:pt idx="3348">
                  <c:v>2025-02-19</c:v>
                </c:pt>
                <c:pt idx="3349">
                  <c:v>2025-02-22</c:v>
                </c:pt>
                <c:pt idx="3350">
                  <c:v>2025-02-23</c:v>
                </c:pt>
                <c:pt idx="3351">
                  <c:v>2025-02-24</c:v>
                </c:pt>
                <c:pt idx="3352">
                  <c:v>2025-02-25</c:v>
                </c:pt>
                <c:pt idx="3353">
                  <c:v>2025-02-26</c:v>
                </c:pt>
                <c:pt idx="3354">
                  <c:v> 1403-12-08 </c:v>
                </c:pt>
                <c:pt idx="3355">
                  <c:v> 1403-12-11 </c:v>
                </c:pt>
                <c:pt idx="3356">
                  <c:v> 1403-12-12 </c:v>
                </c:pt>
                <c:pt idx="3357">
                  <c:v> 1403-12-13 </c:v>
                </c:pt>
                <c:pt idx="3358">
                  <c:v> 1403-12-14 </c:v>
                </c:pt>
                <c:pt idx="3359">
                  <c:v> 1403-12-15 </c:v>
                </c:pt>
                <c:pt idx="3360">
                  <c:v>1403-12-18</c:v>
                </c:pt>
                <c:pt idx="3361">
                  <c:v>1403-12-19</c:v>
                </c:pt>
                <c:pt idx="3362">
                  <c:v>1403-12-20</c:v>
                </c:pt>
                <c:pt idx="3363">
                  <c:v>1403-12-21</c:v>
                </c:pt>
                <c:pt idx="3364">
                  <c:v>1403-12-18</c:v>
                </c:pt>
                <c:pt idx="3365">
                  <c:v>1403-12-19</c:v>
                </c:pt>
                <c:pt idx="3366">
                  <c:v>1403-12-20</c:v>
                </c:pt>
                <c:pt idx="3367">
                  <c:v>1403-12-21</c:v>
                </c:pt>
                <c:pt idx="3368">
                  <c:v>1403-12-22</c:v>
                </c:pt>
              </c:strCache>
              <c:extLst/>
            </c:strRef>
          </c:cat>
          <c:val>
            <c:numRef>
              <c:f>'  بورس ایران-ارزش بازار (دلار آ'!$B$3:$B$3500</c:f>
              <c:numCache>
                <c:formatCode>_(* #,##0_);_(* \(#,##0\);_(* "-"??_);_(@_)</c:formatCode>
                <c:ptCount val="3498"/>
                <c:pt idx="0">
                  <c:v>114.38694907897541</c:v>
                </c:pt>
                <c:pt idx="1">
                  <c:v>114.10324123906413</c:v>
                </c:pt>
                <c:pt idx="2">
                  <c:v>114.68826944068856</c:v>
                </c:pt>
                <c:pt idx="3">
                  <c:v>114.76427680688951</c:v>
                </c:pt>
                <c:pt idx="4">
                  <c:v>115.20897581094154</c:v>
                </c:pt>
                <c:pt idx="5">
                  <c:v>117.27843661341407</c:v>
                </c:pt>
                <c:pt idx="6">
                  <c:v>119.14743950080383</c:v>
                </c:pt>
                <c:pt idx="7">
                  <c:v>120.02096677536746</c:v>
                </c:pt>
                <c:pt idx="8">
                  <c:v>121.38985476873289</c:v>
                </c:pt>
                <c:pt idx="9">
                  <c:v>120.10512106665915</c:v>
                </c:pt>
                <c:pt idx="10">
                  <c:v>120.89491400962632</c:v>
                </c:pt>
                <c:pt idx="11">
                  <c:v>122.14615603419796</c:v>
                </c:pt>
                <c:pt idx="12">
                  <c:v>121.7901365699044</c:v>
                </c:pt>
                <c:pt idx="13">
                  <c:v>122.20123954928387</c:v>
                </c:pt>
                <c:pt idx="14">
                  <c:v>122.40497523074177</c:v>
                </c:pt>
                <c:pt idx="15">
                  <c:v>122.82882897194715</c:v>
                </c:pt>
                <c:pt idx="16">
                  <c:v>123.54354783933501</c:v>
                </c:pt>
                <c:pt idx="17">
                  <c:v>124.58165832662718</c:v>
                </c:pt>
                <c:pt idx="18">
                  <c:v>124.96958800190649</c:v>
                </c:pt>
                <c:pt idx="19">
                  <c:v>124.72418047405625</c:v>
                </c:pt>
                <c:pt idx="20">
                  <c:v>123.41907501026797</c:v>
                </c:pt>
                <c:pt idx="21">
                  <c:v>123.59806282433226</c:v>
                </c:pt>
                <c:pt idx="22">
                  <c:v>121.45703798231422</c:v>
                </c:pt>
                <c:pt idx="23">
                  <c:v>118.9827623843851</c:v>
                </c:pt>
                <c:pt idx="24">
                  <c:v>115.61012620788246</c:v>
                </c:pt>
                <c:pt idx="25">
                  <c:v>115.34891774493806</c:v>
                </c:pt>
                <c:pt idx="26">
                  <c:v>114.98040065028511</c:v>
                </c:pt>
                <c:pt idx="27">
                  <c:v>116.52276854804059</c:v>
                </c:pt>
                <c:pt idx="28">
                  <c:v>115.34512937892357</c:v>
                </c:pt>
                <c:pt idx="29">
                  <c:v>116.86661188316207</c:v>
                </c:pt>
                <c:pt idx="30">
                  <c:v>115.14410457129509</c:v>
                </c:pt>
                <c:pt idx="31">
                  <c:v>111.27988156896642</c:v>
                </c:pt>
                <c:pt idx="32">
                  <c:v>114.41099129971188</c:v>
                </c:pt>
                <c:pt idx="33">
                  <c:v>112.8264682525206</c:v>
                </c:pt>
                <c:pt idx="34">
                  <c:v>111.89924313862016</c:v>
                </c:pt>
                <c:pt idx="35">
                  <c:v>112.24442807245518</c:v>
                </c:pt>
                <c:pt idx="36">
                  <c:v>112.96399530559975</c:v>
                </c:pt>
                <c:pt idx="37">
                  <c:v>113.06492296869106</c:v>
                </c:pt>
                <c:pt idx="38">
                  <c:v>112.30479369604529</c:v>
                </c:pt>
                <c:pt idx="39">
                  <c:v>111.82354254081096</c:v>
                </c:pt>
                <c:pt idx="40">
                  <c:v>110.61021244122826</c:v>
                </c:pt>
                <c:pt idx="41">
                  <c:v>107.44450170847169</c:v>
                </c:pt>
                <c:pt idx="42">
                  <c:v>107.52245921556603</c:v>
                </c:pt>
                <c:pt idx="43">
                  <c:v>108.67997276634829</c:v>
                </c:pt>
                <c:pt idx="44">
                  <c:v>110.44256715466295</c:v>
                </c:pt>
                <c:pt idx="45">
                  <c:v>109.13553858785532</c:v>
                </c:pt>
                <c:pt idx="46">
                  <c:v>108.43461191509746</c:v>
                </c:pt>
                <c:pt idx="47">
                  <c:v>109.19580056333959</c:v>
                </c:pt>
                <c:pt idx="48">
                  <c:v>108.08980029043698</c:v>
                </c:pt>
                <c:pt idx="49">
                  <c:v>106.56033920689046</c:v>
                </c:pt>
                <c:pt idx="50">
                  <c:v>106.45491132290535</c:v>
                </c:pt>
                <c:pt idx="51">
                  <c:v>104.26630902522923</c:v>
                </c:pt>
                <c:pt idx="52">
                  <c:v>103.4320078519972</c:v>
                </c:pt>
                <c:pt idx="53">
                  <c:v>105.12939820253894</c:v>
                </c:pt>
                <c:pt idx="54">
                  <c:v>104.25803492666581</c:v>
                </c:pt>
                <c:pt idx="55">
                  <c:v>106.02403876682766</c:v>
                </c:pt>
                <c:pt idx="56">
                  <c:v>107.44469085479608</c:v>
                </c:pt>
                <c:pt idx="57">
                  <c:v>107.23175320871754</c:v>
                </c:pt>
                <c:pt idx="58">
                  <c:v>109.07533382839109</c:v>
                </c:pt>
                <c:pt idx="59">
                  <c:v>109.25792450373424</c:v>
                </c:pt>
                <c:pt idx="60">
                  <c:v>111.20989016647195</c:v>
                </c:pt>
                <c:pt idx="61">
                  <c:v>110.37510722167163</c:v>
                </c:pt>
                <c:pt idx="62">
                  <c:v>107.14397795868231</c:v>
                </c:pt>
                <c:pt idx="63">
                  <c:v>106.9021379584548</c:v>
                </c:pt>
                <c:pt idx="64">
                  <c:v>108.08300137430078</c:v>
                </c:pt>
                <c:pt idx="65">
                  <c:v>107.7194733282564</c:v>
                </c:pt>
                <c:pt idx="66">
                  <c:v>106.76492421372068</c:v>
                </c:pt>
                <c:pt idx="67">
                  <c:v>105.67307845293479</c:v>
                </c:pt>
                <c:pt idx="68">
                  <c:v>107.71509479912213</c:v>
                </c:pt>
                <c:pt idx="69">
                  <c:v>108.16847929466739</c:v>
                </c:pt>
                <c:pt idx="70">
                  <c:v>108.75716632276381</c:v>
                </c:pt>
                <c:pt idx="71">
                  <c:v>108.23284407171397</c:v>
                </c:pt>
                <c:pt idx="72">
                  <c:v>108.45569922594721</c:v>
                </c:pt>
                <c:pt idx="73">
                  <c:v>110.79649112435349</c:v>
                </c:pt>
                <c:pt idx="74">
                  <c:v>111.04616616611857</c:v>
                </c:pt>
                <c:pt idx="75">
                  <c:v>111.02321407125781</c:v>
                </c:pt>
                <c:pt idx="76">
                  <c:v>110.89618040638643</c:v>
                </c:pt>
                <c:pt idx="77">
                  <c:v>110.54331081131326</c:v>
                </c:pt>
                <c:pt idx="78">
                  <c:v>111.52250752407377</c:v>
                </c:pt>
                <c:pt idx="79">
                  <c:v>113.27239346966601</c:v>
                </c:pt>
                <c:pt idx="80">
                  <c:v>114.43941380388975</c:v>
                </c:pt>
                <c:pt idx="81">
                  <c:v>113.84065857878305</c:v>
                </c:pt>
                <c:pt idx="82">
                  <c:v>113.9199936789103</c:v>
                </c:pt>
                <c:pt idx="83">
                  <c:v>114.45610415361487</c:v>
                </c:pt>
                <c:pt idx="84">
                  <c:v>113.64335465762053</c:v>
                </c:pt>
                <c:pt idx="85">
                  <c:v>113.92401763342509</c:v>
                </c:pt>
                <c:pt idx="86">
                  <c:v>114.41831319177531</c:v>
                </c:pt>
                <c:pt idx="87">
                  <c:v>113.59953647624224</c:v>
                </c:pt>
                <c:pt idx="88">
                  <c:v>113.329906111055</c:v>
                </c:pt>
                <c:pt idx="89">
                  <c:v>111.53620213885371</c:v>
                </c:pt>
                <c:pt idx="90">
                  <c:v>111.14237805800549</c:v>
                </c:pt>
                <c:pt idx="91">
                  <c:v>109.64641071871773</c:v>
                </c:pt>
                <c:pt idx="92">
                  <c:v>107.40992290589443</c:v>
                </c:pt>
                <c:pt idx="93">
                  <c:v>106.75799383426789</c:v>
                </c:pt>
                <c:pt idx="94">
                  <c:v>108.53633779939787</c:v>
                </c:pt>
                <c:pt idx="95">
                  <c:v>109.58493356678325</c:v>
                </c:pt>
                <c:pt idx="96">
                  <c:v>110.13658112446815</c:v>
                </c:pt>
                <c:pt idx="97">
                  <c:v>109.70108690591911</c:v>
                </c:pt>
                <c:pt idx="98">
                  <c:v>115.0266175966203</c:v>
                </c:pt>
                <c:pt idx="99">
                  <c:v>113.94469727251273</c:v>
                </c:pt>
                <c:pt idx="100">
                  <c:v>113.58655365833935</c:v>
                </c:pt>
                <c:pt idx="101">
                  <c:v>112.88342611767013</c:v>
                </c:pt>
                <c:pt idx="102">
                  <c:v>111.12121648557809</c:v>
                </c:pt>
                <c:pt idx="103">
                  <c:v>113.28945619037449</c:v>
                </c:pt>
                <c:pt idx="104">
                  <c:v>113.73252809890242</c:v>
                </c:pt>
                <c:pt idx="105">
                  <c:v>114.4923891082986</c:v>
                </c:pt>
                <c:pt idx="106">
                  <c:v>115.34833171868344</c:v>
                </c:pt>
                <c:pt idx="107">
                  <c:v>116.81641226844496</c:v>
                </c:pt>
                <c:pt idx="108">
                  <c:v>116.47966732611121</c:v>
                </c:pt>
                <c:pt idx="109">
                  <c:v>116.18241560751609</c:v>
                </c:pt>
                <c:pt idx="110">
                  <c:v>116.67835032306911</c:v>
                </c:pt>
                <c:pt idx="111">
                  <c:v>116.6952487846944</c:v>
                </c:pt>
                <c:pt idx="112">
                  <c:v>118.95109937103911</c:v>
                </c:pt>
                <c:pt idx="113">
                  <c:v>118.92056297570372</c:v>
                </c:pt>
                <c:pt idx="114">
                  <c:v>117.94883485071792</c:v>
                </c:pt>
                <c:pt idx="115">
                  <c:v>116.75805051467987</c:v>
                </c:pt>
                <c:pt idx="116">
                  <c:v>116.12306666135602</c:v>
                </c:pt>
                <c:pt idx="117">
                  <c:v>114.51527414005247</c:v>
                </c:pt>
                <c:pt idx="118">
                  <c:v>115.58152596885968</c:v>
                </c:pt>
                <c:pt idx="119">
                  <c:v>115.91728046616747</c:v>
                </c:pt>
                <c:pt idx="120">
                  <c:v>116.28062085839595</c:v>
                </c:pt>
                <c:pt idx="121">
                  <c:v>116.95595044098756</c:v>
                </c:pt>
                <c:pt idx="122">
                  <c:v>114.77389807625157</c:v>
                </c:pt>
                <c:pt idx="123">
                  <c:v>112.50161516327123</c:v>
                </c:pt>
                <c:pt idx="124">
                  <c:v>112.87449949099705</c:v>
                </c:pt>
                <c:pt idx="125">
                  <c:v>112.62740657449831</c:v>
                </c:pt>
                <c:pt idx="126">
                  <c:v>114.63679256976849</c:v>
                </c:pt>
                <c:pt idx="127">
                  <c:v>118.5987401403292</c:v>
                </c:pt>
                <c:pt idx="128">
                  <c:v>122.08407466341254</c:v>
                </c:pt>
                <c:pt idx="129">
                  <c:v>119.65128909513182</c:v>
                </c:pt>
                <c:pt idx="130">
                  <c:v>119.21181384026282</c:v>
                </c:pt>
                <c:pt idx="131">
                  <c:v>119.57320714697447</c:v>
                </c:pt>
                <c:pt idx="132">
                  <c:v>119.58907383980993</c:v>
                </c:pt>
                <c:pt idx="133">
                  <c:v>120.19919694431638</c:v>
                </c:pt>
                <c:pt idx="134">
                  <c:v>121.38216651487116</c:v>
                </c:pt>
                <c:pt idx="135">
                  <c:v>120.14661045559555</c:v>
                </c:pt>
                <c:pt idx="136">
                  <c:v>119.83643440947415</c:v>
                </c:pt>
                <c:pt idx="137">
                  <c:v>117.41860069454009</c:v>
                </c:pt>
                <c:pt idx="138">
                  <c:v>115.51045326635258</c:v>
                </c:pt>
                <c:pt idx="139">
                  <c:v>113.72550871845129</c:v>
                </c:pt>
                <c:pt idx="140">
                  <c:v>115.45803493907839</c:v>
                </c:pt>
                <c:pt idx="141">
                  <c:v>113.79126880205415</c:v>
                </c:pt>
                <c:pt idx="142">
                  <c:v>113.0460044796194</c:v>
                </c:pt>
                <c:pt idx="143">
                  <c:v>112.12678292681611</c:v>
                </c:pt>
                <c:pt idx="144">
                  <c:v>111.96943849859812</c:v>
                </c:pt>
                <c:pt idx="145">
                  <c:v>111.64145948700893</c:v>
                </c:pt>
                <c:pt idx="146">
                  <c:v>110.48924228282947</c:v>
                </c:pt>
                <c:pt idx="147">
                  <c:v>110.54593308927785</c:v>
                </c:pt>
                <c:pt idx="148">
                  <c:v>109.74226700988157</c:v>
                </c:pt>
                <c:pt idx="149">
                  <c:v>109.02922109656963</c:v>
                </c:pt>
                <c:pt idx="150">
                  <c:v>107.98937965982488</c:v>
                </c:pt>
                <c:pt idx="151">
                  <c:v>109.53278887951787</c:v>
                </c:pt>
                <c:pt idx="152">
                  <c:v>108.29475386396778</c:v>
                </c:pt>
                <c:pt idx="153">
                  <c:v>105.57378050055172</c:v>
                </c:pt>
                <c:pt idx="154">
                  <c:v>105.53186400161906</c:v>
                </c:pt>
                <c:pt idx="155">
                  <c:v>105.39986826753022</c:v>
                </c:pt>
                <c:pt idx="156">
                  <c:v>105.44490873730554</c:v>
                </c:pt>
                <c:pt idx="157">
                  <c:v>105.87239848105762</c:v>
                </c:pt>
                <c:pt idx="158">
                  <c:v>105.29942758234358</c:v>
                </c:pt>
                <c:pt idx="159">
                  <c:v>105.93484797103422</c:v>
                </c:pt>
                <c:pt idx="160">
                  <c:v>106.01076184659487</c:v>
                </c:pt>
                <c:pt idx="161">
                  <c:v>106.90679403771448</c:v>
                </c:pt>
                <c:pt idx="162">
                  <c:v>103.01216211663063</c:v>
                </c:pt>
                <c:pt idx="163">
                  <c:v>101.86678781315183</c:v>
                </c:pt>
                <c:pt idx="164">
                  <c:v>99.783609101925677</c:v>
                </c:pt>
                <c:pt idx="165">
                  <c:v>97.642721964940577</c:v>
                </c:pt>
                <c:pt idx="166">
                  <c:v>99.240543623920161</c:v>
                </c:pt>
                <c:pt idx="167">
                  <c:v>100.73102564003094</c:v>
                </c:pt>
                <c:pt idx="168">
                  <c:v>99.968122256819925</c:v>
                </c:pt>
                <c:pt idx="169">
                  <c:v>98.756936136528509</c:v>
                </c:pt>
                <c:pt idx="170">
                  <c:v>100.14747618190786</c:v>
                </c:pt>
                <c:pt idx="171">
                  <c:v>101.01844863093582</c:v>
                </c:pt>
                <c:pt idx="172">
                  <c:v>102.59115505773866</c:v>
                </c:pt>
                <c:pt idx="173">
                  <c:v>102.01462238935785</c:v>
                </c:pt>
                <c:pt idx="174">
                  <c:v>101.46594425809521</c:v>
                </c:pt>
                <c:pt idx="175">
                  <c:v>100.98116902305685</c:v>
                </c:pt>
                <c:pt idx="176">
                  <c:v>99.796037989293239</c:v>
                </c:pt>
                <c:pt idx="177">
                  <c:v>99.045698850105055</c:v>
                </c:pt>
                <c:pt idx="178">
                  <c:v>97.62791188663175</c:v>
                </c:pt>
                <c:pt idx="179">
                  <c:v>94.859842861606069</c:v>
                </c:pt>
                <c:pt idx="180">
                  <c:v>89.648934712398898</c:v>
                </c:pt>
                <c:pt idx="181">
                  <c:v>90.275008243175776</c:v>
                </c:pt>
                <c:pt idx="182">
                  <c:v>95.134855607550378</c:v>
                </c:pt>
                <c:pt idx="183">
                  <c:v>92.172985404516552</c:v>
                </c:pt>
                <c:pt idx="184">
                  <c:v>89.154265117072526</c:v>
                </c:pt>
                <c:pt idx="185">
                  <c:v>89.622349641922384</c:v>
                </c:pt>
                <c:pt idx="186">
                  <c:v>93.622773239892169</c:v>
                </c:pt>
                <c:pt idx="187">
                  <c:v>91.913321575727849</c:v>
                </c:pt>
                <c:pt idx="188">
                  <c:v>89.771219243548117</c:v>
                </c:pt>
                <c:pt idx="189">
                  <c:v>81.806413805753849</c:v>
                </c:pt>
                <c:pt idx="190">
                  <c:v>88.743856520202343</c:v>
                </c:pt>
                <c:pt idx="191">
                  <c:v>92.337941983757162</c:v>
                </c:pt>
                <c:pt idx="192">
                  <c:v>91.519927955208445</c:v>
                </c:pt>
                <c:pt idx="193">
                  <c:v>88.139633622573712</c:v>
                </c:pt>
                <c:pt idx="194">
                  <c:v>87.169908384290707</c:v>
                </c:pt>
                <c:pt idx="195">
                  <c:v>87.636487559029462</c:v>
                </c:pt>
                <c:pt idx="196">
                  <c:v>88.394023962000759</c:v>
                </c:pt>
                <c:pt idx="197">
                  <c:v>89.370103993350128</c:v>
                </c:pt>
                <c:pt idx="198">
                  <c:v>90.072777276490299</c:v>
                </c:pt>
                <c:pt idx="199">
                  <c:v>86.641017188549128</c:v>
                </c:pt>
                <c:pt idx="200">
                  <c:v>83.261355150849951</c:v>
                </c:pt>
                <c:pt idx="201">
                  <c:v>79.574952363275102</c:v>
                </c:pt>
                <c:pt idx="202">
                  <c:v>71.494627815051913</c:v>
                </c:pt>
                <c:pt idx="203">
                  <c:v>78.716562054713251</c:v>
                </c:pt>
                <c:pt idx="204">
                  <c:v>85.058725393366771</c:v>
                </c:pt>
                <c:pt idx="205">
                  <c:v>83.02661183582569</c:v>
                </c:pt>
                <c:pt idx="206">
                  <c:v>82.93802395933082</c:v>
                </c:pt>
                <c:pt idx="207">
                  <c:v>83.167877230186278</c:v>
                </c:pt>
                <c:pt idx="208">
                  <c:v>82.996256267939387</c:v>
                </c:pt>
                <c:pt idx="209">
                  <c:v>85.293303304988612</c:v>
                </c:pt>
                <c:pt idx="210">
                  <c:v>81.23854063719746</c:v>
                </c:pt>
                <c:pt idx="211">
                  <c:v>79.58293469486037</c:v>
                </c:pt>
                <c:pt idx="212">
                  <c:v>78.737104518431849</c:v>
                </c:pt>
                <c:pt idx="213">
                  <c:v>77.330640910344485</c:v>
                </c:pt>
                <c:pt idx="214">
                  <c:v>77.080946696203966</c:v>
                </c:pt>
                <c:pt idx="215">
                  <c:v>78.528797144770365</c:v>
                </c:pt>
                <c:pt idx="216">
                  <c:v>76.152208922115406</c:v>
                </c:pt>
                <c:pt idx="217">
                  <c:v>75.202669654985485</c:v>
                </c:pt>
                <c:pt idx="218">
                  <c:v>77.106723010330938</c:v>
                </c:pt>
                <c:pt idx="219">
                  <c:v>77.918058084397074</c:v>
                </c:pt>
                <c:pt idx="220">
                  <c:v>77.301838276850418</c:v>
                </c:pt>
                <c:pt idx="221">
                  <c:v>77.21967004207464</c:v>
                </c:pt>
                <c:pt idx="222">
                  <c:v>77.549569682089512</c:v>
                </c:pt>
                <c:pt idx="223">
                  <c:v>77.419413264065511</c:v>
                </c:pt>
                <c:pt idx="224">
                  <c:v>77.58193582112726</c:v>
                </c:pt>
                <c:pt idx="225">
                  <c:v>80.474378767235564</c:v>
                </c:pt>
                <c:pt idx="226">
                  <c:v>81.769111751060649</c:v>
                </c:pt>
                <c:pt idx="227">
                  <c:v>79.039211229866041</c:v>
                </c:pt>
                <c:pt idx="228">
                  <c:v>78.938884004403064</c:v>
                </c:pt>
                <c:pt idx="229">
                  <c:v>80.118734116888476</c:v>
                </c:pt>
                <c:pt idx="230">
                  <c:v>79.336145458919333</c:v>
                </c:pt>
                <c:pt idx="231">
                  <c:v>79.916226028172389</c:v>
                </c:pt>
                <c:pt idx="232">
                  <c:v>80.63796080018281</c:v>
                </c:pt>
                <c:pt idx="233">
                  <c:v>81.005689730594426</c:v>
                </c:pt>
                <c:pt idx="234">
                  <c:v>81.566154316109731</c:v>
                </c:pt>
                <c:pt idx="235">
                  <c:v>80.28180585674022</c:v>
                </c:pt>
                <c:pt idx="236">
                  <c:v>80.600401633488659</c:v>
                </c:pt>
                <c:pt idx="237">
                  <c:v>82.614353138384203</c:v>
                </c:pt>
                <c:pt idx="238">
                  <c:v>80.21555195241325</c:v>
                </c:pt>
                <c:pt idx="239">
                  <c:v>81.334913268459275</c:v>
                </c:pt>
                <c:pt idx="240">
                  <c:v>83.125463940606522</c:v>
                </c:pt>
                <c:pt idx="241">
                  <c:v>84.164279889592052</c:v>
                </c:pt>
                <c:pt idx="242">
                  <c:v>83.231621467266791</c:v>
                </c:pt>
                <c:pt idx="243">
                  <c:v>83.391851913179266</c:v>
                </c:pt>
                <c:pt idx="244">
                  <c:v>83.403047747714623</c:v>
                </c:pt>
                <c:pt idx="245">
                  <c:v>83.577892640399739</c:v>
                </c:pt>
                <c:pt idx="246">
                  <c:v>83.510150804034424</c:v>
                </c:pt>
                <c:pt idx="247">
                  <c:v>83.761957225371503</c:v>
                </c:pt>
                <c:pt idx="248">
                  <c:v>83.586181467775347</c:v>
                </c:pt>
                <c:pt idx="249">
                  <c:v>84.516635638065225</c:v>
                </c:pt>
                <c:pt idx="250">
                  <c:v>84.347586814603204</c:v>
                </c:pt>
                <c:pt idx="251">
                  <c:v>86.490256092963378</c:v>
                </c:pt>
                <c:pt idx="252">
                  <c:v>86.136003279147872</c:v>
                </c:pt>
                <c:pt idx="253">
                  <c:v>86.488145238149471</c:v>
                </c:pt>
                <c:pt idx="254">
                  <c:v>95.160952000380817</c:v>
                </c:pt>
                <c:pt idx="255">
                  <c:v>92.089758219055625</c:v>
                </c:pt>
                <c:pt idx="256">
                  <c:v>91.116614037616671</c:v>
                </c:pt>
                <c:pt idx="257">
                  <c:v>90.191644453445889</c:v>
                </c:pt>
                <c:pt idx="258">
                  <c:v>91.168543205458462</c:v>
                </c:pt>
                <c:pt idx="259">
                  <c:v>91.548738066099844</c:v>
                </c:pt>
                <c:pt idx="260">
                  <c:v>92.187100546377692</c:v>
                </c:pt>
                <c:pt idx="261">
                  <c:v>92.620956187454098</c:v>
                </c:pt>
                <c:pt idx="262">
                  <c:v>97.379069279969016</c:v>
                </c:pt>
                <c:pt idx="263">
                  <c:v>92.794483655708646</c:v>
                </c:pt>
                <c:pt idx="264">
                  <c:v>93.38864280934196</c:v>
                </c:pt>
                <c:pt idx="265">
                  <c:v>94.094714899638831</c:v>
                </c:pt>
                <c:pt idx="266">
                  <c:v>93.971269152968176</c:v>
                </c:pt>
                <c:pt idx="267">
                  <c:v>95.481735108149522</c:v>
                </c:pt>
                <c:pt idx="268">
                  <c:v>95.820722527123323</c:v>
                </c:pt>
                <c:pt idx="269">
                  <c:v>96.244099876112628</c:v>
                </c:pt>
                <c:pt idx="270">
                  <c:v>96.816979591231004</c:v>
                </c:pt>
                <c:pt idx="271">
                  <c:v>96.970211073880066</c:v>
                </c:pt>
                <c:pt idx="272">
                  <c:v>100.03538489429963</c:v>
                </c:pt>
                <c:pt idx="273">
                  <c:v>100.01779033816882</c:v>
                </c:pt>
                <c:pt idx="274">
                  <c:v>97.340574084581036</c:v>
                </c:pt>
                <c:pt idx="275">
                  <c:v>94.611822781701491</c:v>
                </c:pt>
                <c:pt idx="276">
                  <c:v>96.333433931149202</c:v>
                </c:pt>
                <c:pt idx="277">
                  <c:v>93.660484028383436</c:v>
                </c:pt>
                <c:pt idx="278">
                  <c:v>93.905602488042135</c:v>
                </c:pt>
                <c:pt idx="279">
                  <c:v>93.848955275433767</c:v>
                </c:pt>
                <c:pt idx="280">
                  <c:v>93.701577783098685</c:v>
                </c:pt>
                <c:pt idx="281">
                  <c:v>94.123503822203887</c:v>
                </c:pt>
                <c:pt idx="282">
                  <c:v>88.421258108182442</c:v>
                </c:pt>
                <c:pt idx="283">
                  <c:v>90.797048188035646</c:v>
                </c:pt>
                <c:pt idx="284">
                  <c:v>90.000662165477465</c:v>
                </c:pt>
                <c:pt idx="285">
                  <c:v>88.257658265011202</c:v>
                </c:pt>
                <c:pt idx="286">
                  <c:v>87.7232369189271</c:v>
                </c:pt>
                <c:pt idx="287">
                  <c:v>86.919511227003937</c:v>
                </c:pt>
                <c:pt idx="288">
                  <c:v>87.198332215438967</c:v>
                </c:pt>
                <c:pt idx="289">
                  <c:v>86.795477214455076</c:v>
                </c:pt>
                <c:pt idx="290">
                  <c:v>83.245787186507613</c:v>
                </c:pt>
                <c:pt idx="291">
                  <c:v>83.171863684672815</c:v>
                </c:pt>
                <c:pt idx="292">
                  <c:v>83.787298371611854</c:v>
                </c:pt>
                <c:pt idx="293">
                  <c:v>84.734309480548717</c:v>
                </c:pt>
                <c:pt idx="294">
                  <c:v>86.179571197775445</c:v>
                </c:pt>
                <c:pt idx="295">
                  <c:v>84.919411800841843</c:v>
                </c:pt>
                <c:pt idx="296">
                  <c:v>83.991118276283999</c:v>
                </c:pt>
                <c:pt idx="297">
                  <c:v>83.422505903529341</c:v>
                </c:pt>
                <c:pt idx="298">
                  <c:v>82.086208798402893</c:v>
                </c:pt>
                <c:pt idx="299">
                  <c:v>79.017298942559634</c:v>
                </c:pt>
                <c:pt idx="300">
                  <c:v>77.199110708301831</c:v>
                </c:pt>
                <c:pt idx="301">
                  <c:v>78.063025767586964</c:v>
                </c:pt>
                <c:pt idx="302">
                  <c:v>76.299537545370512</c:v>
                </c:pt>
                <c:pt idx="303">
                  <c:v>74.76701837202495</c:v>
                </c:pt>
                <c:pt idx="304">
                  <c:v>73.177993942719709</c:v>
                </c:pt>
                <c:pt idx="305">
                  <c:v>74.938509214603229</c:v>
                </c:pt>
                <c:pt idx="306">
                  <c:v>75.677209771405458</c:v>
                </c:pt>
                <c:pt idx="307">
                  <c:v>74.091535266180728</c:v>
                </c:pt>
                <c:pt idx="308">
                  <c:v>74.294006931575865</c:v>
                </c:pt>
                <c:pt idx="309">
                  <c:v>75.356354274890634</c:v>
                </c:pt>
                <c:pt idx="310">
                  <c:v>76.034579802380676</c:v>
                </c:pt>
                <c:pt idx="311">
                  <c:v>75.595265725764506</c:v>
                </c:pt>
                <c:pt idx="312">
                  <c:v>74.681681131852784</c:v>
                </c:pt>
                <c:pt idx="313">
                  <c:v>75.464825739497329</c:v>
                </c:pt>
                <c:pt idx="314">
                  <c:v>75.390837018959161</c:v>
                </c:pt>
                <c:pt idx="315">
                  <c:v>75.356621216218713</c:v>
                </c:pt>
                <c:pt idx="316">
                  <c:v>74.358248553251471</c:v>
                </c:pt>
                <c:pt idx="317">
                  <c:v>74.333264640331691</c:v>
                </c:pt>
                <c:pt idx="318">
                  <c:v>74.19593376095186</c:v>
                </c:pt>
                <c:pt idx="319">
                  <c:v>74.397133531617655</c:v>
                </c:pt>
                <c:pt idx="320">
                  <c:v>74.521812359620952</c:v>
                </c:pt>
                <c:pt idx="321">
                  <c:v>74.007901067772792</c:v>
                </c:pt>
                <c:pt idx="322">
                  <c:v>73.049681397622848</c:v>
                </c:pt>
                <c:pt idx="323">
                  <c:v>72.639180189568108</c:v>
                </c:pt>
                <c:pt idx="324">
                  <c:v>70.719853175106138</c:v>
                </c:pt>
                <c:pt idx="325">
                  <c:v>70.378761903213672</c:v>
                </c:pt>
                <c:pt idx="326">
                  <c:v>69.029941781256156</c:v>
                </c:pt>
                <c:pt idx="327">
                  <c:v>69.114410087296037</c:v>
                </c:pt>
                <c:pt idx="328">
                  <c:v>67.270734831793476</c:v>
                </c:pt>
                <c:pt idx="329">
                  <c:v>66.325566673257114</c:v>
                </c:pt>
                <c:pt idx="330">
                  <c:v>64.339718378603379</c:v>
                </c:pt>
                <c:pt idx="331">
                  <c:v>60.969620984467014</c:v>
                </c:pt>
                <c:pt idx="332">
                  <c:v>59.087608896068566</c:v>
                </c:pt>
                <c:pt idx="333">
                  <c:v>62.119845652730028</c:v>
                </c:pt>
                <c:pt idx="334">
                  <c:v>61.503930436831688</c:v>
                </c:pt>
                <c:pt idx="335">
                  <c:v>61.255499550173276</c:v>
                </c:pt>
                <c:pt idx="336">
                  <c:v>61.898710757960238</c:v>
                </c:pt>
                <c:pt idx="337">
                  <c:v>62.375832709509993</c:v>
                </c:pt>
                <c:pt idx="338">
                  <c:v>62.777846884511249</c:v>
                </c:pt>
                <c:pt idx="339">
                  <c:v>62.342961532112405</c:v>
                </c:pt>
                <c:pt idx="340">
                  <c:v>62.538309532915548</c:v>
                </c:pt>
                <c:pt idx="341">
                  <c:v>62.496952089927767</c:v>
                </c:pt>
                <c:pt idx="342">
                  <c:v>61.169448751467726</c:v>
                </c:pt>
                <c:pt idx="343">
                  <c:v>61.849744534044866</c:v>
                </c:pt>
                <c:pt idx="344">
                  <c:v>61.346333051155099</c:v>
                </c:pt>
                <c:pt idx="345">
                  <c:v>62.561396905316492</c:v>
                </c:pt>
                <c:pt idx="346">
                  <c:v>63.01087044474685</c:v>
                </c:pt>
                <c:pt idx="347">
                  <c:v>63.754739302498628</c:v>
                </c:pt>
                <c:pt idx="348">
                  <c:v>63.537078305444368</c:v>
                </c:pt>
                <c:pt idx="349">
                  <c:v>61.458257136553954</c:v>
                </c:pt>
                <c:pt idx="350">
                  <c:v>57.1796239672897</c:v>
                </c:pt>
                <c:pt idx="351">
                  <c:v>55.011789160203712</c:v>
                </c:pt>
                <c:pt idx="352">
                  <c:v>57.465938512020571</c:v>
                </c:pt>
                <c:pt idx="353">
                  <c:v>58.820391803582517</c:v>
                </c:pt>
                <c:pt idx="354">
                  <c:v>58.623361220700289</c:v>
                </c:pt>
                <c:pt idx="355">
                  <c:v>58.12675343388576</c:v>
                </c:pt>
                <c:pt idx="356">
                  <c:v>59.684878509519947</c:v>
                </c:pt>
                <c:pt idx="357">
                  <c:v>59.778198919436576</c:v>
                </c:pt>
                <c:pt idx="358">
                  <c:v>59.497067226001619</c:v>
                </c:pt>
                <c:pt idx="359">
                  <c:v>59.876278984459326</c:v>
                </c:pt>
                <c:pt idx="360">
                  <c:v>58.849763916627538</c:v>
                </c:pt>
                <c:pt idx="361">
                  <c:v>58.998933644930531</c:v>
                </c:pt>
                <c:pt idx="362">
                  <c:v>58.710204843834603</c:v>
                </c:pt>
                <c:pt idx="363">
                  <c:v>55.70456128858175</c:v>
                </c:pt>
                <c:pt idx="364">
                  <c:v>54.014696450587252</c:v>
                </c:pt>
                <c:pt idx="365">
                  <c:v>45.703179914686224</c:v>
                </c:pt>
                <c:pt idx="366">
                  <c:v>43.661620582480197</c:v>
                </c:pt>
                <c:pt idx="367">
                  <c:v>46.98321628549315</c:v>
                </c:pt>
                <c:pt idx="368">
                  <c:v>52.120154167875711</c:v>
                </c:pt>
                <c:pt idx="369">
                  <c:v>52.496292269464064</c:v>
                </c:pt>
                <c:pt idx="370">
                  <c:v>47.373476258653682</c:v>
                </c:pt>
                <c:pt idx="371">
                  <c:v>47.949332147850939</c:v>
                </c:pt>
                <c:pt idx="372">
                  <c:v>47.606850226143116</c:v>
                </c:pt>
                <c:pt idx="373">
                  <c:v>45.903513783288183</c:v>
                </c:pt>
                <c:pt idx="374">
                  <c:v>46.09153062401947</c:v>
                </c:pt>
                <c:pt idx="375">
                  <c:v>45.122955164631108</c:v>
                </c:pt>
                <c:pt idx="376">
                  <c:v>44.602614842662085</c:v>
                </c:pt>
                <c:pt idx="377">
                  <c:v>48.427506598941434</c:v>
                </c:pt>
                <c:pt idx="378">
                  <c:v>45.675242855579668</c:v>
                </c:pt>
                <c:pt idx="379">
                  <c:v>46.916734656309515</c:v>
                </c:pt>
                <c:pt idx="380">
                  <c:v>46.810731472643944</c:v>
                </c:pt>
                <c:pt idx="381">
                  <c:v>51.399807326248201</c:v>
                </c:pt>
                <c:pt idx="382">
                  <c:v>49.693114616144882</c:v>
                </c:pt>
                <c:pt idx="383">
                  <c:v>51.652945046419852</c:v>
                </c:pt>
                <c:pt idx="384">
                  <c:v>52.474429374434287</c:v>
                </c:pt>
                <c:pt idx="385">
                  <c:v>51.72099705721898</c:v>
                </c:pt>
                <c:pt idx="386">
                  <c:v>52.446085001333813</c:v>
                </c:pt>
                <c:pt idx="387">
                  <c:v>52.165032341756628</c:v>
                </c:pt>
                <c:pt idx="388">
                  <c:v>58.424772639265832</c:v>
                </c:pt>
                <c:pt idx="389">
                  <c:v>57.46501050361752</c:v>
                </c:pt>
                <c:pt idx="390">
                  <c:v>53.310422668504032</c:v>
                </c:pt>
                <c:pt idx="391">
                  <c:v>54.206973545686793</c:v>
                </c:pt>
                <c:pt idx="392">
                  <c:v>55.453453582361647</c:v>
                </c:pt>
                <c:pt idx="393">
                  <c:v>55.618019943472639</c:v>
                </c:pt>
                <c:pt idx="394">
                  <c:v>55.988092429321611</c:v>
                </c:pt>
                <c:pt idx="395">
                  <c:v>57.442692753574569</c:v>
                </c:pt>
                <c:pt idx="396">
                  <c:v>58.027734857264861</c:v>
                </c:pt>
                <c:pt idx="397">
                  <c:v>58.85199080229782</c:v>
                </c:pt>
                <c:pt idx="398">
                  <c:v>60.657113758380952</c:v>
                </c:pt>
                <c:pt idx="399">
                  <c:v>61.289912601566854</c:v>
                </c:pt>
                <c:pt idx="400">
                  <c:v>64.883809897023283</c:v>
                </c:pt>
                <c:pt idx="401">
                  <c:v>60.826096039534924</c:v>
                </c:pt>
                <c:pt idx="402">
                  <c:v>60.395304260375397</c:v>
                </c:pt>
                <c:pt idx="403">
                  <c:v>63.012856215065966</c:v>
                </c:pt>
                <c:pt idx="404">
                  <c:v>61.410279508917483</c:v>
                </c:pt>
                <c:pt idx="405">
                  <c:v>61.121789838990608</c:v>
                </c:pt>
                <c:pt idx="406">
                  <c:v>62.160976999399757</c:v>
                </c:pt>
                <c:pt idx="407">
                  <c:v>61.924762013839249</c:v>
                </c:pt>
                <c:pt idx="408">
                  <c:v>62.385953028396287</c:v>
                </c:pt>
                <c:pt idx="409">
                  <c:v>62.265417081639725</c:v>
                </c:pt>
                <c:pt idx="410">
                  <c:v>60.523150622079704</c:v>
                </c:pt>
                <c:pt idx="411">
                  <c:v>63.466982132747205</c:v>
                </c:pt>
                <c:pt idx="412">
                  <c:v>61.989576192495228</c:v>
                </c:pt>
                <c:pt idx="413">
                  <c:v>61.632241397757539</c:v>
                </c:pt>
                <c:pt idx="414">
                  <c:v>61.536169169660965</c:v>
                </c:pt>
                <c:pt idx="415">
                  <c:v>62.544434397873566</c:v>
                </c:pt>
                <c:pt idx="416">
                  <c:v>62.162725978484637</c:v>
                </c:pt>
                <c:pt idx="417">
                  <c:v>62.493401510427766</c:v>
                </c:pt>
                <c:pt idx="418">
                  <c:v>61.730624037981897</c:v>
                </c:pt>
                <c:pt idx="419">
                  <c:v>63.361995127332484</c:v>
                </c:pt>
                <c:pt idx="420">
                  <c:v>62.238746576685557</c:v>
                </c:pt>
                <c:pt idx="421">
                  <c:v>62.224419305332404</c:v>
                </c:pt>
                <c:pt idx="422">
                  <c:v>61.853206100081778</c:v>
                </c:pt>
                <c:pt idx="423">
                  <c:v>61.759783676736944</c:v>
                </c:pt>
                <c:pt idx="424">
                  <c:v>63.838109852555355</c:v>
                </c:pt>
                <c:pt idx="425">
                  <c:v>65.388793472336047</c:v>
                </c:pt>
                <c:pt idx="426">
                  <c:v>64.059799788027178</c:v>
                </c:pt>
                <c:pt idx="427">
                  <c:v>65.010343694631885</c:v>
                </c:pt>
                <c:pt idx="428">
                  <c:v>65.208814127449997</c:v>
                </c:pt>
                <c:pt idx="429">
                  <c:v>64.533128172405299</c:v>
                </c:pt>
                <c:pt idx="430">
                  <c:v>63.603265799059741</c:v>
                </c:pt>
                <c:pt idx="431">
                  <c:v>63.898493969814126</c:v>
                </c:pt>
                <c:pt idx="432">
                  <c:v>63.656565860202939</c:v>
                </c:pt>
                <c:pt idx="433">
                  <c:v>63.474253084719699</c:v>
                </c:pt>
                <c:pt idx="434">
                  <c:v>63.885554945530167</c:v>
                </c:pt>
                <c:pt idx="435">
                  <c:v>64.210115110855114</c:v>
                </c:pt>
                <c:pt idx="436">
                  <c:v>64.219620142787662</c:v>
                </c:pt>
                <c:pt idx="437">
                  <c:v>64.250272019974318</c:v>
                </c:pt>
                <c:pt idx="438">
                  <c:v>63.01082799627757</c:v>
                </c:pt>
                <c:pt idx="439">
                  <c:v>61.277193174885575</c:v>
                </c:pt>
                <c:pt idx="440">
                  <c:v>58.983396164545894</c:v>
                </c:pt>
                <c:pt idx="441">
                  <c:v>56.283967305094833</c:v>
                </c:pt>
                <c:pt idx="442">
                  <c:v>57.88430789209761</c:v>
                </c:pt>
                <c:pt idx="443">
                  <c:v>58.228512566830304</c:v>
                </c:pt>
                <c:pt idx="444">
                  <c:v>55.43279440733842</c:v>
                </c:pt>
                <c:pt idx="445">
                  <c:v>55.357042746318761</c:v>
                </c:pt>
                <c:pt idx="446">
                  <c:v>52.960268255427721</c:v>
                </c:pt>
                <c:pt idx="447">
                  <c:v>52.894150022447874</c:v>
                </c:pt>
                <c:pt idx="448">
                  <c:v>52.842306944497928</c:v>
                </c:pt>
                <c:pt idx="449">
                  <c:v>52.084471593740446</c:v>
                </c:pt>
                <c:pt idx="450">
                  <c:v>52.113320190364497</c:v>
                </c:pt>
                <c:pt idx="451">
                  <c:v>54.776635630844012</c:v>
                </c:pt>
                <c:pt idx="452">
                  <c:v>54.510699380539407</c:v>
                </c:pt>
                <c:pt idx="453">
                  <c:v>55.907544343376848</c:v>
                </c:pt>
                <c:pt idx="454">
                  <c:v>56.650699663544515</c:v>
                </c:pt>
                <c:pt idx="455">
                  <c:v>57.565566130635148</c:v>
                </c:pt>
                <c:pt idx="456">
                  <c:v>56.844090664812526</c:v>
                </c:pt>
                <c:pt idx="457">
                  <c:v>57.722581789129727</c:v>
                </c:pt>
                <c:pt idx="458">
                  <c:v>57.225128047711721</c:v>
                </c:pt>
                <c:pt idx="459">
                  <c:v>56.665526270083895</c:v>
                </c:pt>
                <c:pt idx="460">
                  <c:v>57.343372598573303</c:v>
                </c:pt>
                <c:pt idx="461">
                  <c:v>57.376383256957524</c:v>
                </c:pt>
                <c:pt idx="462">
                  <c:v>56.808879031961688</c:v>
                </c:pt>
                <c:pt idx="463">
                  <c:v>54.862098010770744</c:v>
                </c:pt>
                <c:pt idx="464">
                  <c:v>55.435964959307647</c:v>
                </c:pt>
                <c:pt idx="465">
                  <c:v>56.605644071795034</c:v>
                </c:pt>
                <c:pt idx="466">
                  <c:v>56.975563387765213</c:v>
                </c:pt>
                <c:pt idx="467">
                  <c:v>59.102846380471576</c:v>
                </c:pt>
                <c:pt idx="468">
                  <c:v>62.447601870142755</c:v>
                </c:pt>
                <c:pt idx="469">
                  <c:v>59.598911224657243</c:v>
                </c:pt>
                <c:pt idx="470">
                  <c:v>57.042388145798384</c:v>
                </c:pt>
                <c:pt idx="471">
                  <c:v>58.348131427178565</c:v>
                </c:pt>
                <c:pt idx="472">
                  <c:v>59.233024241908723</c:v>
                </c:pt>
                <c:pt idx="473">
                  <c:v>58.794622900873243</c:v>
                </c:pt>
                <c:pt idx="474">
                  <c:v>59.627548229412149</c:v>
                </c:pt>
                <c:pt idx="475">
                  <c:v>61.530755676519625</c:v>
                </c:pt>
                <c:pt idx="476">
                  <c:v>63.224754790687001</c:v>
                </c:pt>
                <c:pt idx="477">
                  <c:v>61.320846296678091</c:v>
                </c:pt>
                <c:pt idx="478">
                  <c:v>62.39839146360535</c:v>
                </c:pt>
                <c:pt idx="479">
                  <c:v>62.659688932327811</c:v>
                </c:pt>
                <c:pt idx="480">
                  <c:v>63.27329838129441</c:v>
                </c:pt>
                <c:pt idx="481">
                  <c:v>63.268568785725741</c:v>
                </c:pt>
                <c:pt idx="482">
                  <c:v>62.932298323600776</c:v>
                </c:pt>
                <c:pt idx="483">
                  <c:v>63.390188298416064</c:v>
                </c:pt>
                <c:pt idx="484">
                  <c:v>63.607078229318084</c:v>
                </c:pt>
                <c:pt idx="485">
                  <c:v>63.423997329323022</c:v>
                </c:pt>
                <c:pt idx="486">
                  <c:v>61.073689680818354</c:v>
                </c:pt>
                <c:pt idx="487">
                  <c:v>63.143834160899125</c:v>
                </c:pt>
                <c:pt idx="488">
                  <c:v>64.009916709573275</c:v>
                </c:pt>
                <c:pt idx="489">
                  <c:v>64.402138847336985</c:v>
                </c:pt>
                <c:pt idx="490">
                  <c:v>63.97228100067084</c:v>
                </c:pt>
                <c:pt idx="491">
                  <c:v>64.686325931881484</c:v>
                </c:pt>
                <c:pt idx="492">
                  <c:v>65.007282381156855</c:v>
                </c:pt>
                <c:pt idx="493">
                  <c:v>69.670951767443299</c:v>
                </c:pt>
                <c:pt idx="494">
                  <c:v>69.349541894171281</c:v>
                </c:pt>
                <c:pt idx="495">
                  <c:v>68.989341869336812</c:v>
                </c:pt>
                <c:pt idx="496">
                  <c:v>69.741275227216761</c:v>
                </c:pt>
                <c:pt idx="497">
                  <c:v>69.823012221262161</c:v>
                </c:pt>
                <c:pt idx="498">
                  <c:v>69.079775215160723</c:v>
                </c:pt>
                <c:pt idx="499">
                  <c:v>70.652147613343431</c:v>
                </c:pt>
                <c:pt idx="500">
                  <c:v>70.91203960745581</c:v>
                </c:pt>
                <c:pt idx="501">
                  <c:v>71.904918242178198</c:v>
                </c:pt>
                <c:pt idx="502">
                  <c:v>74.742101158051526</c:v>
                </c:pt>
                <c:pt idx="503">
                  <c:v>75.975160284591936</c:v>
                </c:pt>
                <c:pt idx="504">
                  <c:v>77.149727427047537</c:v>
                </c:pt>
                <c:pt idx="505">
                  <c:v>76.036898352179065</c:v>
                </c:pt>
                <c:pt idx="506">
                  <c:v>76.798297637195063</c:v>
                </c:pt>
                <c:pt idx="507">
                  <c:v>76.5615498019082</c:v>
                </c:pt>
                <c:pt idx="508">
                  <c:v>76.733837459819441</c:v>
                </c:pt>
                <c:pt idx="509">
                  <c:v>79.612665673399562</c:v>
                </c:pt>
                <c:pt idx="510">
                  <c:v>79.663291398402379</c:v>
                </c:pt>
                <c:pt idx="511">
                  <c:v>77.621133829255726</c:v>
                </c:pt>
                <c:pt idx="512">
                  <c:v>76.178839943358014</c:v>
                </c:pt>
                <c:pt idx="513">
                  <c:v>76.104239689118515</c:v>
                </c:pt>
                <c:pt idx="514">
                  <c:v>74.966385185599165</c:v>
                </c:pt>
                <c:pt idx="515">
                  <c:v>74.820877833530659</c:v>
                </c:pt>
                <c:pt idx="516">
                  <c:v>75.467539656186602</c:v>
                </c:pt>
                <c:pt idx="517">
                  <c:v>74.824088387929791</c:v>
                </c:pt>
                <c:pt idx="518">
                  <c:v>72.575606343065189</c:v>
                </c:pt>
                <c:pt idx="519">
                  <c:v>73.427862496473253</c:v>
                </c:pt>
                <c:pt idx="520">
                  <c:v>73.384595747357238</c:v>
                </c:pt>
                <c:pt idx="521">
                  <c:v>73.151741210663261</c:v>
                </c:pt>
                <c:pt idx="522">
                  <c:v>72.473480157975061</c:v>
                </c:pt>
                <c:pt idx="523">
                  <c:v>73.910139049158303</c:v>
                </c:pt>
                <c:pt idx="524">
                  <c:v>73.522470655626748</c:v>
                </c:pt>
                <c:pt idx="525">
                  <c:v>74.334268618415052</c:v>
                </c:pt>
                <c:pt idx="526">
                  <c:v>74.419985636469519</c:v>
                </c:pt>
                <c:pt idx="527">
                  <c:v>73.539347135254062</c:v>
                </c:pt>
                <c:pt idx="528">
                  <c:v>73.020546021539474</c:v>
                </c:pt>
                <c:pt idx="529">
                  <c:v>73.307280415894169</c:v>
                </c:pt>
                <c:pt idx="530">
                  <c:v>74.546224889512217</c:v>
                </c:pt>
                <c:pt idx="531">
                  <c:v>73.449314985512586</c:v>
                </c:pt>
                <c:pt idx="532">
                  <c:v>78.504497643297611</c:v>
                </c:pt>
                <c:pt idx="533">
                  <c:v>79.642529731744844</c:v>
                </c:pt>
                <c:pt idx="534">
                  <c:v>81.213837602390996</c:v>
                </c:pt>
                <c:pt idx="535">
                  <c:v>82.134717720909535</c:v>
                </c:pt>
                <c:pt idx="536">
                  <c:v>83.564226117099878</c:v>
                </c:pt>
                <c:pt idx="537">
                  <c:v>87.983944887399403</c:v>
                </c:pt>
                <c:pt idx="538">
                  <c:v>91.201011194139767</c:v>
                </c:pt>
                <c:pt idx="539">
                  <c:v>85.247516737870399</c:v>
                </c:pt>
                <c:pt idx="540">
                  <c:v>87.196579430867914</c:v>
                </c:pt>
                <c:pt idx="541">
                  <c:v>88.299733948708337</c:v>
                </c:pt>
                <c:pt idx="542">
                  <c:v>88.718389339240858</c:v>
                </c:pt>
                <c:pt idx="543">
                  <c:v>89.09143524158327</c:v>
                </c:pt>
                <c:pt idx="544">
                  <c:v>88.723440997140941</c:v>
                </c:pt>
                <c:pt idx="545">
                  <c:v>90.472749409009225</c:v>
                </c:pt>
                <c:pt idx="546">
                  <c:v>94.166442508723279</c:v>
                </c:pt>
                <c:pt idx="547">
                  <c:v>95.134184584928775</c:v>
                </c:pt>
                <c:pt idx="548">
                  <c:v>93.570949970142394</c:v>
                </c:pt>
                <c:pt idx="549">
                  <c:v>94.060518116762722</c:v>
                </c:pt>
                <c:pt idx="550">
                  <c:v>98.295805202980972</c:v>
                </c:pt>
                <c:pt idx="551">
                  <c:v>97.76441161360512</c:v>
                </c:pt>
                <c:pt idx="552">
                  <c:v>97.333171256273488</c:v>
                </c:pt>
                <c:pt idx="553">
                  <c:v>98.023715154452091</c:v>
                </c:pt>
                <c:pt idx="554">
                  <c:v>97.287072575596014</c:v>
                </c:pt>
                <c:pt idx="555">
                  <c:v>99.029993368416953</c:v>
                </c:pt>
                <c:pt idx="556">
                  <c:v>103.7945152147866</c:v>
                </c:pt>
                <c:pt idx="557">
                  <c:v>103.52884189082552</c:v>
                </c:pt>
                <c:pt idx="558">
                  <c:v>102.47372825931721</c:v>
                </c:pt>
                <c:pt idx="559">
                  <c:v>104.53160515343635</c:v>
                </c:pt>
                <c:pt idx="560">
                  <c:v>104.12193315949833</c:v>
                </c:pt>
                <c:pt idx="561">
                  <c:v>103.64491183487895</c:v>
                </c:pt>
                <c:pt idx="562">
                  <c:v>103.0507714369928</c:v>
                </c:pt>
                <c:pt idx="563">
                  <c:v>103.15874594009789</c:v>
                </c:pt>
                <c:pt idx="564">
                  <c:v>104.40805242020792</c:v>
                </c:pt>
                <c:pt idx="565">
                  <c:v>100.8178872717474</c:v>
                </c:pt>
                <c:pt idx="566">
                  <c:v>102.01000040134765</c:v>
                </c:pt>
                <c:pt idx="567">
                  <c:v>103.5400857509471</c:v>
                </c:pt>
                <c:pt idx="568">
                  <c:v>104.30249696166301</c:v>
                </c:pt>
                <c:pt idx="569">
                  <c:v>104.04985664634125</c:v>
                </c:pt>
                <c:pt idx="570">
                  <c:v>105.29892813608171</c:v>
                </c:pt>
                <c:pt idx="571">
                  <c:v>106.16164849227694</c:v>
                </c:pt>
                <c:pt idx="572">
                  <c:v>107.40294196214336</c:v>
                </c:pt>
                <c:pt idx="573">
                  <c:v>107.08145470833053</c:v>
                </c:pt>
                <c:pt idx="574">
                  <c:v>109.28455534758677</c:v>
                </c:pt>
                <c:pt idx="575">
                  <c:v>108.64582553856252</c:v>
                </c:pt>
                <c:pt idx="576">
                  <c:v>109.19065183353752</c:v>
                </c:pt>
                <c:pt idx="577">
                  <c:v>109.70271373077438</c:v>
                </c:pt>
                <c:pt idx="578">
                  <c:v>109.47167280318845</c:v>
                </c:pt>
                <c:pt idx="579">
                  <c:v>109.03832089074896</c:v>
                </c:pt>
                <c:pt idx="580">
                  <c:v>111.50426378887774</c:v>
                </c:pt>
                <c:pt idx="581">
                  <c:v>110.69059033156761</c:v>
                </c:pt>
                <c:pt idx="582">
                  <c:v>107.86164706513509</c:v>
                </c:pt>
                <c:pt idx="583">
                  <c:v>101.4269958861593</c:v>
                </c:pt>
                <c:pt idx="584">
                  <c:v>102.26128147384826</c:v>
                </c:pt>
                <c:pt idx="585">
                  <c:v>104.41797551726533</c:v>
                </c:pt>
                <c:pt idx="586">
                  <c:v>103.4567297942852</c:v>
                </c:pt>
                <c:pt idx="587">
                  <c:v>100.54926743265283</c:v>
                </c:pt>
                <c:pt idx="588">
                  <c:v>100.27665930117274</c:v>
                </c:pt>
                <c:pt idx="589">
                  <c:v>99.874933600589515</c:v>
                </c:pt>
                <c:pt idx="590">
                  <c:v>99.861236572939575</c:v>
                </c:pt>
                <c:pt idx="591">
                  <c:v>104.92977193535306</c:v>
                </c:pt>
                <c:pt idx="592">
                  <c:v>107.43882872263677</c:v>
                </c:pt>
                <c:pt idx="593">
                  <c:v>107.58727581730521</c:v>
                </c:pt>
                <c:pt idx="594">
                  <c:v>108.0834475696913</c:v>
                </c:pt>
                <c:pt idx="595">
                  <c:v>109.43150362755368</c:v>
                </c:pt>
                <c:pt idx="596">
                  <c:v>113.24111162303143</c:v>
                </c:pt>
                <c:pt idx="597">
                  <c:v>116.55515797656163</c:v>
                </c:pt>
                <c:pt idx="598">
                  <c:v>125.38926705299406</c:v>
                </c:pt>
                <c:pt idx="599">
                  <c:v>122.98333148902682</c:v>
                </c:pt>
                <c:pt idx="600">
                  <c:v>125.20886246893795</c:v>
                </c:pt>
                <c:pt idx="601">
                  <c:v>125.19142915373233</c:v>
                </c:pt>
                <c:pt idx="602">
                  <c:v>120.55459787249755</c:v>
                </c:pt>
                <c:pt idx="603">
                  <c:v>124.23489982091161</c:v>
                </c:pt>
                <c:pt idx="604">
                  <c:v>124.36918188147753</c:v>
                </c:pt>
                <c:pt idx="605">
                  <c:v>126.5762296224196</c:v>
                </c:pt>
                <c:pt idx="606">
                  <c:v>127.04471145093483</c:v>
                </c:pt>
                <c:pt idx="607">
                  <c:v>127.30916239854356</c:v>
                </c:pt>
                <c:pt idx="608">
                  <c:v>127.79057690757853</c:v>
                </c:pt>
                <c:pt idx="609">
                  <c:v>128.54027824184777</c:v>
                </c:pt>
                <c:pt idx="610">
                  <c:v>128.92998825297028</c:v>
                </c:pt>
                <c:pt idx="611">
                  <c:v>129.77631878795947</c:v>
                </c:pt>
                <c:pt idx="612">
                  <c:v>132.54187061072699</c:v>
                </c:pt>
                <c:pt idx="613">
                  <c:v>135.22743456970579</c:v>
                </c:pt>
                <c:pt idx="614">
                  <c:v>138.15241443934187</c:v>
                </c:pt>
                <c:pt idx="615">
                  <c:v>137.98406473095415</c:v>
                </c:pt>
                <c:pt idx="616">
                  <c:v>140.62427722860139</c:v>
                </c:pt>
                <c:pt idx="617">
                  <c:v>144.74525109086127</c:v>
                </c:pt>
                <c:pt idx="618">
                  <c:v>142.77257169159788</c:v>
                </c:pt>
                <c:pt idx="619">
                  <c:v>144.42420938309783</c:v>
                </c:pt>
                <c:pt idx="620">
                  <c:v>142.30634853269524</c:v>
                </c:pt>
                <c:pt idx="621">
                  <c:v>142.25850305076398</c:v>
                </c:pt>
                <c:pt idx="622">
                  <c:v>142.9625766506376</c:v>
                </c:pt>
                <c:pt idx="623">
                  <c:v>140.3664863788789</c:v>
                </c:pt>
                <c:pt idx="624">
                  <c:v>140.36328078236843</c:v>
                </c:pt>
                <c:pt idx="625">
                  <c:v>142.20532058624093</c:v>
                </c:pt>
                <c:pt idx="626">
                  <c:v>143.54303177973941</c:v>
                </c:pt>
                <c:pt idx="627">
                  <c:v>142.77437749504608</c:v>
                </c:pt>
                <c:pt idx="628">
                  <c:v>141.77912705829885</c:v>
                </c:pt>
                <c:pt idx="629">
                  <c:v>142.10631429926192</c:v>
                </c:pt>
                <c:pt idx="630">
                  <c:v>144.58349558098456</c:v>
                </c:pt>
                <c:pt idx="631">
                  <c:v>146.94142684521282</c:v>
                </c:pt>
                <c:pt idx="632">
                  <c:v>150.00606371066672</c:v>
                </c:pt>
                <c:pt idx="633">
                  <c:v>148.49914169118946</c:v>
                </c:pt>
                <c:pt idx="634">
                  <c:v>148.411807758202</c:v>
                </c:pt>
                <c:pt idx="635">
                  <c:v>148.32908427312472</c:v>
                </c:pt>
                <c:pt idx="636">
                  <c:v>150.18435224957273</c:v>
                </c:pt>
                <c:pt idx="637">
                  <c:v>149.27194251802382</c:v>
                </c:pt>
                <c:pt idx="638">
                  <c:v>149.82322209126221</c:v>
                </c:pt>
                <c:pt idx="639">
                  <c:v>151.29444394390444</c:v>
                </c:pt>
                <c:pt idx="640">
                  <c:v>151.91972208167485</c:v>
                </c:pt>
                <c:pt idx="641">
                  <c:v>153.21847154616327</c:v>
                </c:pt>
                <c:pt idx="642">
                  <c:v>159.03662216819711</c:v>
                </c:pt>
                <c:pt idx="643">
                  <c:v>162.81236404766659</c:v>
                </c:pt>
                <c:pt idx="644">
                  <c:v>159.77610694919173</c:v>
                </c:pt>
                <c:pt idx="645">
                  <c:v>159.93772589340284</c:v>
                </c:pt>
                <c:pt idx="646">
                  <c:v>163.88091835292622</c:v>
                </c:pt>
                <c:pt idx="647">
                  <c:v>165.73739771682401</c:v>
                </c:pt>
                <c:pt idx="648">
                  <c:v>164.28066438276352</c:v>
                </c:pt>
                <c:pt idx="649">
                  <c:v>164.86155236516305</c:v>
                </c:pt>
                <c:pt idx="650">
                  <c:v>165.29902892286819</c:v>
                </c:pt>
                <c:pt idx="651">
                  <c:v>166.42688411419658</c:v>
                </c:pt>
                <c:pt idx="652">
                  <c:v>167.84080059163935</c:v>
                </c:pt>
                <c:pt idx="653">
                  <c:v>168.63146992496624</c:v>
                </c:pt>
                <c:pt idx="654">
                  <c:v>169.6071840652049</c:v>
                </c:pt>
                <c:pt idx="655">
                  <c:v>171.36395703442574</c:v>
                </c:pt>
                <c:pt idx="656">
                  <c:v>168.90414603293004</c:v>
                </c:pt>
                <c:pt idx="657">
                  <c:v>171.95980369838915</c:v>
                </c:pt>
                <c:pt idx="658">
                  <c:v>174.41817027749491</c:v>
                </c:pt>
                <c:pt idx="659">
                  <c:v>173.55445583385062</c:v>
                </c:pt>
                <c:pt idx="660">
                  <c:v>173.12099809928318</c:v>
                </c:pt>
                <c:pt idx="661">
                  <c:v>171.57230194901211</c:v>
                </c:pt>
                <c:pt idx="662">
                  <c:v>171.10518418338646</c:v>
                </c:pt>
                <c:pt idx="663">
                  <c:v>172.57369624265687</c:v>
                </c:pt>
                <c:pt idx="664">
                  <c:v>172.88167463808901</c:v>
                </c:pt>
                <c:pt idx="665">
                  <c:v>170.28906261047234</c:v>
                </c:pt>
                <c:pt idx="666">
                  <c:v>168.5882915390134</c:v>
                </c:pt>
                <c:pt idx="667">
                  <c:v>169.0669882108204</c:v>
                </c:pt>
                <c:pt idx="668">
                  <c:v>171.19040966446423</c:v>
                </c:pt>
                <c:pt idx="669">
                  <c:v>173.62752818897664</c:v>
                </c:pt>
                <c:pt idx="670">
                  <c:v>174.33082676064484</c:v>
                </c:pt>
                <c:pt idx="671">
                  <c:v>173.46698065946384</c:v>
                </c:pt>
                <c:pt idx="672">
                  <c:v>171.88909372189963</c:v>
                </c:pt>
                <c:pt idx="673">
                  <c:v>170.39825350255313</c:v>
                </c:pt>
                <c:pt idx="674">
                  <c:v>170.60113515003428</c:v>
                </c:pt>
                <c:pt idx="675">
                  <c:v>165.85983572381295</c:v>
                </c:pt>
                <c:pt idx="676">
                  <c:v>170.75853542845269</c:v>
                </c:pt>
                <c:pt idx="677">
                  <c:v>170.18827281459997</c:v>
                </c:pt>
                <c:pt idx="678">
                  <c:v>167.70885992863759</c:v>
                </c:pt>
                <c:pt idx="679">
                  <c:v>167.50442727753639</c:v>
                </c:pt>
                <c:pt idx="680">
                  <c:v>167.60338257879494</c:v>
                </c:pt>
                <c:pt idx="681">
                  <c:v>165.18013824075931</c:v>
                </c:pt>
                <c:pt idx="682">
                  <c:v>161.60233489235401</c:v>
                </c:pt>
                <c:pt idx="683">
                  <c:v>162.65566292577734</c:v>
                </c:pt>
                <c:pt idx="684">
                  <c:v>161.16996895437376</c:v>
                </c:pt>
                <c:pt idx="685">
                  <c:v>158.39404216199387</c:v>
                </c:pt>
                <c:pt idx="686">
                  <c:v>160.69723313859114</c:v>
                </c:pt>
                <c:pt idx="687">
                  <c:v>163.51342296049563</c:v>
                </c:pt>
                <c:pt idx="688">
                  <c:v>166.46812978008143</c:v>
                </c:pt>
                <c:pt idx="689">
                  <c:v>164.57594682483239</c:v>
                </c:pt>
                <c:pt idx="690">
                  <c:v>162.93022615797955</c:v>
                </c:pt>
                <c:pt idx="691">
                  <c:v>163.51909709355209</c:v>
                </c:pt>
                <c:pt idx="692">
                  <c:v>160.70045009980137</c:v>
                </c:pt>
                <c:pt idx="693">
                  <c:v>157.70087394389714</c:v>
                </c:pt>
                <c:pt idx="694">
                  <c:v>158.13089578604263</c:v>
                </c:pt>
                <c:pt idx="695">
                  <c:v>156.48391820839225</c:v>
                </c:pt>
                <c:pt idx="696">
                  <c:v>153.99254320390477</c:v>
                </c:pt>
                <c:pt idx="697">
                  <c:v>154.00340789372791</c:v>
                </c:pt>
                <c:pt idx="698">
                  <c:v>155.99134691294546</c:v>
                </c:pt>
                <c:pt idx="699">
                  <c:v>157.74301712444858</c:v>
                </c:pt>
                <c:pt idx="700">
                  <c:v>157.21315010748083</c:v>
                </c:pt>
                <c:pt idx="701">
                  <c:v>158.503231733202</c:v>
                </c:pt>
                <c:pt idx="702">
                  <c:v>159.14753961481946</c:v>
                </c:pt>
                <c:pt idx="703">
                  <c:v>158.71408216744678</c:v>
                </c:pt>
                <c:pt idx="704">
                  <c:v>156.55307416507193</c:v>
                </c:pt>
                <c:pt idx="705">
                  <c:v>154.83303896244848</c:v>
                </c:pt>
                <c:pt idx="706">
                  <c:v>154.45426772064849</c:v>
                </c:pt>
                <c:pt idx="707">
                  <c:v>152.45902137149233</c:v>
                </c:pt>
                <c:pt idx="708">
                  <c:v>150.68754726353251</c:v>
                </c:pt>
                <c:pt idx="709">
                  <c:v>146.38764695475749</c:v>
                </c:pt>
                <c:pt idx="710">
                  <c:v>147.62847478141154</c:v>
                </c:pt>
                <c:pt idx="711">
                  <c:v>148.74310154087459</c:v>
                </c:pt>
                <c:pt idx="712">
                  <c:v>150.58923383300368</c:v>
                </c:pt>
                <c:pt idx="713">
                  <c:v>147.23331139597468</c:v>
                </c:pt>
                <c:pt idx="714">
                  <c:v>145.25188934300033</c:v>
                </c:pt>
                <c:pt idx="715">
                  <c:v>144.82912390926197</c:v>
                </c:pt>
                <c:pt idx="716">
                  <c:v>145.91210714145009</c:v>
                </c:pt>
                <c:pt idx="717">
                  <c:v>148.85179044873294</c:v>
                </c:pt>
                <c:pt idx="718">
                  <c:v>149.39095060577975</c:v>
                </c:pt>
                <c:pt idx="719">
                  <c:v>152.01652602691311</c:v>
                </c:pt>
                <c:pt idx="720">
                  <c:v>152.10746725488505</c:v>
                </c:pt>
                <c:pt idx="721">
                  <c:v>151.6250427370868</c:v>
                </c:pt>
                <c:pt idx="722">
                  <c:v>151.24485655211842</c:v>
                </c:pt>
                <c:pt idx="723">
                  <c:v>149.28795060782613</c:v>
                </c:pt>
                <c:pt idx="724">
                  <c:v>148.68117137976256</c:v>
                </c:pt>
                <c:pt idx="725">
                  <c:v>149.31129026110935</c:v>
                </c:pt>
                <c:pt idx="726">
                  <c:v>149.33457841609999</c:v>
                </c:pt>
                <c:pt idx="727">
                  <c:v>149.6161219249592</c:v>
                </c:pt>
                <c:pt idx="728">
                  <c:v>148.08313808441778</c:v>
                </c:pt>
                <c:pt idx="729">
                  <c:v>147.08412489124871</c:v>
                </c:pt>
                <c:pt idx="730">
                  <c:v>146.40777035847515</c:v>
                </c:pt>
                <c:pt idx="731">
                  <c:v>145.91503212788584</c:v>
                </c:pt>
                <c:pt idx="732">
                  <c:v>142.49132802107778</c:v>
                </c:pt>
                <c:pt idx="733">
                  <c:v>138.8886088980488</c:v>
                </c:pt>
                <c:pt idx="734">
                  <c:v>136.53931353162739</c:v>
                </c:pt>
                <c:pt idx="735">
                  <c:v>134.68306885019172</c:v>
                </c:pt>
                <c:pt idx="736">
                  <c:v>136.7585138060837</c:v>
                </c:pt>
                <c:pt idx="737">
                  <c:v>134.54070370966548</c:v>
                </c:pt>
                <c:pt idx="738">
                  <c:v>134.66341704277286</c:v>
                </c:pt>
                <c:pt idx="739">
                  <c:v>135.18425920480959</c:v>
                </c:pt>
                <c:pt idx="740">
                  <c:v>133.4422671241272</c:v>
                </c:pt>
                <c:pt idx="741">
                  <c:v>135.97493209590473</c:v>
                </c:pt>
                <c:pt idx="742">
                  <c:v>138.07340599362468</c:v>
                </c:pt>
                <c:pt idx="743">
                  <c:v>136.06668518109473</c:v>
                </c:pt>
                <c:pt idx="744">
                  <c:v>138.25730768825252</c:v>
                </c:pt>
                <c:pt idx="745">
                  <c:v>137.42503146867719</c:v>
                </c:pt>
                <c:pt idx="746">
                  <c:v>137.29939265021341</c:v>
                </c:pt>
                <c:pt idx="747">
                  <c:v>136.08899880593225</c:v>
                </c:pt>
                <c:pt idx="748">
                  <c:v>136.8014964841754</c:v>
                </c:pt>
                <c:pt idx="749">
                  <c:v>135.42188022395823</c:v>
                </c:pt>
                <c:pt idx="750">
                  <c:v>136.02174864516212</c:v>
                </c:pt>
                <c:pt idx="751">
                  <c:v>136.77410016966508</c:v>
                </c:pt>
                <c:pt idx="752">
                  <c:v>138.26067596772927</c:v>
                </c:pt>
                <c:pt idx="753">
                  <c:v>138.12729225077601</c:v>
                </c:pt>
                <c:pt idx="754">
                  <c:v>137.37943194307891</c:v>
                </c:pt>
                <c:pt idx="755">
                  <c:v>137.81589796133633</c:v>
                </c:pt>
                <c:pt idx="756">
                  <c:v>133.8700473012463</c:v>
                </c:pt>
                <c:pt idx="757">
                  <c:v>135.10463512451895</c:v>
                </c:pt>
                <c:pt idx="758">
                  <c:v>134.05656154665897</c:v>
                </c:pt>
                <c:pt idx="759">
                  <c:v>133.33802558100163</c:v>
                </c:pt>
                <c:pt idx="760">
                  <c:v>133.66944707574345</c:v>
                </c:pt>
                <c:pt idx="761">
                  <c:v>133.84638256116878</c:v>
                </c:pt>
                <c:pt idx="762">
                  <c:v>133.00978238621275</c:v>
                </c:pt>
                <c:pt idx="763">
                  <c:v>132.60033982304861</c:v>
                </c:pt>
                <c:pt idx="764">
                  <c:v>133.3911798049171</c:v>
                </c:pt>
                <c:pt idx="765">
                  <c:v>132.36068105365061</c:v>
                </c:pt>
                <c:pt idx="766">
                  <c:v>130.07371967884328</c:v>
                </c:pt>
                <c:pt idx="767">
                  <c:v>130.40967894236741</c:v>
                </c:pt>
                <c:pt idx="768">
                  <c:v>131.20873796303957</c:v>
                </c:pt>
                <c:pt idx="769">
                  <c:v>131.13649193194388</c:v>
                </c:pt>
                <c:pt idx="770">
                  <c:v>131.72707202834502</c:v>
                </c:pt>
                <c:pt idx="771">
                  <c:v>132.07981403827199</c:v>
                </c:pt>
                <c:pt idx="772">
                  <c:v>131.07107204371766</c:v>
                </c:pt>
                <c:pt idx="773">
                  <c:v>130.05740022814155</c:v>
                </c:pt>
                <c:pt idx="774">
                  <c:v>128.91407471387913</c:v>
                </c:pt>
                <c:pt idx="775">
                  <c:v>127.61962915587057</c:v>
                </c:pt>
                <c:pt idx="776">
                  <c:v>129.44829634128854</c:v>
                </c:pt>
                <c:pt idx="777">
                  <c:v>128.27174832511622</c:v>
                </c:pt>
                <c:pt idx="778">
                  <c:v>129.12003673566832</c:v>
                </c:pt>
                <c:pt idx="779">
                  <c:v>128.77561738792411</c:v>
                </c:pt>
                <c:pt idx="780">
                  <c:v>129.1093035146402</c:v>
                </c:pt>
                <c:pt idx="781">
                  <c:v>129.17803809522516</c:v>
                </c:pt>
                <c:pt idx="782">
                  <c:v>128.85541968255222</c:v>
                </c:pt>
                <c:pt idx="783">
                  <c:v>128.66136944246327</c:v>
                </c:pt>
                <c:pt idx="784">
                  <c:v>128.51752605828244</c:v>
                </c:pt>
                <c:pt idx="785">
                  <c:v>127.78233167853452</c:v>
                </c:pt>
                <c:pt idx="786">
                  <c:v>126.74447271622704</c:v>
                </c:pt>
                <c:pt idx="787">
                  <c:v>127.05634490673545</c:v>
                </c:pt>
                <c:pt idx="788">
                  <c:v>127.21504172782656</c:v>
                </c:pt>
                <c:pt idx="789">
                  <c:v>131.3847860279316</c:v>
                </c:pt>
                <c:pt idx="790">
                  <c:v>131.21512998938269</c:v>
                </c:pt>
                <c:pt idx="791">
                  <c:v>129.59008781714488</c:v>
                </c:pt>
                <c:pt idx="792">
                  <c:v>132.20293232145235</c:v>
                </c:pt>
                <c:pt idx="793">
                  <c:v>133.37061578032774</c:v>
                </c:pt>
                <c:pt idx="794">
                  <c:v>132.95729322194819</c:v>
                </c:pt>
                <c:pt idx="795">
                  <c:v>131.4912293272059</c:v>
                </c:pt>
                <c:pt idx="796">
                  <c:v>132.2707233693163</c:v>
                </c:pt>
                <c:pt idx="797">
                  <c:v>132.19675137780587</c:v>
                </c:pt>
                <c:pt idx="798">
                  <c:v>132.1103506449081</c:v>
                </c:pt>
                <c:pt idx="799">
                  <c:v>132.30015061644869</c:v>
                </c:pt>
                <c:pt idx="800">
                  <c:v>132.30794401076517</c:v>
                </c:pt>
                <c:pt idx="801">
                  <c:v>133.16985713016732</c:v>
                </c:pt>
                <c:pt idx="802">
                  <c:v>132.0837350178038</c:v>
                </c:pt>
                <c:pt idx="803">
                  <c:v>131.17675480437381</c:v>
                </c:pt>
                <c:pt idx="804">
                  <c:v>131.09310123743376</c:v>
                </c:pt>
                <c:pt idx="805">
                  <c:v>131.41989377667542</c:v>
                </c:pt>
                <c:pt idx="806">
                  <c:v>131.1651474767846</c:v>
                </c:pt>
                <c:pt idx="807">
                  <c:v>130.2763921761437</c:v>
                </c:pt>
                <c:pt idx="808">
                  <c:v>130.38865220953812</c:v>
                </c:pt>
                <c:pt idx="809">
                  <c:v>130.39897440281098</c:v>
                </c:pt>
                <c:pt idx="810">
                  <c:v>130.2705204669148</c:v>
                </c:pt>
                <c:pt idx="811">
                  <c:v>130.36189147153814</c:v>
                </c:pt>
                <c:pt idx="812">
                  <c:v>131.00957311836532</c:v>
                </c:pt>
                <c:pt idx="813">
                  <c:v>130.8539049970255</c:v>
                </c:pt>
                <c:pt idx="814">
                  <c:v>130.9801528358459</c:v>
                </c:pt>
                <c:pt idx="815">
                  <c:v>130.54650442756849</c:v>
                </c:pt>
                <c:pt idx="816">
                  <c:v>130.87636391610346</c:v>
                </c:pt>
                <c:pt idx="817">
                  <c:v>131.17166248938597</c:v>
                </c:pt>
                <c:pt idx="818">
                  <c:v>130.96945627371218</c:v>
                </c:pt>
                <c:pt idx="819">
                  <c:v>131.11941501247881</c:v>
                </c:pt>
                <c:pt idx="820">
                  <c:v>131.5963230558734</c:v>
                </c:pt>
                <c:pt idx="821">
                  <c:v>130.34749989270398</c:v>
                </c:pt>
                <c:pt idx="822">
                  <c:v>130.10309927213308</c:v>
                </c:pt>
                <c:pt idx="823">
                  <c:v>129.41095999670111</c:v>
                </c:pt>
                <c:pt idx="824">
                  <c:v>129.80167496819445</c:v>
                </c:pt>
                <c:pt idx="825">
                  <c:v>129.37115515999963</c:v>
                </c:pt>
                <c:pt idx="826">
                  <c:v>127.58925286700266</c:v>
                </c:pt>
                <c:pt idx="827">
                  <c:v>127.66208549952346</c:v>
                </c:pt>
                <c:pt idx="828">
                  <c:v>127.10753690184215</c:v>
                </c:pt>
                <c:pt idx="829">
                  <c:v>126.10200377933589</c:v>
                </c:pt>
                <c:pt idx="830">
                  <c:v>125.96953005919018</c:v>
                </c:pt>
                <c:pt idx="831">
                  <c:v>126.12717217914897</c:v>
                </c:pt>
                <c:pt idx="832">
                  <c:v>125.38893026920239</c:v>
                </c:pt>
                <c:pt idx="833">
                  <c:v>124.55591312582179</c:v>
                </c:pt>
                <c:pt idx="834">
                  <c:v>125.63074289454674</c:v>
                </c:pt>
                <c:pt idx="835">
                  <c:v>125.55379533859779</c:v>
                </c:pt>
                <c:pt idx="836">
                  <c:v>124.88842834022</c:v>
                </c:pt>
                <c:pt idx="837">
                  <c:v>124.08445007773574</c:v>
                </c:pt>
                <c:pt idx="838">
                  <c:v>123.91238499239853</c:v>
                </c:pt>
                <c:pt idx="839">
                  <c:v>124.14633553834477</c:v>
                </c:pt>
                <c:pt idx="840">
                  <c:v>123.33112580491344</c:v>
                </c:pt>
                <c:pt idx="841">
                  <c:v>124.68368643218389</c:v>
                </c:pt>
                <c:pt idx="842">
                  <c:v>125.28624930467637</c:v>
                </c:pt>
                <c:pt idx="843">
                  <c:v>125.48470143496998</c:v>
                </c:pt>
                <c:pt idx="844">
                  <c:v>124.90523534220593</c:v>
                </c:pt>
                <c:pt idx="845">
                  <c:v>124.81132660669681</c:v>
                </c:pt>
                <c:pt idx="846">
                  <c:v>122.60157787536562</c:v>
                </c:pt>
                <c:pt idx="847">
                  <c:v>122.05732080949244</c:v>
                </c:pt>
                <c:pt idx="848">
                  <c:v>123.21641815330494</c:v>
                </c:pt>
                <c:pt idx="849">
                  <c:v>122.99993835155104</c:v>
                </c:pt>
                <c:pt idx="850">
                  <c:v>122.8159386749752</c:v>
                </c:pt>
                <c:pt idx="851">
                  <c:v>122.88747469782092</c:v>
                </c:pt>
                <c:pt idx="852">
                  <c:v>122.85312028673395</c:v>
                </c:pt>
                <c:pt idx="853">
                  <c:v>122.3898699162544</c:v>
                </c:pt>
                <c:pt idx="854">
                  <c:v>122.63166609111974</c:v>
                </c:pt>
                <c:pt idx="855">
                  <c:v>122.43124891833941</c:v>
                </c:pt>
                <c:pt idx="856">
                  <c:v>122.28598663519969</c:v>
                </c:pt>
                <c:pt idx="857">
                  <c:v>122.289262042434</c:v>
                </c:pt>
                <c:pt idx="858">
                  <c:v>122.67153864769426</c:v>
                </c:pt>
                <c:pt idx="859">
                  <c:v>122.9111708322319</c:v>
                </c:pt>
                <c:pt idx="860">
                  <c:v>123.84005162650494</c:v>
                </c:pt>
                <c:pt idx="861">
                  <c:v>125.96287323345175</c:v>
                </c:pt>
                <c:pt idx="862">
                  <c:v>126.70991463000725</c:v>
                </c:pt>
                <c:pt idx="863">
                  <c:v>126.88869424670875</c:v>
                </c:pt>
                <c:pt idx="864">
                  <c:v>127.3741372565279</c:v>
                </c:pt>
                <c:pt idx="865">
                  <c:v>126.86662935986773</c:v>
                </c:pt>
                <c:pt idx="866">
                  <c:v>126.2532089857669</c:v>
                </c:pt>
                <c:pt idx="867">
                  <c:v>125.90650487057975</c:v>
                </c:pt>
                <c:pt idx="868">
                  <c:v>126.48023642486622</c:v>
                </c:pt>
                <c:pt idx="869">
                  <c:v>127.60007004301596</c:v>
                </c:pt>
                <c:pt idx="870">
                  <c:v>127.86706102615612</c:v>
                </c:pt>
                <c:pt idx="871">
                  <c:v>129.00928985130642</c:v>
                </c:pt>
                <c:pt idx="872">
                  <c:v>129.22944032295035</c:v>
                </c:pt>
                <c:pt idx="873">
                  <c:v>129.80342481476566</c:v>
                </c:pt>
                <c:pt idx="874">
                  <c:v>129.59213168874138</c:v>
                </c:pt>
                <c:pt idx="875">
                  <c:v>129.64261187030851</c:v>
                </c:pt>
                <c:pt idx="876">
                  <c:v>129.53790019282718</c:v>
                </c:pt>
                <c:pt idx="877">
                  <c:v>128.96893570531054</c:v>
                </c:pt>
                <c:pt idx="878">
                  <c:v>128.87278542945577</c:v>
                </c:pt>
                <c:pt idx="879">
                  <c:v>129.07854264711796</c:v>
                </c:pt>
                <c:pt idx="880">
                  <c:v>127.82264074451574</c:v>
                </c:pt>
                <c:pt idx="881">
                  <c:v>127.86115414944486</c:v>
                </c:pt>
                <c:pt idx="882">
                  <c:v>127.95526184228629</c:v>
                </c:pt>
                <c:pt idx="883">
                  <c:v>128.27587305611942</c:v>
                </c:pt>
                <c:pt idx="884">
                  <c:v>128.7265493173708</c:v>
                </c:pt>
                <c:pt idx="885">
                  <c:v>126.30041376964736</c:v>
                </c:pt>
                <c:pt idx="886">
                  <c:v>124.27395228265006</c:v>
                </c:pt>
                <c:pt idx="887">
                  <c:v>118.31009486708784</c:v>
                </c:pt>
                <c:pt idx="888">
                  <c:v>115.14601471519521</c:v>
                </c:pt>
                <c:pt idx="889">
                  <c:v>118.26398994963158</c:v>
                </c:pt>
                <c:pt idx="890">
                  <c:v>118.89537110029018</c:v>
                </c:pt>
                <c:pt idx="891">
                  <c:v>117.95156413436617</c:v>
                </c:pt>
                <c:pt idx="892">
                  <c:v>118.5134413098053</c:v>
                </c:pt>
                <c:pt idx="893">
                  <c:v>115.00718472325615</c:v>
                </c:pt>
                <c:pt idx="894">
                  <c:v>115.36897812862684</c:v>
                </c:pt>
                <c:pt idx="895">
                  <c:v>116.21008611219662</c:v>
                </c:pt>
                <c:pt idx="896">
                  <c:v>115.01441510948813</c:v>
                </c:pt>
                <c:pt idx="897">
                  <c:v>111.43856658317513</c:v>
                </c:pt>
                <c:pt idx="898">
                  <c:v>112.92250969487219</c:v>
                </c:pt>
                <c:pt idx="899">
                  <c:v>111.11597576754252</c:v>
                </c:pt>
                <c:pt idx="900">
                  <c:v>110.53051453502705</c:v>
                </c:pt>
                <c:pt idx="901">
                  <c:v>110.17634406786014</c:v>
                </c:pt>
                <c:pt idx="902">
                  <c:v>109.84873027783034</c:v>
                </c:pt>
                <c:pt idx="903">
                  <c:v>109.30773523650241</c:v>
                </c:pt>
                <c:pt idx="904">
                  <c:v>109.03277649041948</c:v>
                </c:pt>
                <c:pt idx="905">
                  <c:v>109.09246082439482</c:v>
                </c:pt>
                <c:pt idx="906">
                  <c:v>108.78319485884414</c:v>
                </c:pt>
                <c:pt idx="907">
                  <c:v>109.14437580183959</c:v>
                </c:pt>
                <c:pt idx="908">
                  <c:v>109.24438146669289</c:v>
                </c:pt>
                <c:pt idx="909">
                  <c:v>108.78288270053928</c:v>
                </c:pt>
                <c:pt idx="910">
                  <c:v>108.28481542169676</c:v>
                </c:pt>
                <c:pt idx="911">
                  <c:v>107.95803649916172</c:v>
                </c:pt>
                <c:pt idx="912">
                  <c:v>106.33618715945035</c:v>
                </c:pt>
                <c:pt idx="913">
                  <c:v>105.8326963565125</c:v>
                </c:pt>
                <c:pt idx="914">
                  <c:v>105.08992188112097</c:v>
                </c:pt>
                <c:pt idx="915">
                  <c:v>104.19187292331989</c:v>
                </c:pt>
                <c:pt idx="916">
                  <c:v>105.70510584290398</c:v>
                </c:pt>
                <c:pt idx="917">
                  <c:v>106.11987268825858</c:v>
                </c:pt>
                <c:pt idx="918">
                  <c:v>105.99139419949616</c:v>
                </c:pt>
                <c:pt idx="919">
                  <c:v>106.64216306716051</c:v>
                </c:pt>
                <c:pt idx="920">
                  <c:v>105.87335658427658</c:v>
                </c:pt>
                <c:pt idx="921">
                  <c:v>103.41446641442315</c:v>
                </c:pt>
                <c:pt idx="922">
                  <c:v>104.11721048640466</c:v>
                </c:pt>
                <c:pt idx="923">
                  <c:v>103.46986299351924</c:v>
                </c:pt>
                <c:pt idx="924">
                  <c:v>103.85969858010014</c:v>
                </c:pt>
                <c:pt idx="925">
                  <c:v>103.4766253643534</c:v>
                </c:pt>
                <c:pt idx="926">
                  <c:v>103.25640865858541</c:v>
                </c:pt>
                <c:pt idx="927">
                  <c:v>103.6063056392201</c:v>
                </c:pt>
                <c:pt idx="928">
                  <c:v>104.17566417996274</c:v>
                </c:pt>
                <c:pt idx="929">
                  <c:v>104.63945856097494</c:v>
                </c:pt>
                <c:pt idx="930">
                  <c:v>104.73691840919267</c:v>
                </c:pt>
                <c:pt idx="931">
                  <c:v>104.65285439670451</c:v>
                </c:pt>
                <c:pt idx="932">
                  <c:v>104.75455481179924</c:v>
                </c:pt>
                <c:pt idx="933">
                  <c:v>105.60645156800331</c:v>
                </c:pt>
                <c:pt idx="934">
                  <c:v>106.35930110643447</c:v>
                </c:pt>
                <c:pt idx="935">
                  <c:v>106.10339749307231</c:v>
                </c:pt>
                <c:pt idx="936">
                  <c:v>104.59451160323617</c:v>
                </c:pt>
                <c:pt idx="937">
                  <c:v>104.56636832186717</c:v>
                </c:pt>
                <c:pt idx="938">
                  <c:v>104.71201859860268</c:v>
                </c:pt>
                <c:pt idx="939">
                  <c:v>104.72861098519209</c:v>
                </c:pt>
                <c:pt idx="940">
                  <c:v>105.1210139337318</c:v>
                </c:pt>
                <c:pt idx="941">
                  <c:v>105.36882024867126</c:v>
                </c:pt>
                <c:pt idx="942">
                  <c:v>104.8344520813596</c:v>
                </c:pt>
                <c:pt idx="943">
                  <c:v>105.1891996420418</c:v>
                </c:pt>
                <c:pt idx="944">
                  <c:v>104.38536376994482</c:v>
                </c:pt>
                <c:pt idx="945">
                  <c:v>103.75323978221095</c:v>
                </c:pt>
                <c:pt idx="946">
                  <c:v>103.52767481811323</c:v>
                </c:pt>
                <c:pt idx="947">
                  <c:v>102.83747768182791</c:v>
                </c:pt>
                <c:pt idx="948">
                  <c:v>102.89633405657655</c:v>
                </c:pt>
                <c:pt idx="949">
                  <c:v>102.74218209126967</c:v>
                </c:pt>
                <c:pt idx="950">
                  <c:v>102.99041080769108</c:v>
                </c:pt>
                <c:pt idx="951">
                  <c:v>103.27771255472172</c:v>
                </c:pt>
                <c:pt idx="952">
                  <c:v>103.2629039628938</c:v>
                </c:pt>
                <c:pt idx="953">
                  <c:v>103.72836587405735</c:v>
                </c:pt>
                <c:pt idx="954">
                  <c:v>103.32614686722381</c:v>
                </c:pt>
                <c:pt idx="955">
                  <c:v>103.6864226257171</c:v>
                </c:pt>
                <c:pt idx="956">
                  <c:v>103.94837832199562</c:v>
                </c:pt>
                <c:pt idx="957">
                  <c:v>105.80402425275069</c:v>
                </c:pt>
                <c:pt idx="958">
                  <c:v>110.52383172735537</c:v>
                </c:pt>
                <c:pt idx="959">
                  <c:v>110.30547643552222</c:v>
                </c:pt>
                <c:pt idx="960">
                  <c:v>109.16358748182518</c:v>
                </c:pt>
                <c:pt idx="961">
                  <c:v>98.835023389095412</c:v>
                </c:pt>
                <c:pt idx="962">
                  <c:v>100.7109851859359</c:v>
                </c:pt>
                <c:pt idx="963">
                  <c:v>100.15490142053484</c:v>
                </c:pt>
                <c:pt idx="964">
                  <c:v>103.9827477532571</c:v>
                </c:pt>
                <c:pt idx="965">
                  <c:v>106.06673719164955</c:v>
                </c:pt>
                <c:pt idx="966">
                  <c:v>105.54757039288364</c:v>
                </c:pt>
                <c:pt idx="967">
                  <c:v>106.85896364744427</c:v>
                </c:pt>
                <c:pt idx="968">
                  <c:v>112.09847819450049</c:v>
                </c:pt>
                <c:pt idx="969">
                  <c:v>115.69609957419956</c:v>
                </c:pt>
                <c:pt idx="970">
                  <c:v>116.09372464025667</c:v>
                </c:pt>
                <c:pt idx="971">
                  <c:v>113.95995355480429</c:v>
                </c:pt>
                <c:pt idx="972">
                  <c:v>115.54562577824349</c:v>
                </c:pt>
                <c:pt idx="973">
                  <c:v>112.94049338131485</c:v>
                </c:pt>
                <c:pt idx="974">
                  <c:v>111.38437378904447</c:v>
                </c:pt>
                <c:pt idx="975">
                  <c:v>110.92448425233928</c:v>
                </c:pt>
                <c:pt idx="976">
                  <c:v>110.93850457536509</c:v>
                </c:pt>
                <c:pt idx="977">
                  <c:v>110.05872648419619</c:v>
                </c:pt>
                <c:pt idx="978">
                  <c:v>109.68073625383826</c:v>
                </c:pt>
                <c:pt idx="979">
                  <c:v>109.69041165754564</c:v>
                </c:pt>
                <c:pt idx="980">
                  <c:v>109.02841338052995</c:v>
                </c:pt>
                <c:pt idx="981">
                  <c:v>108.15250178650216</c:v>
                </c:pt>
                <c:pt idx="982">
                  <c:v>107.8769755282851</c:v>
                </c:pt>
                <c:pt idx="983">
                  <c:v>108.34356280868845</c:v>
                </c:pt>
                <c:pt idx="984">
                  <c:v>107.50444455002072</c:v>
                </c:pt>
                <c:pt idx="985">
                  <c:v>106.35233087489709</c:v>
                </c:pt>
                <c:pt idx="986">
                  <c:v>106.05679903227949</c:v>
                </c:pt>
                <c:pt idx="987">
                  <c:v>107.60541657995914</c:v>
                </c:pt>
                <c:pt idx="988">
                  <c:v>106.70857587904142</c:v>
                </c:pt>
                <c:pt idx="989">
                  <c:v>105.87388326285507</c:v>
                </c:pt>
                <c:pt idx="990">
                  <c:v>105.37458291784318</c:v>
                </c:pt>
                <c:pt idx="991">
                  <c:v>105.20582199395973</c:v>
                </c:pt>
                <c:pt idx="992">
                  <c:v>104.61306575656342</c:v>
                </c:pt>
                <c:pt idx="993">
                  <c:v>103.60392037917428</c:v>
                </c:pt>
                <c:pt idx="994">
                  <c:v>104.11092511136891</c:v>
                </c:pt>
                <c:pt idx="995">
                  <c:v>104.6835678618244</c:v>
                </c:pt>
                <c:pt idx="996">
                  <c:v>105.12376788387665</c:v>
                </c:pt>
                <c:pt idx="997">
                  <c:v>105.01410008468456</c:v>
                </c:pt>
                <c:pt idx="998">
                  <c:v>105.17449044610206</c:v>
                </c:pt>
                <c:pt idx="999">
                  <c:v>105.814618968057</c:v>
                </c:pt>
                <c:pt idx="1000">
                  <c:v>106.35114013395949</c:v>
                </c:pt>
                <c:pt idx="1001">
                  <c:v>105.27044438297871</c:v>
                </c:pt>
                <c:pt idx="1002">
                  <c:v>104.98427639306892</c:v>
                </c:pt>
                <c:pt idx="1003">
                  <c:v>104.66251493886951</c:v>
                </c:pt>
                <c:pt idx="1004">
                  <c:v>104.20827518552031</c:v>
                </c:pt>
                <c:pt idx="1005">
                  <c:v>103.67197488761585</c:v>
                </c:pt>
                <c:pt idx="1006">
                  <c:v>103.4138205764221</c:v>
                </c:pt>
                <c:pt idx="1007">
                  <c:v>102.49125445156378</c:v>
                </c:pt>
                <c:pt idx="1008">
                  <c:v>102.58797407709638</c:v>
                </c:pt>
                <c:pt idx="1009">
                  <c:v>102.73901928918255</c:v>
                </c:pt>
                <c:pt idx="1010">
                  <c:v>102.74024774680318</c:v>
                </c:pt>
                <c:pt idx="1011">
                  <c:v>102.36492100197331</c:v>
                </c:pt>
                <c:pt idx="1012">
                  <c:v>101.85443017179148</c:v>
                </c:pt>
                <c:pt idx="1013">
                  <c:v>100.83609485637832</c:v>
                </c:pt>
                <c:pt idx="1014">
                  <c:v>100.59734897425474</c:v>
                </c:pt>
                <c:pt idx="1015">
                  <c:v>101.15067179266549</c:v>
                </c:pt>
                <c:pt idx="1016">
                  <c:v>101.48377151771072</c:v>
                </c:pt>
                <c:pt idx="1017">
                  <c:v>101.34597812620314</c:v>
                </c:pt>
                <c:pt idx="1018">
                  <c:v>101.47663450850048</c:v>
                </c:pt>
                <c:pt idx="1019">
                  <c:v>102.99896825949942</c:v>
                </c:pt>
                <c:pt idx="1020">
                  <c:v>103.42400044922221</c:v>
                </c:pt>
                <c:pt idx="1021">
                  <c:v>103.35434204274375</c:v>
                </c:pt>
                <c:pt idx="1022">
                  <c:v>104.88519850340521</c:v>
                </c:pt>
                <c:pt idx="1023">
                  <c:v>104.81590158578537</c:v>
                </c:pt>
                <c:pt idx="1024">
                  <c:v>104.49046040317228</c:v>
                </c:pt>
                <c:pt idx="1025">
                  <c:v>103.549629278583</c:v>
                </c:pt>
                <c:pt idx="1026">
                  <c:v>102.7021837446692</c:v>
                </c:pt>
                <c:pt idx="1027">
                  <c:v>102.68004214454577</c:v>
                </c:pt>
                <c:pt idx="1028">
                  <c:v>103.40880194059712</c:v>
                </c:pt>
                <c:pt idx="1029">
                  <c:v>103.07663641048801</c:v>
                </c:pt>
                <c:pt idx="1030">
                  <c:v>105.03572854212213</c:v>
                </c:pt>
                <c:pt idx="1031">
                  <c:v>105.28016750381707</c:v>
                </c:pt>
                <c:pt idx="1032">
                  <c:v>106.58419249871834</c:v>
                </c:pt>
                <c:pt idx="1033">
                  <c:v>108.78151045252383</c:v>
                </c:pt>
                <c:pt idx="1034">
                  <c:v>108.93335408114625</c:v>
                </c:pt>
                <c:pt idx="1035">
                  <c:v>109.94922211641176</c:v>
                </c:pt>
                <c:pt idx="1036">
                  <c:v>113.78263741890493</c:v>
                </c:pt>
                <c:pt idx="1037">
                  <c:v>113.95339697833825</c:v>
                </c:pt>
                <c:pt idx="1038">
                  <c:v>112.83000924430978</c:v>
                </c:pt>
                <c:pt idx="1039">
                  <c:v>111.1657527330868</c:v>
                </c:pt>
                <c:pt idx="1040">
                  <c:v>110.53611088744455</c:v>
                </c:pt>
                <c:pt idx="1041">
                  <c:v>109.79620656159874</c:v>
                </c:pt>
                <c:pt idx="1042">
                  <c:v>108.03872864293014</c:v>
                </c:pt>
                <c:pt idx="1043">
                  <c:v>106.27922524557211</c:v>
                </c:pt>
                <c:pt idx="1044">
                  <c:v>105.15337417204881</c:v>
                </c:pt>
                <c:pt idx="1045">
                  <c:v>104.81188810145571</c:v>
                </c:pt>
                <c:pt idx="1046">
                  <c:v>104.93050315003403</c:v>
                </c:pt>
                <c:pt idx="1047">
                  <c:v>104.59009870130214</c:v>
                </c:pt>
                <c:pt idx="1048">
                  <c:v>103.98784050153144</c:v>
                </c:pt>
                <c:pt idx="1049">
                  <c:v>104.0734406125187</c:v>
                </c:pt>
                <c:pt idx="1050">
                  <c:v>103.54140954452957</c:v>
                </c:pt>
                <c:pt idx="1051">
                  <c:v>103.45536420838523</c:v>
                </c:pt>
                <c:pt idx="1052">
                  <c:v>102.42731336978716</c:v>
                </c:pt>
                <c:pt idx="1053">
                  <c:v>102.36926560866299</c:v>
                </c:pt>
                <c:pt idx="1054">
                  <c:v>102.11393498743672</c:v>
                </c:pt>
                <c:pt idx="1055">
                  <c:v>101.69414918107302</c:v>
                </c:pt>
                <c:pt idx="1056">
                  <c:v>101.20363331816282</c:v>
                </c:pt>
                <c:pt idx="1057">
                  <c:v>101.06140768953617</c:v>
                </c:pt>
                <c:pt idx="1058">
                  <c:v>100.78660038161094</c:v>
                </c:pt>
                <c:pt idx="1059">
                  <c:v>100.18458754171141</c:v>
                </c:pt>
                <c:pt idx="1060">
                  <c:v>100.39318998910612</c:v>
                </c:pt>
                <c:pt idx="1061">
                  <c:v>100.1978745818253</c:v>
                </c:pt>
                <c:pt idx="1062">
                  <c:v>99.626693701532119</c:v>
                </c:pt>
                <c:pt idx="1063">
                  <c:v>99.183925696012906</c:v>
                </c:pt>
                <c:pt idx="1064">
                  <c:v>98.140249034326388</c:v>
                </c:pt>
                <c:pt idx="1065">
                  <c:v>98.240727970243555</c:v>
                </c:pt>
                <c:pt idx="1066">
                  <c:v>98.863337765071563</c:v>
                </c:pt>
                <c:pt idx="1067">
                  <c:v>98.568290311270687</c:v>
                </c:pt>
                <c:pt idx="1068">
                  <c:v>97.891833539429996</c:v>
                </c:pt>
                <c:pt idx="1069">
                  <c:v>97.29131029404563</c:v>
                </c:pt>
                <c:pt idx="1070">
                  <c:v>97.407443084104102</c:v>
                </c:pt>
                <c:pt idx="1071">
                  <c:v>98.238026633472373</c:v>
                </c:pt>
                <c:pt idx="1072">
                  <c:v>97.714474078411016</c:v>
                </c:pt>
                <c:pt idx="1073">
                  <c:v>97.806291262513369</c:v>
                </c:pt>
                <c:pt idx="1074">
                  <c:v>98.023146501375166</c:v>
                </c:pt>
                <c:pt idx="1075">
                  <c:v>95.490746953046909</c:v>
                </c:pt>
                <c:pt idx="1076">
                  <c:v>95.214230745661467</c:v>
                </c:pt>
                <c:pt idx="1077">
                  <c:v>94.080468849942733</c:v>
                </c:pt>
                <c:pt idx="1078">
                  <c:v>93.32011643858543</c:v>
                </c:pt>
                <c:pt idx="1079">
                  <c:v>93.300864804780034</c:v>
                </c:pt>
                <c:pt idx="1080">
                  <c:v>92.897462691080236</c:v>
                </c:pt>
                <c:pt idx="1081">
                  <c:v>93.227165989061504</c:v>
                </c:pt>
                <c:pt idx="1082">
                  <c:v>92.35223188289855</c:v>
                </c:pt>
                <c:pt idx="1083">
                  <c:v>92.165825466239767</c:v>
                </c:pt>
                <c:pt idx="1084">
                  <c:v>91.700301910150387</c:v>
                </c:pt>
                <c:pt idx="1085">
                  <c:v>91.781480903675089</c:v>
                </c:pt>
                <c:pt idx="1086">
                  <c:v>91.462266426803282</c:v>
                </c:pt>
                <c:pt idx="1087">
                  <c:v>91.314674590905511</c:v>
                </c:pt>
                <c:pt idx="1088">
                  <c:v>91.469790234375822</c:v>
                </c:pt>
                <c:pt idx="1089">
                  <c:v>90.959619231305098</c:v>
                </c:pt>
                <c:pt idx="1090">
                  <c:v>90.768967489219293</c:v>
                </c:pt>
                <c:pt idx="1091">
                  <c:v>90.152815017799711</c:v>
                </c:pt>
                <c:pt idx="1092">
                  <c:v>90.362938532061094</c:v>
                </c:pt>
                <c:pt idx="1093">
                  <c:v>90.329278093632624</c:v>
                </c:pt>
                <c:pt idx="1094">
                  <c:v>90.408088807304296</c:v>
                </c:pt>
                <c:pt idx="1095">
                  <c:v>90.837881842897445</c:v>
                </c:pt>
                <c:pt idx="1096">
                  <c:v>91.00378488225877</c:v>
                </c:pt>
                <c:pt idx="1097">
                  <c:v>91.092252320173955</c:v>
                </c:pt>
                <c:pt idx="1098">
                  <c:v>91.089097389025369</c:v>
                </c:pt>
                <c:pt idx="1099">
                  <c:v>91.476422406359802</c:v>
                </c:pt>
                <c:pt idx="1100">
                  <c:v>92.725428360045029</c:v>
                </c:pt>
                <c:pt idx="1101">
                  <c:v>94.228384124413566</c:v>
                </c:pt>
                <c:pt idx="1102">
                  <c:v>94.686761806766427</c:v>
                </c:pt>
                <c:pt idx="1103">
                  <c:v>94.66805308268701</c:v>
                </c:pt>
                <c:pt idx="1104">
                  <c:v>94.556289221568051</c:v>
                </c:pt>
                <c:pt idx="1105">
                  <c:v>94.42426999240476</c:v>
                </c:pt>
                <c:pt idx="1106">
                  <c:v>93.847049509423428</c:v>
                </c:pt>
                <c:pt idx="1107">
                  <c:v>93.771723177724951</c:v>
                </c:pt>
                <c:pt idx="1108">
                  <c:v>93.918022308571196</c:v>
                </c:pt>
                <c:pt idx="1109">
                  <c:v>94.397399783331238</c:v>
                </c:pt>
                <c:pt idx="1110">
                  <c:v>94.430871288984648</c:v>
                </c:pt>
                <c:pt idx="1111">
                  <c:v>94.227377557870284</c:v>
                </c:pt>
                <c:pt idx="1112">
                  <c:v>94.122724686047121</c:v>
                </c:pt>
                <c:pt idx="1113">
                  <c:v>94.129304651414174</c:v>
                </c:pt>
                <c:pt idx="1114">
                  <c:v>94.670888287622006</c:v>
                </c:pt>
                <c:pt idx="1115">
                  <c:v>94.704819228537133</c:v>
                </c:pt>
                <c:pt idx="1116">
                  <c:v>94.620478555537858</c:v>
                </c:pt>
                <c:pt idx="1117">
                  <c:v>94.700755710426805</c:v>
                </c:pt>
                <c:pt idx="1118">
                  <c:v>94.900839955563654</c:v>
                </c:pt>
                <c:pt idx="1119">
                  <c:v>94.861580256803705</c:v>
                </c:pt>
                <c:pt idx="1120">
                  <c:v>94.677118054531391</c:v>
                </c:pt>
                <c:pt idx="1121">
                  <c:v>94.904312414342641</c:v>
                </c:pt>
                <c:pt idx="1122">
                  <c:v>94.915904279107806</c:v>
                </c:pt>
                <c:pt idx="1123">
                  <c:v>94.737551516254086</c:v>
                </c:pt>
                <c:pt idx="1124">
                  <c:v>94.597450040756144</c:v>
                </c:pt>
                <c:pt idx="1125">
                  <c:v>94.601564359463296</c:v>
                </c:pt>
                <c:pt idx="1126">
                  <c:v>94.238911853353585</c:v>
                </c:pt>
                <c:pt idx="1127">
                  <c:v>93.972185850518414</c:v>
                </c:pt>
                <c:pt idx="1128">
                  <c:v>93.646925607015149</c:v>
                </c:pt>
                <c:pt idx="1129">
                  <c:v>93.683397220256367</c:v>
                </c:pt>
                <c:pt idx="1130">
                  <c:v>93.465250143100562</c:v>
                </c:pt>
                <c:pt idx="1131">
                  <c:v>93.420126419839832</c:v>
                </c:pt>
                <c:pt idx="1132">
                  <c:v>93.629199340997758</c:v>
                </c:pt>
                <c:pt idx="1133">
                  <c:v>93.464177147654723</c:v>
                </c:pt>
                <c:pt idx="1134">
                  <c:v>93.694508039534526</c:v>
                </c:pt>
                <c:pt idx="1135">
                  <c:v>93.412306025023611</c:v>
                </c:pt>
                <c:pt idx="1136">
                  <c:v>93.209463115786932</c:v>
                </c:pt>
                <c:pt idx="1137">
                  <c:v>93.257348414833686</c:v>
                </c:pt>
                <c:pt idx="1138">
                  <c:v>93.35289414850601</c:v>
                </c:pt>
                <c:pt idx="1139">
                  <c:v>93.173704203454335</c:v>
                </c:pt>
                <c:pt idx="1140">
                  <c:v>93.102692254315443</c:v>
                </c:pt>
                <c:pt idx="1141">
                  <c:v>93.308568880095365</c:v>
                </c:pt>
                <c:pt idx="1142">
                  <c:v>93.035257024572772</c:v>
                </c:pt>
                <c:pt idx="1143">
                  <c:v>92.801848843345297</c:v>
                </c:pt>
                <c:pt idx="1144">
                  <c:v>92.257739604038846</c:v>
                </c:pt>
                <c:pt idx="1145">
                  <c:v>92.383814939286466</c:v>
                </c:pt>
                <c:pt idx="1146">
                  <c:v>92.225471287165007</c:v>
                </c:pt>
                <c:pt idx="1147">
                  <c:v>92.213880385852676</c:v>
                </c:pt>
                <c:pt idx="1148">
                  <c:v>92.308455703767123</c:v>
                </c:pt>
                <c:pt idx="1149">
                  <c:v>92.508474147732798</c:v>
                </c:pt>
                <c:pt idx="1150">
                  <c:v>92.534551822942632</c:v>
                </c:pt>
                <c:pt idx="1151">
                  <c:v>92.830565686641833</c:v>
                </c:pt>
                <c:pt idx="1152">
                  <c:v>92.774630155719208</c:v>
                </c:pt>
                <c:pt idx="1153">
                  <c:v>92.804952868828622</c:v>
                </c:pt>
                <c:pt idx="1154">
                  <c:v>92.799771656349776</c:v>
                </c:pt>
                <c:pt idx="1155">
                  <c:v>93.203346491637831</c:v>
                </c:pt>
                <c:pt idx="1156">
                  <c:v>93.855920377463946</c:v>
                </c:pt>
                <c:pt idx="1157">
                  <c:v>93.798591219136512</c:v>
                </c:pt>
                <c:pt idx="1158">
                  <c:v>93.915606356259701</c:v>
                </c:pt>
                <c:pt idx="1159">
                  <c:v>94.578164997893595</c:v>
                </c:pt>
                <c:pt idx="1160">
                  <c:v>94.609853167342806</c:v>
                </c:pt>
                <c:pt idx="1161">
                  <c:v>95.695633330652342</c:v>
                </c:pt>
                <c:pt idx="1162">
                  <c:v>97.976236369699023</c:v>
                </c:pt>
                <c:pt idx="1163">
                  <c:v>98.245716779740476</c:v>
                </c:pt>
                <c:pt idx="1164">
                  <c:v>97.621068822842631</c:v>
                </c:pt>
                <c:pt idx="1165">
                  <c:v>99.131603269557019</c:v>
                </c:pt>
                <c:pt idx="1166">
                  <c:v>99.672350658979425</c:v>
                </c:pt>
                <c:pt idx="1167">
                  <c:v>100.26764517422197</c:v>
                </c:pt>
                <c:pt idx="1168">
                  <c:v>101.35394107800541</c:v>
                </c:pt>
                <c:pt idx="1169">
                  <c:v>103.0118752752017</c:v>
                </c:pt>
                <c:pt idx="1170">
                  <c:v>105.49278875275759</c:v>
                </c:pt>
                <c:pt idx="1171">
                  <c:v>105.41935186503989</c:v>
                </c:pt>
                <c:pt idx="1172">
                  <c:v>106.12634169539562</c:v>
                </c:pt>
                <c:pt idx="1173">
                  <c:v>105.6575807137954</c:v>
                </c:pt>
                <c:pt idx="1174">
                  <c:v>108.38943578892184</c:v>
                </c:pt>
                <c:pt idx="1175">
                  <c:v>109.58671614505768</c:v>
                </c:pt>
                <c:pt idx="1176">
                  <c:v>109.66637070219133</c:v>
                </c:pt>
                <c:pt idx="1177">
                  <c:v>110.43201568406194</c:v>
                </c:pt>
                <c:pt idx="1178">
                  <c:v>111.11194929122375</c:v>
                </c:pt>
                <c:pt idx="1179">
                  <c:v>112.85861724461598</c:v>
                </c:pt>
                <c:pt idx="1180">
                  <c:v>116.19944232187402</c:v>
                </c:pt>
                <c:pt idx="1181">
                  <c:v>115.06396798749178</c:v>
                </c:pt>
                <c:pt idx="1182">
                  <c:v>113.72167663014891</c:v>
                </c:pt>
                <c:pt idx="1183">
                  <c:v>113.71935987528907</c:v>
                </c:pt>
                <c:pt idx="1184">
                  <c:v>114.59632674048336</c:v>
                </c:pt>
                <c:pt idx="1185">
                  <c:v>112.32645665129679</c:v>
                </c:pt>
                <c:pt idx="1186">
                  <c:v>112.79441931952144</c:v>
                </c:pt>
                <c:pt idx="1187">
                  <c:v>113.75905385044635</c:v>
                </c:pt>
                <c:pt idx="1188">
                  <c:v>113.21284796404551</c:v>
                </c:pt>
                <c:pt idx="1189">
                  <c:v>113.69742852989322</c:v>
                </c:pt>
                <c:pt idx="1190">
                  <c:v>113.50325508622537</c:v>
                </c:pt>
                <c:pt idx="1191">
                  <c:v>113.61848014455762</c:v>
                </c:pt>
                <c:pt idx="1192">
                  <c:v>113.84009246466695</c:v>
                </c:pt>
                <c:pt idx="1193">
                  <c:v>114.19531476421419</c:v>
                </c:pt>
                <c:pt idx="1194">
                  <c:v>113.78217134976893</c:v>
                </c:pt>
                <c:pt idx="1195">
                  <c:v>113.89373242482642</c:v>
                </c:pt>
                <c:pt idx="1196">
                  <c:v>113.80758742691025</c:v>
                </c:pt>
                <c:pt idx="1197">
                  <c:v>115.32124854587448</c:v>
                </c:pt>
                <c:pt idx="1198">
                  <c:v>115.02914767471954</c:v>
                </c:pt>
                <c:pt idx="1199">
                  <c:v>115.23693972676475</c:v>
                </c:pt>
                <c:pt idx="1200">
                  <c:v>115.97024904743792</c:v>
                </c:pt>
                <c:pt idx="1201">
                  <c:v>115.33832657507158</c:v>
                </c:pt>
                <c:pt idx="1202">
                  <c:v>116.55625113042254</c:v>
                </c:pt>
                <c:pt idx="1203">
                  <c:v>117.76162505604765</c:v>
                </c:pt>
                <c:pt idx="1204">
                  <c:v>118.14303270582023</c:v>
                </c:pt>
                <c:pt idx="1205">
                  <c:v>117.81285225991846</c:v>
                </c:pt>
                <c:pt idx="1206">
                  <c:v>118.16764406100914</c:v>
                </c:pt>
                <c:pt idx="1207">
                  <c:v>118.69535148215701</c:v>
                </c:pt>
                <c:pt idx="1208">
                  <c:v>117.42119783005437</c:v>
                </c:pt>
                <c:pt idx="1209">
                  <c:v>115.88712909318802</c:v>
                </c:pt>
                <c:pt idx="1210">
                  <c:v>118.25917216463756</c:v>
                </c:pt>
                <c:pt idx="1211">
                  <c:v>118.47105334268647</c:v>
                </c:pt>
                <c:pt idx="1212">
                  <c:v>118.27187047455013</c:v>
                </c:pt>
                <c:pt idx="1213">
                  <c:v>118.31792753707936</c:v>
                </c:pt>
                <c:pt idx="1214">
                  <c:v>117.71913890092046</c:v>
                </c:pt>
                <c:pt idx="1215">
                  <c:v>117.64597264094225</c:v>
                </c:pt>
                <c:pt idx="1216">
                  <c:v>117.64755951845342</c:v>
                </c:pt>
                <c:pt idx="1217">
                  <c:v>116.94343465819769</c:v>
                </c:pt>
                <c:pt idx="1218">
                  <c:v>116.94080285054615</c:v>
                </c:pt>
                <c:pt idx="1219">
                  <c:v>116.80752055418456</c:v>
                </c:pt>
                <c:pt idx="1220">
                  <c:v>115.98644294122343</c:v>
                </c:pt>
                <c:pt idx="1221">
                  <c:v>113.58384615597159</c:v>
                </c:pt>
                <c:pt idx="1222">
                  <c:v>113.0421268159473</c:v>
                </c:pt>
                <c:pt idx="1223">
                  <c:v>114.6695733683148</c:v>
                </c:pt>
                <c:pt idx="1224">
                  <c:v>114.33715609390384</c:v>
                </c:pt>
                <c:pt idx="1225">
                  <c:v>114.63118961011271</c:v>
                </c:pt>
                <c:pt idx="1226">
                  <c:v>114.9713189890973</c:v>
                </c:pt>
                <c:pt idx="1227">
                  <c:v>114.85463124635847</c:v>
                </c:pt>
                <c:pt idx="1228">
                  <c:v>114.64247799983923</c:v>
                </c:pt>
                <c:pt idx="1229">
                  <c:v>114.48771660795803</c:v>
                </c:pt>
                <c:pt idx="1230">
                  <c:v>114.52318525662251</c:v>
                </c:pt>
                <c:pt idx="1231">
                  <c:v>114.67199410852956</c:v>
                </c:pt>
                <c:pt idx="1232">
                  <c:v>115.08216309107841</c:v>
                </c:pt>
                <c:pt idx="1233">
                  <c:v>114.94017607969803</c:v>
                </c:pt>
                <c:pt idx="1234">
                  <c:v>114.70717129738236</c:v>
                </c:pt>
                <c:pt idx="1235">
                  <c:v>114.80221060682015</c:v>
                </c:pt>
                <c:pt idx="1236">
                  <c:v>113.97140421848653</c:v>
                </c:pt>
                <c:pt idx="1237">
                  <c:v>113.38405735662037</c:v>
                </c:pt>
                <c:pt idx="1238">
                  <c:v>113.59332551259892</c:v>
                </c:pt>
                <c:pt idx="1239">
                  <c:v>112.85694069028663</c:v>
                </c:pt>
                <c:pt idx="1240">
                  <c:v>111.88789714770206</c:v>
                </c:pt>
                <c:pt idx="1241">
                  <c:v>112.40685088544802</c:v>
                </c:pt>
                <c:pt idx="1242">
                  <c:v>112.03262617434099</c:v>
                </c:pt>
                <c:pt idx="1243">
                  <c:v>112.31034840736564</c:v>
                </c:pt>
                <c:pt idx="1244">
                  <c:v>112.83472247248139</c:v>
                </c:pt>
                <c:pt idx="1245">
                  <c:v>113.06881389720962</c:v>
                </c:pt>
                <c:pt idx="1246">
                  <c:v>112.90986480848963</c:v>
                </c:pt>
                <c:pt idx="1247">
                  <c:v>112.79219524912131</c:v>
                </c:pt>
                <c:pt idx="1248">
                  <c:v>112.14979095738005</c:v>
                </c:pt>
                <c:pt idx="1249">
                  <c:v>112.43662601831439</c:v>
                </c:pt>
                <c:pt idx="1250">
                  <c:v>111.36390175322872</c:v>
                </c:pt>
                <c:pt idx="1251">
                  <c:v>111.19491909220905</c:v>
                </c:pt>
                <c:pt idx="1252">
                  <c:v>111.46197164660298</c:v>
                </c:pt>
                <c:pt idx="1253">
                  <c:v>110.92754995968187</c:v>
                </c:pt>
                <c:pt idx="1254">
                  <c:v>110.82255236421734</c:v>
                </c:pt>
                <c:pt idx="1255">
                  <c:v>110.68679288529809</c:v>
                </c:pt>
                <c:pt idx="1256">
                  <c:v>110.96323257054671</c:v>
                </c:pt>
                <c:pt idx="1257">
                  <c:v>110.51350270268431</c:v>
                </c:pt>
                <c:pt idx="1258">
                  <c:v>110.30832208721841</c:v>
                </c:pt>
                <c:pt idx="1259">
                  <c:v>108.79815667666634</c:v>
                </c:pt>
                <c:pt idx="1260">
                  <c:v>108.62458624908248</c:v>
                </c:pt>
                <c:pt idx="1261">
                  <c:v>108.48810133434642</c:v>
                </c:pt>
                <c:pt idx="1262">
                  <c:v>107.25530181726792</c:v>
                </c:pt>
                <c:pt idx="1263">
                  <c:v>106.96875552781613</c:v>
                </c:pt>
                <c:pt idx="1264">
                  <c:v>107.08156107084595</c:v>
                </c:pt>
                <c:pt idx="1265">
                  <c:v>105.24862118813149</c:v>
                </c:pt>
                <c:pt idx="1266">
                  <c:v>104.60620172880084</c:v>
                </c:pt>
                <c:pt idx="1267">
                  <c:v>104.79959025874483</c:v>
                </c:pt>
                <c:pt idx="1268">
                  <c:v>105.95701778764438</c:v>
                </c:pt>
                <c:pt idx="1269">
                  <c:v>105.88787650925441</c:v>
                </c:pt>
                <c:pt idx="1270">
                  <c:v>105.26019881283452</c:v>
                </c:pt>
                <c:pt idx="1271">
                  <c:v>105.83564589536752</c:v>
                </c:pt>
                <c:pt idx="1272">
                  <c:v>104.54831439731197</c:v>
                </c:pt>
                <c:pt idx="1273">
                  <c:v>104.55883017249369</c:v>
                </c:pt>
                <c:pt idx="1274">
                  <c:v>105.83828021255229</c:v>
                </c:pt>
                <c:pt idx="1275">
                  <c:v>104.89730068018497</c:v>
                </c:pt>
                <c:pt idx="1276">
                  <c:v>104.95715953105908</c:v>
                </c:pt>
                <c:pt idx="1277">
                  <c:v>104.61459046852572</c:v>
                </c:pt>
                <c:pt idx="1278">
                  <c:v>104.21143020242292</c:v>
                </c:pt>
                <c:pt idx="1279">
                  <c:v>104.1064397496481</c:v>
                </c:pt>
                <c:pt idx="1280">
                  <c:v>103.5770711438246</c:v>
                </c:pt>
                <c:pt idx="1281">
                  <c:v>103.7030957176503</c:v>
                </c:pt>
                <c:pt idx="1282">
                  <c:v>103.59176569296454</c:v>
                </c:pt>
                <c:pt idx="1283">
                  <c:v>103.91543298469929</c:v>
                </c:pt>
                <c:pt idx="1284">
                  <c:v>103.51364793959146</c:v>
                </c:pt>
                <c:pt idx="1285">
                  <c:v>103.38807496882094</c:v>
                </c:pt>
                <c:pt idx="1286">
                  <c:v>103.90183669521956</c:v>
                </c:pt>
                <c:pt idx="1287">
                  <c:v>104.40647949109385</c:v>
                </c:pt>
                <c:pt idx="1288">
                  <c:v>103.91287776132711</c:v>
                </c:pt>
                <c:pt idx="1289">
                  <c:v>104.26036716633324</c:v>
                </c:pt>
                <c:pt idx="1290">
                  <c:v>104.05150530203183</c:v>
                </c:pt>
                <c:pt idx="1291">
                  <c:v>104.95553743577098</c:v>
                </c:pt>
                <c:pt idx="1292">
                  <c:v>104.89033717321628</c:v>
                </c:pt>
                <c:pt idx="1293">
                  <c:v>104.78290265019587</c:v>
                </c:pt>
                <c:pt idx="1294">
                  <c:v>105.09459095499037</c:v>
                </c:pt>
                <c:pt idx="1295">
                  <c:v>106.39130320978734</c:v>
                </c:pt>
                <c:pt idx="1296">
                  <c:v>107.09480424749528</c:v>
                </c:pt>
                <c:pt idx="1297">
                  <c:v>107.41331079208028</c:v>
                </c:pt>
                <c:pt idx="1298">
                  <c:v>106.72560800679122</c:v>
                </c:pt>
                <c:pt idx="1299">
                  <c:v>106.67729996994071</c:v>
                </c:pt>
                <c:pt idx="1300">
                  <c:v>106.73942874360836</c:v>
                </c:pt>
                <c:pt idx="1301">
                  <c:v>106.20927593902869</c:v>
                </c:pt>
                <c:pt idx="1302">
                  <c:v>106.92400425875755</c:v>
                </c:pt>
                <c:pt idx="1303">
                  <c:v>106.08326549149768</c:v>
                </c:pt>
                <c:pt idx="1304">
                  <c:v>106.02922208329858</c:v>
                </c:pt>
                <c:pt idx="1305">
                  <c:v>105.9893797946567</c:v>
                </c:pt>
                <c:pt idx="1306">
                  <c:v>106.93666807182284</c:v>
                </c:pt>
                <c:pt idx="1307">
                  <c:v>106.70931187775891</c:v>
                </c:pt>
                <c:pt idx="1308">
                  <c:v>106.0576057586952</c:v>
                </c:pt>
                <c:pt idx="1309">
                  <c:v>106.0345061836349</c:v>
                </c:pt>
                <c:pt idx="1310">
                  <c:v>106.12296209532396</c:v>
                </c:pt>
                <c:pt idx="1311">
                  <c:v>105.53770827499656</c:v>
                </c:pt>
                <c:pt idx="1312">
                  <c:v>105.32963908279724</c:v>
                </c:pt>
                <c:pt idx="1313">
                  <c:v>105.30899002998643</c:v>
                </c:pt>
                <c:pt idx="1314">
                  <c:v>105.24583081325252</c:v>
                </c:pt>
                <c:pt idx="1315">
                  <c:v>104.88715734288942</c:v>
                </c:pt>
                <c:pt idx="1316">
                  <c:v>104.04465419539414</c:v>
                </c:pt>
                <c:pt idx="1317">
                  <c:v>103.53547902511102</c:v>
                </c:pt>
                <c:pt idx="1318">
                  <c:v>104.00925137476689</c:v>
                </c:pt>
                <c:pt idx="1319">
                  <c:v>104.3302753597939</c:v>
                </c:pt>
                <c:pt idx="1320">
                  <c:v>104.43668426679881</c:v>
                </c:pt>
                <c:pt idx="1321">
                  <c:v>104.61537257059443</c:v>
                </c:pt>
                <c:pt idx="1322">
                  <c:v>104.52405315284258</c:v>
                </c:pt>
                <c:pt idx="1323">
                  <c:v>103.77947310954248</c:v>
                </c:pt>
                <c:pt idx="1324">
                  <c:v>103.79084735064454</c:v>
                </c:pt>
                <c:pt idx="1325">
                  <c:v>103.42953088155946</c:v>
                </c:pt>
                <c:pt idx="1326">
                  <c:v>103.71578515147127</c:v>
                </c:pt>
                <c:pt idx="1327">
                  <c:v>104.1046108743662</c:v>
                </c:pt>
                <c:pt idx="1328">
                  <c:v>104.17015524491588</c:v>
                </c:pt>
                <c:pt idx="1329">
                  <c:v>104.73392893538718</c:v>
                </c:pt>
                <c:pt idx="1330">
                  <c:v>104.8053848879523</c:v>
                </c:pt>
                <c:pt idx="1331">
                  <c:v>104.71660066022908</c:v>
                </c:pt>
                <c:pt idx="1332">
                  <c:v>104.60429652488891</c:v>
                </c:pt>
                <c:pt idx="1333">
                  <c:v>105.16746862300818</c:v>
                </c:pt>
                <c:pt idx="1334">
                  <c:v>104.85829809686645</c:v>
                </c:pt>
                <c:pt idx="1335">
                  <c:v>104.75026242394988</c:v>
                </c:pt>
                <c:pt idx="1336">
                  <c:v>104.58763948987577</c:v>
                </c:pt>
                <c:pt idx="1337">
                  <c:v>104.67630916377099</c:v>
                </c:pt>
                <c:pt idx="1338">
                  <c:v>104.35200497831921</c:v>
                </c:pt>
                <c:pt idx="1339">
                  <c:v>104.51897692211416</c:v>
                </c:pt>
                <c:pt idx="1340">
                  <c:v>104.9361179472879</c:v>
                </c:pt>
                <c:pt idx="1341">
                  <c:v>105.16609373215583</c:v>
                </c:pt>
                <c:pt idx="1342">
                  <c:v>105.38606269406402</c:v>
                </c:pt>
                <c:pt idx="1343">
                  <c:v>104.957807402508</c:v>
                </c:pt>
                <c:pt idx="1344">
                  <c:v>105.22473282650162</c:v>
                </c:pt>
                <c:pt idx="1345">
                  <c:v>105.75290173474689</c:v>
                </c:pt>
                <c:pt idx="1346">
                  <c:v>105.92244482166242</c:v>
                </c:pt>
                <c:pt idx="1347">
                  <c:v>106.30174520849616</c:v>
                </c:pt>
                <c:pt idx="1348">
                  <c:v>106.14918898353693</c:v>
                </c:pt>
                <c:pt idx="1349">
                  <c:v>105.81677132936626</c:v>
                </c:pt>
                <c:pt idx="1350">
                  <c:v>106.85669092538723</c:v>
                </c:pt>
                <c:pt idx="1351">
                  <c:v>106.39522043576284</c:v>
                </c:pt>
                <c:pt idx="1352">
                  <c:v>107.67387069293476</c:v>
                </c:pt>
                <c:pt idx="1353">
                  <c:v>107.5466533474011</c:v>
                </c:pt>
                <c:pt idx="1354">
                  <c:v>107.23123780577404</c:v>
                </c:pt>
                <c:pt idx="1355">
                  <c:v>106.35859777223328</c:v>
                </c:pt>
                <c:pt idx="1356">
                  <c:v>106.52486864508974</c:v>
                </c:pt>
                <c:pt idx="1357">
                  <c:v>105.97159724059108</c:v>
                </c:pt>
                <c:pt idx="1358">
                  <c:v>105.65213916558599</c:v>
                </c:pt>
                <c:pt idx="1359">
                  <c:v>106.30537160778088</c:v>
                </c:pt>
                <c:pt idx="1360">
                  <c:v>106.2128362837464</c:v>
                </c:pt>
                <c:pt idx="1361">
                  <c:v>103.96972162573186</c:v>
                </c:pt>
                <c:pt idx="1362">
                  <c:v>104.93965819724244</c:v>
                </c:pt>
                <c:pt idx="1363">
                  <c:v>104.83050045472628</c:v>
                </c:pt>
                <c:pt idx="1364">
                  <c:v>104.88472664112307</c:v>
                </c:pt>
                <c:pt idx="1365">
                  <c:v>104.50361687962922</c:v>
                </c:pt>
                <c:pt idx="1366">
                  <c:v>104.21733359333122</c:v>
                </c:pt>
                <c:pt idx="1367">
                  <c:v>104.08662683681671</c:v>
                </c:pt>
                <c:pt idx="1368">
                  <c:v>104.35996874551091</c:v>
                </c:pt>
                <c:pt idx="1369">
                  <c:v>104.33209684711545</c:v>
                </c:pt>
                <c:pt idx="1370">
                  <c:v>103.60107160806157</c:v>
                </c:pt>
                <c:pt idx="1371">
                  <c:v>102.78398193218285</c:v>
                </c:pt>
                <c:pt idx="1372">
                  <c:v>101.646743079807</c:v>
                </c:pt>
                <c:pt idx="1373">
                  <c:v>99.979595243508058</c:v>
                </c:pt>
                <c:pt idx="1374">
                  <c:v>101.83548100944071</c:v>
                </c:pt>
                <c:pt idx="1375">
                  <c:v>99.52560782494723</c:v>
                </c:pt>
                <c:pt idx="1376">
                  <c:v>99.57270275866918</c:v>
                </c:pt>
                <c:pt idx="1377">
                  <c:v>100.74745892316201</c:v>
                </c:pt>
                <c:pt idx="1378">
                  <c:v>101.77275656169334</c:v>
                </c:pt>
                <c:pt idx="1379">
                  <c:v>101.18949754114939</c:v>
                </c:pt>
                <c:pt idx="1380">
                  <c:v>101.0235862648027</c:v>
                </c:pt>
                <c:pt idx="1381">
                  <c:v>101.62585487285975</c:v>
                </c:pt>
                <c:pt idx="1382">
                  <c:v>100.6579500803357</c:v>
                </c:pt>
                <c:pt idx="1383">
                  <c:v>100.13040928837589</c:v>
                </c:pt>
                <c:pt idx="1384">
                  <c:v>100.11874671017569</c:v>
                </c:pt>
                <c:pt idx="1385">
                  <c:v>100.0884709171483</c:v>
                </c:pt>
                <c:pt idx="1386">
                  <c:v>99.760016535484368</c:v>
                </c:pt>
                <c:pt idx="1387">
                  <c:v>98.445542960804588</c:v>
                </c:pt>
                <c:pt idx="1388">
                  <c:v>98.084733073902456</c:v>
                </c:pt>
                <c:pt idx="1389">
                  <c:v>95.832412194043869</c:v>
                </c:pt>
                <c:pt idx="1390">
                  <c:v>95.790359340369989</c:v>
                </c:pt>
                <c:pt idx="1391">
                  <c:v>94.40155686125911</c:v>
                </c:pt>
                <c:pt idx="1392">
                  <c:v>95.472115138919918</c:v>
                </c:pt>
                <c:pt idx="1393">
                  <c:v>98.375872245494776</c:v>
                </c:pt>
                <c:pt idx="1394">
                  <c:v>100.37886391563694</c:v>
                </c:pt>
                <c:pt idx="1395">
                  <c:v>99.305923133008335</c:v>
                </c:pt>
                <c:pt idx="1396">
                  <c:v>98.407469405721486</c:v>
                </c:pt>
                <c:pt idx="1397">
                  <c:v>98.673609268665473</c:v>
                </c:pt>
                <c:pt idx="1398">
                  <c:v>98.267095278525019</c:v>
                </c:pt>
                <c:pt idx="1399">
                  <c:v>97.227333938800996</c:v>
                </c:pt>
                <c:pt idx="1400">
                  <c:v>96.388142102561204</c:v>
                </c:pt>
                <c:pt idx="1401">
                  <c:v>96.118738538430932</c:v>
                </c:pt>
                <c:pt idx="1402">
                  <c:v>97.094817632417886</c:v>
                </c:pt>
                <c:pt idx="1403">
                  <c:v>97.425469699674721</c:v>
                </c:pt>
                <c:pt idx="1404">
                  <c:v>98.277013766485496</c:v>
                </c:pt>
                <c:pt idx="1405">
                  <c:v>100.60627581085019</c:v>
                </c:pt>
                <c:pt idx="1406">
                  <c:v>101.24732865036354</c:v>
                </c:pt>
                <c:pt idx="1407">
                  <c:v>101.32763245316252</c:v>
                </c:pt>
                <c:pt idx="1408">
                  <c:v>100.61645707464641</c:v>
                </c:pt>
                <c:pt idx="1409">
                  <c:v>99.997366228086292</c:v>
                </c:pt>
                <c:pt idx="1410">
                  <c:v>98.726798726079934</c:v>
                </c:pt>
                <c:pt idx="1411">
                  <c:v>98.386741115008135</c:v>
                </c:pt>
                <c:pt idx="1412">
                  <c:v>97.877214700839673</c:v>
                </c:pt>
                <c:pt idx="1413">
                  <c:v>98.191104801779332</c:v>
                </c:pt>
                <c:pt idx="1414">
                  <c:v>99.272779617148444</c:v>
                </c:pt>
                <c:pt idx="1415">
                  <c:v>99.372230719913233</c:v>
                </c:pt>
                <c:pt idx="1416">
                  <c:v>98.621114220992084</c:v>
                </c:pt>
                <c:pt idx="1417">
                  <c:v>97.384878764201773</c:v>
                </c:pt>
                <c:pt idx="1418">
                  <c:v>96.889264874065077</c:v>
                </c:pt>
                <c:pt idx="1419">
                  <c:v>97.269009706764834</c:v>
                </c:pt>
                <c:pt idx="1420">
                  <c:v>97.676818931545469</c:v>
                </c:pt>
                <c:pt idx="1421">
                  <c:v>97.947790757903249</c:v>
                </c:pt>
                <c:pt idx="1422">
                  <c:v>97.899426505974063</c:v>
                </c:pt>
                <c:pt idx="1423">
                  <c:v>98.065415792545849</c:v>
                </c:pt>
                <c:pt idx="1424">
                  <c:v>98.467232201352601</c:v>
                </c:pt>
                <c:pt idx="1425">
                  <c:v>98.664594934752955</c:v>
                </c:pt>
                <c:pt idx="1426">
                  <c:v>98.840657065091548</c:v>
                </c:pt>
                <c:pt idx="1427">
                  <c:v>99.689947537309521</c:v>
                </c:pt>
                <c:pt idx="1428">
                  <c:v>99.940416993872972</c:v>
                </c:pt>
                <c:pt idx="1429">
                  <c:v>100.29505653825011</c:v>
                </c:pt>
                <c:pt idx="1430">
                  <c:v>100.51768065237403</c:v>
                </c:pt>
                <c:pt idx="1431">
                  <c:v>100.76235771248861</c:v>
                </c:pt>
                <c:pt idx="1432">
                  <c:v>100.80385416347409</c:v>
                </c:pt>
                <c:pt idx="1433">
                  <c:v>100.42103993709021</c:v>
                </c:pt>
                <c:pt idx="1434">
                  <c:v>100.57031307301315</c:v>
                </c:pt>
                <c:pt idx="1435">
                  <c:v>100.58340620800696</c:v>
                </c:pt>
                <c:pt idx="1436">
                  <c:v>100.32427543739054</c:v>
                </c:pt>
                <c:pt idx="1437">
                  <c:v>100.05315201528602</c:v>
                </c:pt>
                <c:pt idx="1438">
                  <c:v>99.746771951047961</c:v>
                </c:pt>
                <c:pt idx="1439">
                  <c:v>100.04492336686791</c:v>
                </c:pt>
                <c:pt idx="1440">
                  <c:v>100.38916189602617</c:v>
                </c:pt>
                <c:pt idx="1441">
                  <c:v>100.37510475907227</c:v>
                </c:pt>
                <c:pt idx="1442">
                  <c:v>99.207674562404563</c:v>
                </c:pt>
                <c:pt idx="1443">
                  <c:v>99.34898269639335</c:v>
                </c:pt>
                <c:pt idx="1444">
                  <c:v>99.41802256957952</c:v>
                </c:pt>
                <c:pt idx="1445">
                  <c:v>99.627540299657667</c:v>
                </c:pt>
                <c:pt idx="1446">
                  <c:v>98.914263192131941</c:v>
                </c:pt>
                <c:pt idx="1447">
                  <c:v>100.44200040618948</c:v>
                </c:pt>
                <c:pt idx="1448">
                  <c:v>100.29833391387332</c:v>
                </c:pt>
                <c:pt idx="1449">
                  <c:v>100.69591111012105</c:v>
                </c:pt>
                <c:pt idx="1450">
                  <c:v>100.51018701137747</c:v>
                </c:pt>
                <c:pt idx="1451">
                  <c:v>100.41246911684007</c:v>
                </c:pt>
                <c:pt idx="1452">
                  <c:v>100.92656027026885</c:v>
                </c:pt>
                <c:pt idx="1453">
                  <c:v>100.49523039951742</c:v>
                </c:pt>
                <c:pt idx="1454">
                  <c:v>100.93475090805281</c:v>
                </c:pt>
                <c:pt idx="1455">
                  <c:v>100.7150139493846</c:v>
                </c:pt>
                <c:pt idx="1456">
                  <c:v>100.97025646629142</c:v>
                </c:pt>
                <c:pt idx="1457">
                  <c:v>101.05737447326489</c:v>
                </c:pt>
                <c:pt idx="1458">
                  <c:v>101.48100507289585</c:v>
                </c:pt>
                <c:pt idx="1459">
                  <c:v>101.45717390508807</c:v>
                </c:pt>
                <c:pt idx="1460">
                  <c:v>102.03983184755947</c:v>
                </c:pt>
                <c:pt idx="1461">
                  <c:v>102.21958475152327</c:v>
                </c:pt>
                <c:pt idx="1462">
                  <c:v>101.90606788079734</c:v>
                </c:pt>
                <c:pt idx="1463">
                  <c:v>102.19149897309966</c:v>
                </c:pt>
                <c:pt idx="1464">
                  <c:v>102.6116845373403</c:v>
                </c:pt>
                <c:pt idx="1465">
                  <c:v>103.48921455482801</c:v>
                </c:pt>
                <c:pt idx="1466">
                  <c:v>103.43522274058233</c:v>
                </c:pt>
                <c:pt idx="1467">
                  <c:v>103.48881646037756</c:v>
                </c:pt>
                <c:pt idx="1468">
                  <c:v>103.63365432753761</c:v>
                </c:pt>
                <c:pt idx="1469">
                  <c:v>103.43260482118676</c:v>
                </c:pt>
                <c:pt idx="1470">
                  <c:v>103.52300811234299</c:v>
                </c:pt>
                <c:pt idx="1471">
                  <c:v>103.11184520147202</c:v>
                </c:pt>
                <c:pt idx="1472">
                  <c:v>103.39301309703809</c:v>
                </c:pt>
                <c:pt idx="1473">
                  <c:v>103.39595121993111</c:v>
                </c:pt>
                <c:pt idx="1474">
                  <c:v>103.021545720844</c:v>
                </c:pt>
                <c:pt idx="1475">
                  <c:v>103.15332499935268</c:v>
                </c:pt>
                <c:pt idx="1476">
                  <c:v>103.14108299128635</c:v>
                </c:pt>
                <c:pt idx="1477">
                  <c:v>103.33173862855323</c:v>
                </c:pt>
                <c:pt idx="1478">
                  <c:v>103.54106969865491</c:v>
                </c:pt>
                <c:pt idx="1479">
                  <c:v>103.47188987009233</c:v>
                </c:pt>
                <c:pt idx="1480">
                  <c:v>103.26469506408482</c:v>
                </c:pt>
                <c:pt idx="1481">
                  <c:v>103.24165859158398</c:v>
                </c:pt>
                <c:pt idx="1482">
                  <c:v>103.41366206006299</c:v>
                </c:pt>
                <c:pt idx="1483">
                  <c:v>103.19985162604237</c:v>
                </c:pt>
                <c:pt idx="1484">
                  <c:v>105.01930689013912</c:v>
                </c:pt>
                <c:pt idx="1485">
                  <c:v>104.89445435880765</c:v>
                </c:pt>
                <c:pt idx="1486">
                  <c:v>104.97910529748619</c:v>
                </c:pt>
                <c:pt idx="1487">
                  <c:v>104.36243165940019</c:v>
                </c:pt>
                <c:pt idx="1488">
                  <c:v>104.42978987449888</c:v>
                </c:pt>
                <c:pt idx="1489">
                  <c:v>103.72100875652853</c:v>
                </c:pt>
                <c:pt idx="1490">
                  <c:v>103.29934576919794</c:v>
                </c:pt>
                <c:pt idx="1491">
                  <c:v>103.12340303799805</c:v>
                </c:pt>
                <c:pt idx="1492">
                  <c:v>103.00586595850974</c:v>
                </c:pt>
                <c:pt idx="1493">
                  <c:v>103.06311774728806</c:v>
                </c:pt>
                <c:pt idx="1494">
                  <c:v>102.78251819966337</c:v>
                </c:pt>
                <c:pt idx="1495">
                  <c:v>102.80199959714099</c:v>
                </c:pt>
                <c:pt idx="1496">
                  <c:v>101.81514938167385</c:v>
                </c:pt>
                <c:pt idx="1497">
                  <c:v>102.01164412035499</c:v>
                </c:pt>
                <c:pt idx="1498">
                  <c:v>102.0794428772374</c:v>
                </c:pt>
                <c:pt idx="1499">
                  <c:v>101.65951294799477</c:v>
                </c:pt>
                <c:pt idx="1500">
                  <c:v>101.53891237950947</c:v>
                </c:pt>
                <c:pt idx="1501">
                  <c:v>101.52247277096056</c:v>
                </c:pt>
                <c:pt idx="1502">
                  <c:v>101.24113356986393</c:v>
                </c:pt>
                <c:pt idx="1503">
                  <c:v>100.2580334967903</c:v>
                </c:pt>
                <c:pt idx="1504">
                  <c:v>100.38399446886994</c:v>
                </c:pt>
                <c:pt idx="1505">
                  <c:v>100.25695116189469</c:v>
                </c:pt>
                <c:pt idx="1506">
                  <c:v>100.25266983040088</c:v>
                </c:pt>
                <c:pt idx="1507">
                  <c:v>99.665418055754159</c:v>
                </c:pt>
                <c:pt idx="1508">
                  <c:v>99.783588982903268</c:v>
                </c:pt>
                <c:pt idx="1509">
                  <c:v>99.857824503845677</c:v>
                </c:pt>
                <c:pt idx="1510">
                  <c:v>99.115369869892604</c:v>
                </c:pt>
                <c:pt idx="1511">
                  <c:v>99.064722347184585</c:v>
                </c:pt>
                <c:pt idx="1512">
                  <c:v>98.978517135615562</c:v>
                </c:pt>
                <c:pt idx="1513">
                  <c:v>98.916863829164697</c:v>
                </c:pt>
                <c:pt idx="1514">
                  <c:v>98.901842101773909</c:v>
                </c:pt>
                <c:pt idx="1515">
                  <c:v>98.99376070340837</c:v>
                </c:pt>
                <c:pt idx="1516">
                  <c:v>99.048022872617778</c:v>
                </c:pt>
                <c:pt idx="1517">
                  <c:v>99.408924210871277</c:v>
                </c:pt>
                <c:pt idx="1518">
                  <c:v>99.440057442031261</c:v>
                </c:pt>
                <c:pt idx="1519">
                  <c:v>99.580347481361741</c:v>
                </c:pt>
                <c:pt idx="1520">
                  <c:v>99.977644321732356</c:v>
                </c:pt>
                <c:pt idx="1521">
                  <c:v>99.556349758436937</c:v>
                </c:pt>
                <c:pt idx="1522">
                  <c:v>99.438342372938237</c:v>
                </c:pt>
                <c:pt idx="1523">
                  <c:v>99.516839213131533</c:v>
                </c:pt>
                <c:pt idx="1524">
                  <c:v>100.94420424206693</c:v>
                </c:pt>
                <c:pt idx="1525">
                  <c:v>100.97983166974474</c:v>
                </c:pt>
                <c:pt idx="1526">
                  <c:v>100.88150575356924</c:v>
                </c:pt>
                <c:pt idx="1527">
                  <c:v>100.36265904777348</c:v>
                </c:pt>
                <c:pt idx="1528">
                  <c:v>99.895656347944467</c:v>
                </c:pt>
                <c:pt idx="1529">
                  <c:v>99.395333553964747</c:v>
                </c:pt>
                <c:pt idx="1530">
                  <c:v>98.656268027470745</c:v>
                </c:pt>
                <c:pt idx="1531">
                  <c:v>98.725135909799377</c:v>
                </c:pt>
                <c:pt idx="1532">
                  <c:v>98.501343049304509</c:v>
                </c:pt>
                <c:pt idx="1533">
                  <c:v>98.227179812297777</c:v>
                </c:pt>
                <c:pt idx="1534">
                  <c:v>98.338459654542916</c:v>
                </c:pt>
                <c:pt idx="1535">
                  <c:v>98.311266523267435</c:v>
                </c:pt>
                <c:pt idx="1536">
                  <c:v>98.459985151914609</c:v>
                </c:pt>
                <c:pt idx="1537">
                  <c:v>98.726203075604545</c:v>
                </c:pt>
                <c:pt idx="1538">
                  <c:v>98.806453292424365</c:v>
                </c:pt>
                <c:pt idx="1539">
                  <c:v>98.744528853913593</c:v>
                </c:pt>
                <c:pt idx="1540">
                  <c:v>98.685878983611119</c:v>
                </c:pt>
                <c:pt idx="1541">
                  <c:v>98.625990667375973</c:v>
                </c:pt>
                <c:pt idx="1542">
                  <c:v>98.634270927758266</c:v>
                </c:pt>
                <c:pt idx="1543">
                  <c:v>98.768889656108229</c:v>
                </c:pt>
                <c:pt idx="1544">
                  <c:v>98.746264918766698</c:v>
                </c:pt>
                <c:pt idx="1545">
                  <c:v>98.851119422593285</c:v>
                </c:pt>
                <c:pt idx="1546">
                  <c:v>99.273279094531148</c:v>
                </c:pt>
                <c:pt idx="1547">
                  <c:v>99.41835071417735</c:v>
                </c:pt>
                <c:pt idx="1548">
                  <c:v>99.368372571113568</c:v>
                </c:pt>
                <c:pt idx="1549">
                  <c:v>99.155854965508539</c:v>
                </c:pt>
                <c:pt idx="1550">
                  <c:v>99.328029481356396</c:v>
                </c:pt>
                <c:pt idx="1551">
                  <c:v>99.49685607064346</c:v>
                </c:pt>
                <c:pt idx="1552">
                  <c:v>99.314526542055887</c:v>
                </c:pt>
                <c:pt idx="1553">
                  <c:v>99.213123054542152</c:v>
                </c:pt>
                <c:pt idx="1554">
                  <c:v>98.9068351416106</c:v>
                </c:pt>
                <c:pt idx="1555">
                  <c:v>99.33647471858454</c:v>
                </c:pt>
                <c:pt idx="1556">
                  <c:v>99.520523871706132</c:v>
                </c:pt>
                <c:pt idx="1557">
                  <c:v>99.108263316003686</c:v>
                </c:pt>
                <c:pt idx="1558">
                  <c:v>98.478413301656246</c:v>
                </c:pt>
                <c:pt idx="1559">
                  <c:v>98.589562350149947</c:v>
                </c:pt>
                <c:pt idx="1560">
                  <c:v>98.319938094478445</c:v>
                </c:pt>
                <c:pt idx="1561">
                  <c:v>98.271141089244765</c:v>
                </c:pt>
                <c:pt idx="1562">
                  <c:v>99.235453203466633</c:v>
                </c:pt>
                <c:pt idx="1563">
                  <c:v>99.513154501724614</c:v>
                </c:pt>
                <c:pt idx="1564">
                  <c:v>100.09197703572242</c:v>
                </c:pt>
                <c:pt idx="1565">
                  <c:v>101.24055122275466</c:v>
                </c:pt>
                <c:pt idx="1566">
                  <c:v>101.69351333214163</c:v>
                </c:pt>
                <c:pt idx="1567">
                  <c:v>101.72905292005798</c:v>
                </c:pt>
                <c:pt idx="1568">
                  <c:v>101.49596586702199</c:v>
                </c:pt>
                <c:pt idx="1569">
                  <c:v>101.23246695318217</c:v>
                </c:pt>
                <c:pt idx="1570">
                  <c:v>101.21589968011418</c:v>
                </c:pt>
                <c:pt idx="1571">
                  <c:v>101.3981603525215</c:v>
                </c:pt>
                <c:pt idx="1572">
                  <c:v>100.6584426461496</c:v>
                </c:pt>
                <c:pt idx="1573">
                  <c:v>100.04483257758801</c:v>
                </c:pt>
                <c:pt idx="1574">
                  <c:v>100.92899741518085</c:v>
                </c:pt>
                <c:pt idx="1575">
                  <c:v>99.500727552185552</c:v>
                </c:pt>
                <c:pt idx="1576">
                  <c:v>98.492170046698121</c:v>
                </c:pt>
                <c:pt idx="1577">
                  <c:v>97.08823560116474</c:v>
                </c:pt>
                <c:pt idx="1578">
                  <c:v>97.71795140111449</c:v>
                </c:pt>
                <c:pt idx="1579">
                  <c:v>97.981799526927958</c:v>
                </c:pt>
                <c:pt idx="1580">
                  <c:v>99.033879813834474</c:v>
                </c:pt>
                <c:pt idx="1581">
                  <c:v>98.859740203355486</c:v>
                </c:pt>
                <c:pt idx="1582">
                  <c:v>99.027319361200384</c:v>
                </c:pt>
                <c:pt idx="1583">
                  <c:v>98.829212873879626</c:v>
                </c:pt>
                <c:pt idx="1584">
                  <c:v>98.874977296637326</c:v>
                </c:pt>
                <c:pt idx="1585">
                  <c:v>100.22160460671839</c:v>
                </c:pt>
                <c:pt idx="1586">
                  <c:v>100.32706908721333</c:v>
                </c:pt>
                <c:pt idx="1587">
                  <c:v>100.04973289048425</c:v>
                </c:pt>
                <c:pt idx="1588">
                  <c:v>99.92823018670137</c:v>
                </c:pt>
                <c:pt idx="1589">
                  <c:v>99.567267560737932</c:v>
                </c:pt>
                <c:pt idx="1590">
                  <c:v>99.162450301962508</c:v>
                </c:pt>
                <c:pt idx="1591">
                  <c:v>99.531510342421555</c:v>
                </c:pt>
                <c:pt idx="1592">
                  <c:v>100.06635048609756</c:v>
                </c:pt>
                <c:pt idx="1593">
                  <c:v>100.60343188250208</c:v>
                </c:pt>
                <c:pt idx="1594">
                  <c:v>100.68339797941861</c:v>
                </c:pt>
                <c:pt idx="1595">
                  <c:v>100.78095633661746</c:v>
                </c:pt>
                <c:pt idx="1596">
                  <c:v>100.49509729317656</c:v>
                </c:pt>
                <c:pt idx="1597">
                  <c:v>100.22889358756743</c:v>
                </c:pt>
                <c:pt idx="1598">
                  <c:v>100.31435625450105</c:v>
                </c:pt>
                <c:pt idx="1599">
                  <c:v>100.37386647520054</c:v>
                </c:pt>
                <c:pt idx="1600">
                  <c:v>100.14825198671213</c:v>
                </c:pt>
                <c:pt idx="1601">
                  <c:v>99.807577010514052</c:v>
                </c:pt>
                <c:pt idx="1602">
                  <c:v>98.972015174414551</c:v>
                </c:pt>
                <c:pt idx="1603">
                  <c:v>99.437231172062027</c:v>
                </c:pt>
                <c:pt idx="1604">
                  <c:v>100.15769615274333</c:v>
                </c:pt>
                <c:pt idx="1605">
                  <c:v>100.63129200685763</c:v>
                </c:pt>
                <c:pt idx="1606">
                  <c:v>100.68717063021502</c:v>
                </c:pt>
                <c:pt idx="1607">
                  <c:v>101.24944521200838</c:v>
                </c:pt>
                <c:pt idx="1608">
                  <c:v>101.17511854195091</c:v>
                </c:pt>
                <c:pt idx="1609">
                  <c:v>102.32196840493209</c:v>
                </c:pt>
                <c:pt idx="1610">
                  <c:v>102.55098875174153</c:v>
                </c:pt>
                <c:pt idx="1611">
                  <c:v>103.01345934375112</c:v>
                </c:pt>
                <c:pt idx="1612">
                  <c:v>102.74449534212611</c:v>
                </c:pt>
                <c:pt idx="1613">
                  <c:v>102.30697446732705</c:v>
                </c:pt>
                <c:pt idx="1614">
                  <c:v>101.71027707867006</c:v>
                </c:pt>
                <c:pt idx="1615">
                  <c:v>101.16082683215897</c:v>
                </c:pt>
                <c:pt idx="1616">
                  <c:v>100.81680356455146</c:v>
                </c:pt>
                <c:pt idx="1617">
                  <c:v>100.89692203720926</c:v>
                </c:pt>
                <c:pt idx="1618">
                  <c:v>100.87417768923335</c:v>
                </c:pt>
                <c:pt idx="1619">
                  <c:v>101.17184790150888</c:v>
                </c:pt>
                <c:pt idx="1620">
                  <c:v>102.07897568584015</c:v>
                </c:pt>
                <c:pt idx="1621">
                  <c:v>102.85838852456931</c:v>
                </c:pt>
                <c:pt idx="1622">
                  <c:v>105.02714811545459</c:v>
                </c:pt>
                <c:pt idx="1623">
                  <c:v>106.26259982076785</c:v>
                </c:pt>
                <c:pt idx="1624">
                  <c:v>106.26929076357561</c:v>
                </c:pt>
                <c:pt idx="1625">
                  <c:v>106.0894098275115</c:v>
                </c:pt>
                <c:pt idx="1626">
                  <c:v>106.34889171631238</c:v>
                </c:pt>
                <c:pt idx="1627">
                  <c:v>107.94057284201072</c:v>
                </c:pt>
                <c:pt idx="1628">
                  <c:v>108.56612210684006</c:v>
                </c:pt>
                <c:pt idx="1629">
                  <c:v>109.88807856452328</c:v>
                </c:pt>
                <c:pt idx="1630">
                  <c:v>109.28598875565496</c:v>
                </c:pt>
                <c:pt idx="1631">
                  <c:v>108.84495291849082</c:v>
                </c:pt>
                <c:pt idx="1632">
                  <c:v>106.79913236612943</c:v>
                </c:pt>
                <c:pt idx="1633">
                  <c:v>103.44570191406515</c:v>
                </c:pt>
                <c:pt idx="1634">
                  <c:v>104.39860780931382</c:v>
                </c:pt>
                <c:pt idx="1635">
                  <c:v>103.1655444079399</c:v>
                </c:pt>
                <c:pt idx="1636">
                  <c:v>102.04794337182699</c:v>
                </c:pt>
                <c:pt idx="1637">
                  <c:v>103.44454817198876</c:v>
                </c:pt>
                <c:pt idx="1638">
                  <c:v>102.97308815358049</c:v>
                </c:pt>
                <c:pt idx="1639">
                  <c:v>102.17014994567673</c:v>
                </c:pt>
                <c:pt idx="1640">
                  <c:v>102.71375145907737</c:v>
                </c:pt>
                <c:pt idx="1641">
                  <c:v>101.92715259748505</c:v>
                </c:pt>
                <c:pt idx="1642">
                  <c:v>101.9890431691605</c:v>
                </c:pt>
                <c:pt idx="1643">
                  <c:v>102.18408798929252</c:v>
                </c:pt>
                <c:pt idx="1644">
                  <c:v>102.96519703727562</c:v>
                </c:pt>
                <c:pt idx="1645">
                  <c:v>103.42790190302924</c:v>
                </c:pt>
                <c:pt idx="1646">
                  <c:v>103.29252967629102</c:v>
                </c:pt>
                <c:pt idx="1647">
                  <c:v>101.13688107262269</c:v>
                </c:pt>
                <c:pt idx="1648">
                  <c:v>99.218872678879734</c:v>
                </c:pt>
                <c:pt idx="1649">
                  <c:v>99.971111260350582</c:v>
                </c:pt>
                <c:pt idx="1650">
                  <c:v>100.5211247424094</c:v>
                </c:pt>
                <c:pt idx="1651">
                  <c:v>101.11529899358933</c:v>
                </c:pt>
                <c:pt idx="1652">
                  <c:v>102.02321057123459</c:v>
                </c:pt>
                <c:pt idx="1653">
                  <c:v>100.90609970764137</c:v>
                </c:pt>
                <c:pt idx="1654">
                  <c:v>100.98600922997598</c:v>
                </c:pt>
                <c:pt idx="1655">
                  <c:v>100.15417720362206</c:v>
                </c:pt>
                <c:pt idx="1656">
                  <c:v>98.179491197606353</c:v>
                </c:pt>
                <c:pt idx="1657">
                  <c:v>96.511717152564088</c:v>
                </c:pt>
                <c:pt idx="1658">
                  <c:v>95.808269826763095</c:v>
                </c:pt>
                <c:pt idx="1659">
                  <c:v>97.454811037314371</c:v>
                </c:pt>
                <c:pt idx="1660">
                  <c:v>97.001780550448402</c:v>
                </c:pt>
                <c:pt idx="1661">
                  <c:v>100.70944527967713</c:v>
                </c:pt>
                <c:pt idx="1662">
                  <c:v>96.35831658193618</c:v>
                </c:pt>
                <c:pt idx="1663">
                  <c:v>93.958764963895476</c:v>
                </c:pt>
                <c:pt idx="1664">
                  <c:v>93.745483408048926</c:v>
                </c:pt>
                <c:pt idx="1665">
                  <c:v>95.069474640840326</c:v>
                </c:pt>
                <c:pt idx="1666">
                  <c:v>97.490838326211346</c:v>
                </c:pt>
                <c:pt idx="1667">
                  <c:v>99.207346480325555</c:v>
                </c:pt>
                <c:pt idx="1668">
                  <c:v>99.724648127558126</c:v>
                </c:pt>
                <c:pt idx="1669">
                  <c:v>101.03596376693467</c:v>
                </c:pt>
                <c:pt idx="1670">
                  <c:v>101.90468085880121</c:v>
                </c:pt>
                <c:pt idx="1671">
                  <c:v>101.87862900211192</c:v>
                </c:pt>
                <c:pt idx="1672">
                  <c:v>101.84572951810866</c:v>
                </c:pt>
                <c:pt idx="1673">
                  <c:v>101.94492222964514</c:v>
                </c:pt>
                <c:pt idx="1674">
                  <c:v>101.83380376092653</c:v>
                </c:pt>
                <c:pt idx="1675">
                  <c:v>96.071165638313275</c:v>
                </c:pt>
                <c:pt idx="1676">
                  <c:v>94.770305403209406</c:v>
                </c:pt>
                <c:pt idx="1677">
                  <c:v>94.689423888472888</c:v>
                </c:pt>
                <c:pt idx="1678">
                  <c:v>94.414417342640263</c:v>
                </c:pt>
                <c:pt idx="1679">
                  <c:v>94.039061468702101</c:v>
                </c:pt>
                <c:pt idx="1680">
                  <c:v>93.823806576523936</c:v>
                </c:pt>
                <c:pt idx="1681">
                  <c:v>93.15949240000559</c:v>
                </c:pt>
                <c:pt idx="1682">
                  <c:v>92.691245549116388</c:v>
                </c:pt>
                <c:pt idx="1683">
                  <c:v>92.935584658921044</c:v>
                </c:pt>
                <c:pt idx="1684">
                  <c:v>91.608246474872644</c:v>
                </c:pt>
                <c:pt idx="1685">
                  <c:v>92.007978946925704</c:v>
                </c:pt>
                <c:pt idx="1686">
                  <c:v>92.277333874624688</c:v>
                </c:pt>
                <c:pt idx="1687">
                  <c:v>91.98163231221217</c:v>
                </c:pt>
                <c:pt idx="1688">
                  <c:v>89.711911335155847</c:v>
                </c:pt>
                <c:pt idx="1689">
                  <c:v>87.819794537586702</c:v>
                </c:pt>
                <c:pt idx="1690">
                  <c:v>89.034199453059131</c:v>
                </c:pt>
                <c:pt idx="1691">
                  <c:v>89.347067067489931</c:v>
                </c:pt>
                <c:pt idx="1692">
                  <c:v>89.395602978181245</c:v>
                </c:pt>
                <c:pt idx="1693">
                  <c:v>89.334899002188152</c:v>
                </c:pt>
                <c:pt idx="1694">
                  <c:v>86.948446268632665</c:v>
                </c:pt>
                <c:pt idx="1695">
                  <c:v>79.014778503741894</c:v>
                </c:pt>
                <c:pt idx="1696">
                  <c:v>76.889091345958136</c:v>
                </c:pt>
                <c:pt idx="1697">
                  <c:v>89.049135027053254</c:v>
                </c:pt>
                <c:pt idx="1698">
                  <c:v>106.11959144056772</c:v>
                </c:pt>
                <c:pt idx="1699">
                  <c:v>90.811354777342558</c:v>
                </c:pt>
                <c:pt idx="1700">
                  <c:v>84.280212446738545</c:v>
                </c:pt>
                <c:pt idx="1701">
                  <c:v>81.619240696979602</c:v>
                </c:pt>
                <c:pt idx="1702">
                  <c:v>79.158730812125896</c:v>
                </c:pt>
                <c:pt idx="1703">
                  <c:v>78.426973759484099</c:v>
                </c:pt>
                <c:pt idx="1704">
                  <c:v>78.431482495302433</c:v>
                </c:pt>
                <c:pt idx="1705">
                  <c:v>79.054382853287933</c:v>
                </c:pt>
                <c:pt idx="1706">
                  <c:v>80.458520664875053</c:v>
                </c:pt>
                <c:pt idx="1707">
                  <c:v>81.032978001105249</c:v>
                </c:pt>
                <c:pt idx="1708">
                  <c:v>78.007872716522641</c:v>
                </c:pt>
                <c:pt idx="1709">
                  <c:v>74.307132648430496</c:v>
                </c:pt>
                <c:pt idx="1710">
                  <c:v>76.132056305881775</c:v>
                </c:pt>
                <c:pt idx="1711">
                  <c:v>72.847897017905396</c:v>
                </c:pt>
                <c:pt idx="1712">
                  <c:v>67.615914307346884</c:v>
                </c:pt>
                <c:pt idx="1713">
                  <c:v>67.384225944669183</c:v>
                </c:pt>
                <c:pt idx="1714">
                  <c:v>72.695835224875381</c:v>
                </c:pt>
                <c:pt idx="1715">
                  <c:v>67.697070458551451</c:v>
                </c:pt>
                <c:pt idx="1716">
                  <c:v>65.805749097878092</c:v>
                </c:pt>
                <c:pt idx="1717">
                  <c:v>65.682853236441346</c:v>
                </c:pt>
                <c:pt idx="1718">
                  <c:v>67.363494159501926</c:v>
                </c:pt>
                <c:pt idx="1719">
                  <c:v>69.102283237360552</c:v>
                </c:pt>
                <c:pt idx="1720">
                  <c:v>68.313734448854092</c:v>
                </c:pt>
                <c:pt idx="1721">
                  <c:v>71.02283145873146</c:v>
                </c:pt>
                <c:pt idx="1722">
                  <c:v>71.086098870416066</c:v>
                </c:pt>
                <c:pt idx="1723">
                  <c:v>70.396369813989196</c:v>
                </c:pt>
                <c:pt idx="1724">
                  <c:v>68.778505841866192</c:v>
                </c:pt>
                <c:pt idx="1725">
                  <c:v>68.155566019904896</c:v>
                </c:pt>
                <c:pt idx="1726">
                  <c:v>68.519793530339967</c:v>
                </c:pt>
                <c:pt idx="1727">
                  <c:v>68.276874187541566</c:v>
                </c:pt>
                <c:pt idx="1728">
                  <c:v>68.466934446374538</c:v>
                </c:pt>
                <c:pt idx="1729">
                  <c:v>68.474171504429819</c:v>
                </c:pt>
                <c:pt idx="1730">
                  <c:v>69.005762923097251</c:v>
                </c:pt>
                <c:pt idx="1731">
                  <c:v>67.623160661214087</c:v>
                </c:pt>
                <c:pt idx="1732">
                  <c:v>68.373703054664361</c:v>
                </c:pt>
                <c:pt idx="1733">
                  <c:v>67.850174312196174</c:v>
                </c:pt>
                <c:pt idx="1734">
                  <c:v>65.034991674364932</c:v>
                </c:pt>
                <c:pt idx="1735">
                  <c:v>66.459799102606055</c:v>
                </c:pt>
                <c:pt idx="1736">
                  <c:v>64.437744038484354</c:v>
                </c:pt>
                <c:pt idx="1737">
                  <c:v>62.456174550134286</c:v>
                </c:pt>
                <c:pt idx="1738">
                  <c:v>64.513439413858819</c:v>
                </c:pt>
                <c:pt idx="1739">
                  <c:v>66.059128263007594</c:v>
                </c:pt>
                <c:pt idx="1740">
                  <c:v>66.907264072217359</c:v>
                </c:pt>
                <c:pt idx="1741">
                  <c:v>66.426090989380342</c:v>
                </c:pt>
                <c:pt idx="1742">
                  <c:v>66.311758227302079</c:v>
                </c:pt>
                <c:pt idx="1743">
                  <c:v>65.651961735678995</c:v>
                </c:pt>
                <c:pt idx="1744">
                  <c:v>57.836265287343991</c:v>
                </c:pt>
                <c:pt idx="1745">
                  <c:v>63.405361190048183</c:v>
                </c:pt>
                <c:pt idx="1746">
                  <c:v>64.563169586771878</c:v>
                </c:pt>
                <c:pt idx="1747">
                  <c:v>62.599352143546639</c:v>
                </c:pt>
                <c:pt idx="1748">
                  <c:v>62.669446686147197</c:v>
                </c:pt>
                <c:pt idx="1749">
                  <c:v>58.233749894109764</c:v>
                </c:pt>
                <c:pt idx="1750">
                  <c:v>58.979140980950149</c:v>
                </c:pt>
                <c:pt idx="1751">
                  <c:v>61.235853903737734</c:v>
                </c:pt>
                <c:pt idx="1752">
                  <c:v>62.416505759131844</c:v>
                </c:pt>
                <c:pt idx="1753">
                  <c:v>61.660311208226602</c:v>
                </c:pt>
                <c:pt idx="1754">
                  <c:v>61.774383226526808</c:v>
                </c:pt>
                <c:pt idx="1755">
                  <c:v>63.307488049925638</c:v>
                </c:pt>
                <c:pt idx="1756">
                  <c:v>62.339362973193786</c:v>
                </c:pt>
                <c:pt idx="1757">
                  <c:v>62.503741699176949</c:v>
                </c:pt>
                <c:pt idx="1758">
                  <c:v>61.07450261591908</c:v>
                </c:pt>
                <c:pt idx="1759">
                  <c:v>61.95774759385808</c:v>
                </c:pt>
                <c:pt idx="1760">
                  <c:v>59.676975600326053</c:v>
                </c:pt>
                <c:pt idx="1761">
                  <c:v>60.119978657919894</c:v>
                </c:pt>
                <c:pt idx="1762">
                  <c:v>56.761726657310781</c:v>
                </c:pt>
                <c:pt idx="1763">
                  <c:v>55.446826968864514</c:v>
                </c:pt>
                <c:pt idx="1764">
                  <c:v>51.789485944154706</c:v>
                </c:pt>
                <c:pt idx="1765">
                  <c:v>51.204791836328276</c:v>
                </c:pt>
                <c:pt idx="1766">
                  <c:v>52.822314732475512</c:v>
                </c:pt>
                <c:pt idx="1767">
                  <c:v>51.325429110589631</c:v>
                </c:pt>
                <c:pt idx="1768">
                  <c:v>43.378729136126417</c:v>
                </c:pt>
                <c:pt idx="1769">
                  <c:v>45.226308627568237</c:v>
                </c:pt>
                <c:pt idx="1770">
                  <c:v>51.085276739849746</c:v>
                </c:pt>
                <c:pt idx="1771">
                  <c:v>51.984162701386452</c:v>
                </c:pt>
                <c:pt idx="1772">
                  <c:v>54.391098846011523</c:v>
                </c:pt>
                <c:pt idx="1773">
                  <c:v>58.126081717209132</c:v>
                </c:pt>
                <c:pt idx="1774">
                  <c:v>61.832104722672995</c:v>
                </c:pt>
                <c:pt idx="1775">
                  <c:v>66.102406732794947</c:v>
                </c:pt>
                <c:pt idx="1776">
                  <c:v>56.923593374937418</c:v>
                </c:pt>
                <c:pt idx="1777">
                  <c:v>54.948169142657463</c:v>
                </c:pt>
                <c:pt idx="1778">
                  <c:v>57.220431719571899</c:v>
                </c:pt>
                <c:pt idx="1779">
                  <c:v>53.768301026358166</c:v>
                </c:pt>
                <c:pt idx="1780">
                  <c:v>55.093901322289291</c:v>
                </c:pt>
                <c:pt idx="1781">
                  <c:v>55.200350117709291</c:v>
                </c:pt>
                <c:pt idx="1782">
                  <c:v>56.54099122580287</c:v>
                </c:pt>
                <c:pt idx="1783">
                  <c:v>57.887321932047378</c:v>
                </c:pt>
                <c:pt idx="1784">
                  <c:v>58.372504452832473</c:v>
                </c:pt>
                <c:pt idx="1785">
                  <c:v>57.363787133717054</c:v>
                </c:pt>
                <c:pt idx="1786">
                  <c:v>57.91019473258018</c:v>
                </c:pt>
                <c:pt idx="1787">
                  <c:v>58.113371459570949</c:v>
                </c:pt>
                <c:pt idx="1788">
                  <c:v>57.877708281563571</c:v>
                </c:pt>
                <c:pt idx="1789">
                  <c:v>54.703794614656033</c:v>
                </c:pt>
                <c:pt idx="1790">
                  <c:v>55.231968230959097</c:v>
                </c:pt>
                <c:pt idx="1791">
                  <c:v>53.868004731611521</c:v>
                </c:pt>
                <c:pt idx="1792">
                  <c:v>49.375075813709273</c:v>
                </c:pt>
                <c:pt idx="1793">
                  <c:v>48.320845244929849</c:v>
                </c:pt>
                <c:pt idx="1794">
                  <c:v>47.755043783716772</c:v>
                </c:pt>
                <c:pt idx="1795">
                  <c:v>44.608407834921756</c:v>
                </c:pt>
                <c:pt idx="1796">
                  <c:v>46.094342059420065</c:v>
                </c:pt>
                <c:pt idx="1797">
                  <c:v>48.697455004894721</c:v>
                </c:pt>
                <c:pt idx="1798">
                  <c:v>47.177029949781257</c:v>
                </c:pt>
                <c:pt idx="1799">
                  <c:v>48.667768816546925</c:v>
                </c:pt>
                <c:pt idx="1800">
                  <c:v>50.121880116723283</c:v>
                </c:pt>
                <c:pt idx="1801">
                  <c:v>51.718686578471086</c:v>
                </c:pt>
                <c:pt idx="1802">
                  <c:v>61.619484574927327</c:v>
                </c:pt>
                <c:pt idx="1803">
                  <c:v>56.501396836455051</c:v>
                </c:pt>
                <c:pt idx="1804">
                  <c:v>50.498467547543761</c:v>
                </c:pt>
                <c:pt idx="1805">
                  <c:v>50.424207621576208</c:v>
                </c:pt>
                <c:pt idx="1806">
                  <c:v>51.14209935456325</c:v>
                </c:pt>
                <c:pt idx="1807">
                  <c:v>80.830761211418107</c:v>
                </c:pt>
                <c:pt idx="1808">
                  <c:v>55.037930924074296</c:v>
                </c:pt>
                <c:pt idx="1809">
                  <c:v>50.435665549942769</c:v>
                </c:pt>
                <c:pt idx="1810">
                  <c:v>50.569232544443857</c:v>
                </c:pt>
                <c:pt idx="1811">
                  <c:v>53.08460882795611</c:v>
                </c:pt>
                <c:pt idx="1812">
                  <c:v>54.087047714867573</c:v>
                </c:pt>
                <c:pt idx="1813">
                  <c:v>52.112480733934547</c:v>
                </c:pt>
                <c:pt idx="1814">
                  <c:v>58.134864647001216</c:v>
                </c:pt>
                <c:pt idx="1815">
                  <c:v>61.468899929702928</c:v>
                </c:pt>
                <c:pt idx="1816">
                  <c:v>63.024522737907198</c:v>
                </c:pt>
                <c:pt idx="1817">
                  <c:v>57.962090965439181</c:v>
                </c:pt>
                <c:pt idx="1818">
                  <c:v>59.493152081481284</c:v>
                </c:pt>
                <c:pt idx="1819">
                  <c:v>54.956539073504871</c:v>
                </c:pt>
                <c:pt idx="1820">
                  <c:v>54.40619021331851</c:v>
                </c:pt>
                <c:pt idx="1821">
                  <c:v>55.729192056544946</c:v>
                </c:pt>
                <c:pt idx="1822">
                  <c:v>58.467964841669875</c:v>
                </c:pt>
                <c:pt idx="1823">
                  <c:v>57.343042309602254</c:v>
                </c:pt>
                <c:pt idx="1824">
                  <c:v>58.02607499290761</c:v>
                </c:pt>
                <c:pt idx="1825">
                  <c:v>61.176152780347124</c:v>
                </c:pt>
                <c:pt idx="1826">
                  <c:v>61.429243692205695</c:v>
                </c:pt>
                <c:pt idx="1827">
                  <c:v>60.036093339878228</c:v>
                </c:pt>
                <c:pt idx="1828">
                  <c:v>59.708713654685077</c:v>
                </c:pt>
                <c:pt idx="1829">
                  <c:v>59.051384519451027</c:v>
                </c:pt>
                <c:pt idx="1830">
                  <c:v>57.98915869002542</c:v>
                </c:pt>
                <c:pt idx="1831">
                  <c:v>57.430954491652138</c:v>
                </c:pt>
                <c:pt idx="1832">
                  <c:v>56.798544661329423</c:v>
                </c:pt>
                <c:pt idx="1833">
                  <c:v>57.302384273057861</c:v>
                </c:pt>
                <c:pt idx="1834">
                  <c:v>57.192429879880812</c:v>
                </c:pt>
                <c:pt idx="1835">
                  <c:v>57.394810130985555</c:v>
                </c:pt>
                <c:pt idx="1836">
                  <c:v>55.728310958460675</c:v>
                </c:pt>
                <c:pt idx="1837">
                  <c:v>57.276560685844714</c:v>
                </c:pt>
                <c:pt idx="1838">
                  <c:v>56.901785575246386</c:v>
                </c:pt>
                <c:pt idx="1839">
                  <c:v>57.102186892749664</c:v>
                </c:pt>
                <c:pt idx="1840">
                  <c:v>59.539569558871214</c:v>
                </c:pt>
                <c:pt idx="1841">
                  <c:v>60.491612201171947</c:v>
                </c:pt>
                <c:pt idx="1842">
                  <c:v>60.769009842839502</c:v>
                </c:pt>
                <c:pt idx="1843">
                  <c:v>65.903155562861272</c:v>
                </c:pt>
                <c:pt idx="1844">
                  <c:v>63.765119950134078</c:v>
                </c:pt>
                <c:pt idx="1845">
                  <c:v>61.400526187775625</c:v>
                </c:pt>
                <c:pt idx="1846">
                  <c:v>61.044485711709413</c:v>
                </c:pt>
                <c:pt idx="1847">
                  <c:v>61.023862668804206</c:v>
                </c:pt>
                <c:pt idx="1848">
                  <c:v>59.80745903592851</c:v>
                </c:pt>
                <c:pt idx="1849">
                  <c:v>59.916014302848943</c:v>
                </c:pt>
                <c:pt idx="1850">
                  <c:v>60.371929011054199</c:v>
                </c:pt>
                <c:pt idx="1851">
                  <c:v>60.039620703802115</c:v>
                </c:pt>
                <c:pt idx="1852">
                  <c:v>62.417001379981095</c:v>
                </c:pt>
                <c:pt idx="1853">
                  <c:v>59.884082338599477</c:v>
                </c:pt>
                <c:pt idx="1854">
                  <c:v>64.667290159485361</c:v>
                </c:pt>
                <c:pt idx="1855">
                  <c:v>64.852641810597689</c:v>
                </c:pt>
                <c:pt idx="1856">
                  <c:v>65.403072252563817</c:v>
                </c:pt>
                <c:pt idx="1857">
                  <c:v>64.601965300897703</c:v>
                </c:pt>
                <c:pt idx="1858">
                  <c:v>66.020096679457822</c:v>
                </c:pt>
                <c:pt idx="1859">
                  <c:v>68.893925144156213</c:v>
                </c:pt>
                <c:pt idx="1860">
                  <c:v>68.468741659794816</c:v>
                </c:pt>
                <c:pt idx="1861">
                  <c:v>75.904782162497639</c:v>
                </c:pt>
                <c:pt idx="1862">
                  <c:v>72.348465166524733</c:v>
                </c:pt>
                <c:pt idx="1863">
                  <c:v>72.546436102819513</c:v>
                </c:pt>
                <c:pt idx="1864">
                  <c:v>71.771417891213332</c:v>
                </c:pt>
                <c:pt idx="1865">
                  <c:v>71.534820668288432</c:v>
                </c:pt>
                <c:pt idx="1866">
                  <c:v>69.918998512078701</c:v>
                </c:pt>
                <c:pt idx="1867">
                  <c:v>69.271899892369291</c:v>
                </c:pt>
                <c:pt idx="1868">
                  <c:v>69.921523526746157</c:v>
                </c:pt>
                <c:pt idx="1869">
                  <c:v>69.894429655364576</c:v>
                </c:pt>
                <c:pt idx="1870">
                  <c:v>67.044243540276824</c:v>
                </c:pt>
                <c:pt idx="1871">
                  <c:v>63.445333083815058</c:v>
                </c:pt>
                <c:pt idx="1872">
                  <c:v>70.015920662031988</c:v>
                </c:pt>
                <c:pt idx="1873">
                  <c:v>67.607849552425094</c:v>
                </c:pt>
                <c:pt idx="1874">
                  <c:v>67.038546908295316</c:v>
                </c:pt>
                <c:pt idx="1875">
                  <c:v>69.162914282422037</c:v>
                </c:pt>
                <c:pt idx="1876">
                  <c:v>69.113782647310799</c:v>
                </c:pt>
                <c:pt idx="1877">
                  <c:v>68.252250990340144</c:v>
                </c:pt>
                <c:pt idx="1878">
                  <c:v>68.637015487221362</c:v>
                </c:pt>
                <c:pt idx="1879">
                  <c:v>68.19947221965613</c:v>
                </c:pt>
                <c:pt idx="1880">
                  <c:v>67.593017853612636</c:v>
                </c:pt>
                <c:pt idx="1881">
                  <c:v>68.136670501239848</c:v>
                </c:pt>
                <c:pt idx="1882">
                  <c:v>65.551574563692768</c:v>
                </c:pt>
                <c:pt idx="1883">
                  <c:v>64.791732902980669</c:v>
                </c:pt>
                <c:pt idx="1884">
                  <c:v>65.386153671731591</c:v>
                </c:pt>
                <c:pt idx="1885">
                  <c:v>66.2261424566708</c:v>
                </c:pt>
                <c:pt idx="1886">
                  <c:v>65.147880362837142</c:v>
                </c:pt>
                <c:pt idx="1887">
                  <c:v>65.427632178366579</c:v>
                </c:pt>
                <c:pt idx="1888">
                  <c:v>65.18059245583018</c:v>
                </c:pt>
                <c:pt idx="1889">
                  <c:v>62.864857667197548</c:v>
                </c:pt>
                <c:pt idx="1890">
                  <c:v>63.094706652232368</c:v>
                </c:pt>
                <c:pt idx="1891">
                  <c:v>63.736296289112929</c:v>
                </c:pt>
                <c:pt idx="1892">
                  <c:v>62.890654158840334</c:v>
                </c:pt>
                <c:pt idx="1893">
                  <c:v>61.585478612298118</c:v>
                </c:pt>
                <c:pt idx="1894">
                  <c:v>61.051150819357581</c:v>
                </c:pt>
                <c:pt idx="1895">
                  <c:v>61.036684467582383</c:v>
                </c:pt>
                <c:pt idx="1896">
                  <c:v>60.579218265028722</c:v>
                </c:pt>
                <c:pt idx="1897">
                  <c:v>63.934243166830221</c:v>
                </c:pt>
                <c:pt idx="1898">
                  <c:v>64.459395290651813</c:v>
                </c:pt>
                <c:pt idx="1899">
                  <c:v>61.159331959855812</c:v>
                </c:pt>
                <c:pt idx="1900">
                  <c:v>60.743890862559539</c:v>
                </c:pt>
                <c:pt idx="1901">
                  <c:v>60.584374171253074</c:v>
                </c:pt>
                <c:pt idx="1902">
                  <c:v>61.275504038413381</c:v>
                </c:pt>
                <c:pt idx="1903">
                  <c:v>60.142393957693237</c:v>
                </c:pt>
                <c:pt idx="1904">
                  <c:v>59.779687143679674</c:v>
                </c:pt>
                <c:pt idx="1905">
                  <c:v>58.969724094333891</c:v>
                </c:pt>
                <c:pt idx="1906">
                  <c:v>57.585106214928601</c:v>
                </c:pt>
                <c:pt idx="1907">
                  <c:v>55.299149007482441</c:v>
                </c:pt>
                <c:pt idx="1908">
                  <c:v>55.955844619745406</c:v>
                </c:pt>
                <c:pt idx="1909">
                  <c:v>55.95525803227121</c:v>
                </c:pt>
                <c:pt idx="1910">
                  <c:v>59.780090643465186</c:v>
                </c:pt>
                <c:pt idx="1911">
                  <c:v>55.336435335767405</c:v>
                </c:pt>
                <c:pt idx="1912">
                  <c:v>56.46261381292517</c:v>
                </c:pt>
                <c:pt idx="1913">
                  <c:v>56.48752992614267</c:v>
                </c:pt>
                <c:pt idx="1914">
                  <c:v>57.011333527738863</c:v>
                </c:pt>
                <c:pt idx="1915">
                  <c:v>55.900808737001341</c:v>
                </c:pt>
                <c:pt idx="1916">
                  <c:v>57.845286617125844</c:v>
                </c:pt>
                <c:pt idx="1917">
                  <c:v>59.089596536314687</c:v>
                </c:pt>
                <c:pt idx="1918">
                  <c:v>58.975495326908579</c:v>
                </c:pt>
                <c:pt idx="1919">
                  <c:v>56.526995414614646</c:v>
                </c:pt>
                <c:pt idx="1920">
                  <c:v>56.532748762778397</c:v>
                </c:pt>
                <c:pt idx="1921">
                  <c:v>57.510485291738974</c:v>
                </c:pt>
                <c:pt idx="1922">
                  <c:v>59.074547131235498</c:v>
                </c:pt>
                <c:pt idx="1923">
                  <c:v>59.470462387065005</c:v>
                </c:pt>
                <c:pt idx="1924">
                  <c:v>59.534835594562516</c:v>
                </c:pt>
                <c:pt idx="1925">
                  <c:v>59.575489023887883</c:v>
                </c:pt>
                <c:pt idx="1926">
                  <c:v>60.651107018778895</c:v>
                </c:pt>
                <c:pt idx="1927">
                  <c:v>61.867313499007714</c:v>
                </c:pt>
                <c:pt idx="1928">
                  <c:v>62.900560947795199</c:v>
                </c:pt>
                <c:pt idx="1929">
                  <c:v>62.919427627041586</c:v>
                </c:pt>
                <c:pt idx="1930">
                  <c:v>63.195584075248071</c:v>
                </c:pt>
                <c:pt idx="1931">
                  <c:v>63.977130589856827</c:v>
                </c:pt>
                <c:pt idx="1932">
                  <c:v>64.077720988505831</c:v>
                </c:pt>
                <c:pt idx="1933">
                  <c:v>64.31057791297161</c:v>
                </c:pt>
                <c:pt idx="1934">
                  <c:v>64.654397749639188</c:v>
                </c:pt>
                <c:pt idx="1935">
                  <c:v>64.208232381141585</c:v>
                </c:pt>
                <c:pt idx="1936">
                  <c:v>62.91909418613325</c:v>
                </c:pt>
                <c:pt idx="1937">
                  <c:v>61.336388968905581</c:v>
                </c:pt>
                <c:pt idx="1938">
                  <c:v>64.366700143870816</c:v>
                </c:pt>
                <c:pt idx="1939">
                  <c:v>65.38346855263805</c:v>
                </c:pt>
                <c:pt idx="1940">
                  <c:v>66.309250976092542</c:v>
                </c:pt>
                <c:pt idx="1941">
                  <c:v>67.02128167514995</c:v>
                </c:pt>
                <c:pt idx="1942">
                  <c:v>67.603031970892886</c:v>
                </c:pt>
                <c:pt idx="1943">
                  <c:v>67.594203897134562</c:v>
                </c:pt>
                <c:pt idx="1944">
                  <c:v>68.368330369313981</c:v>
                </c:pt>
                <c:pt idx="1945">
                  <c:v>67.343009407390781</c:v>
                </c:pt>
                <c:pt idx="1946">
                  <c:v>66.716493201570927</c:v>
                </c:pt>
                <c:pt idx="1947">
                  <c:v>66.920739608605786</c:v>
                </c:pt>
                <c:pt idx="1948">
                  <c:v>67.240498037758059</c:v>
                </c:pt>
                <c:pt idx="1949">
                  <c:v>67.082814229623509</c:v>
                </c:pt>
                <c:pt idx="1950">
                  <c:v>68.771833326052061</c:v>
                </c:pt>
                <c:pt idx="1951">
                  <c:v>70.130485204266591</c:v>
                </c:pt>
                <c:pt idx="1952">
                  <c:v>70.135366104601744</c:v>
                </c:pt>
                <c:pt idx="1953">
                  <c:v>70.218055178336911</c:v>
                </c:pt>
                <c:pt idx="1954">
                  <c:v>68.882927365593289</c:v>
                </c:pt>
                <c:pt idx="1955">
                  <c:v>66.788839559634994</c:v>
                </c:pt>
                <c:pt idx="1956">
                  <c:v>63.515597892526522</c:v>
                </c:pt>
                <c:pt idx="1957">
                  <c:v>64.23395315039194</c:v>
                </c:pt>
                <c:pt idx="1958">
                  <c:v>63.77820900728193</c:v>
                </c:pt>
                <c:pt idx="1959">
                  <c:v>63.135583351886062</c:v>
                </c:pt>
                <c:pt idx="1960">
                  <c:v>63.464806169397519</c:v>
                </c:pt>
                <c:pt idx="1961">
                  <c:v>64.614404582839725</c:v>
                </c:pt>
                <c:pt idx="1962">
                  <c:v>64.434302034090166</c:v>
                </c:pt>
                <c:pt idx="1963">
                  <c:v>66.239065721453272</c:v>
                </c:pt>
                <c:pt idx="1964">
                  <c:v>66.361449782291388</c:v>
                </c:pt>
                <c:pt idx="1965">
                  <c:v>69.592132066287235</c:v>
                </c:pt>
                <c:pt idx="1966">
                  <c:v>70.595230306808759</c:v>
                </c:pt>
                <c:pt idx="1967">
                  <c:v>69.689227360889959</c:v>
                </c:pt>
                <c:pt idx="1968">
                  <c:v>69.340062094328658</c:v>
                </c:pt>
                <c:pt idx="1969">
                  <c:v>70.874823549284216</c:v>
                </c:pt>
                <c:pt idx="1970">
                  <c:v>73.248067208726965</c:v>
                </c:pt>
                <c:pt idx="1971">
                  <c:v>75.37381113391335</c:v>
                </c:pt>
                <c:pt idx="1972">
                  <c:v>73.881906376869864</c:v>
                </c:pt>
                <c:pt idx="1973">
                  <c:v>76.546658054697133</c:v>
                </c:pt>
                <c:pt idx="1974">
                  <c:v>78.26582544234769</c:v>
                </c:pt>
                <c:pt idx="1975">
                  <c:v>78.193223925779463</c:v>
                </c:pt>
                <c:pt idx="1976">
                  <c:v>81.397887636613419</c:v>
                </c:pt>
                <c:pt idx="1977">
                  <c:v>80.605443416090466</c:v>
                </c:pt>
                <c:pt idx="1978">
                  <c:v>80.348194151094191</c:v>
                </c:pt>
                <c:pt idx="1979">
                  <c:v>81.139235462213591</c:v>
                </c:pt>
                <c:pt idx="1980">
                  <c:v>81.10606117771674</c:v>
                </c:pt>
                <c:pt idx="1981">
                  <c:v>79.028019228156069</c:v>
                </c:pt>
                <c:pt idx="1982">
                  <c:v>80.064979134103297</c:v>
                </c:pt>
                <c:pt idx="1983">
                  <c:v>80.627219346436334</c:v>
                </c:pt>
                <c:pt idx="1984">
                  <c:v>80.363359789402949</c:v>
                </c:pt>
                <c:pt idx="1985">
                  <c:v>80.686428734610615</c:v>
                </c:pt>
                <c:pt idx="1986">
                  <c:v>82.030193016372223</c:v>
                </c:pt>
                <c:pt idx="1987">
                  <c:v>82.410889390665048</c:v>
                </c:pt>
                <c:pt idx="1988">
                  <c:v>83.833347216295948</c:v>
                </c:pt>
                <c:pt idx="1989">
                  <c:v>86.07466914525412</c:v>
                </c:pt>
                <c:pt idx="1990">
                  <c:v>86.733058202387369</c:v>
                </c:pt>
                <c:pt idx="1991">
                  <c:v>87.288756654411145</c:v>
                </c:pt>
                <c:pt idx="1992">
                  <c:v>86.89505453762257</c:v>
                </c:pt>
                <c:pt idx="1993">
                  <c:v>87.525918107618125</c:v>
                </c:pt>
                <c:pt idx="1994">
                  <c:v>85.107650549554606</c:v>
                </c:pt>
                <c:pt idx="1995">
                  <c:v>85.707511409122944</c:v>
                </c:pt>
                <c:pt idx="1996">
                  <c:v>87.002403989604502</c:v>
                </c:pt>
                <c:pt idx="1997">
                  <c:v>87.136084243304296</c:v>
                </c:pt>
                <c:pt idx="1998">
                  <c:v>87.151444235966906</c:v>
                </c:pt>
                <c:pt idx="1999">
                  <c:v>88.470148892981797</c:v>
                </c:pt>
                <c:pt idx="2000">
                  <c:v>90.077899830775166</c:v>
                </c:pt>
                <c:pt idx="2001">
                  <c:v>92.854962908440569</c:v>
                </c:pt>
                <c:pt idx="2002">
                  <c:v>91.525573470547471</c:v>
                </c:pt>
                <c:pt idx="2003">
                  <c:v>95.717220727267886</c:v>
                </c:pt>
                <c:pt idx="2004">
                  <c:v>93.381516048092067</c:v>
                </c:pt>
                <c:pt idx="2005">
                  <c:v>91.74491098466018</c:v>
                </c:pt>
                <c:pt idx="2006">
                  <c:v>92.611903596088638</c:v>
                </c:pt>
                <c:pt idx="2007">
                  <c:v>88.737659066837082</c:v>
                </c:pt>
                <c:pt idx="2008">
                  <c:v>89.770987010321363</c:v>
                </c:pt>
                <c:pt idx="2009">
                  <c:v>90.232254493151316</c:v>
                </c:pt>
                <c:pt idx="2010">
                  <c:v>89.800913344861073</c:v>
                </c:pt>
                <c:pt idx="2011">
                  <c:v>90.637251859138345</c:v>
                </c:pt>
                <c:pt idx="2012">
                  <c:v>90.800644308507202</c:v>
                </c:pt>
                <c:pt idx="2013">
                  <c:v>92.26650941677066</c:v>
                </c:pt>
                <c:pt idx="2014">
                  <c:v>91.973270394332815</c:v>
                </c:pt>
                <c:pt idx="2015">
                  <c:v>93.082568967416705</c:v>
                </c:pt>
                <c:pt idx="2016">
                  <c:v>93.554041015803676</c:v>
                </c:pt>
                <c:pt idx="2017">
                  <c:v>92.861020617909531</c:v>
                </c:pt>
                <c:pt idx="2018">
                  <c:v>93.120985178224004</c:v>
                </c:pt>
                <c:pt idx="2019">
                  <c:v>93.982761889411094</c:v>
                </c:pt>
                <c:pt idx="2020">
                  <c:v>94.969927024832046</c:v>
                </c:pt>
                <c:pt idx="2021">
                  <c:v>97.209294817119456</c:v>
                </c:pt>
                <c:pt idx="2022">
                  <c:v>98.880824713974633</c:v>
                </c:pt>
                <c:pt idx="2023">
                  <c:v>98.927958300707246</c:v>
                </c:pt>
                <c:pt idx="2024">
                  <c:v>98.366544879567584</c:v>
                </c:pt>
                <c:pt idx="2025">
                  <c:v>99.482965494265983</c:v>
                </c:pt>
                <c:pt idx="2026">
                  <c:v>101.16258596662563</c:v>
                </c:pt>
                <c:pt idx="2027">
                  <c:v>102.91615362245012</c:v>
                </c:pt>
                <c:pt idx="2028">
                  <c:v>103.4117215543463</c:v>
                </c:pt>
                <c:pt idx="2029">
                  <c:v>108.09497744215761</c:v>
                </c:pt>
                <c:pt idx="2030">
                  <c:v>110.43226454174881</c:v>
                </c:pt>
                <c:pt idx="2031">
                  <c:v>109.59164979393358</c:v>
                </c:pt>
                <c:pt idx="2032">
                  <c:v>110.16246486816146</c:v>
                </c:pt>
                <c:pt idx="2033">
                  <c:v>110.3294417128222</c:v>
                </c:pt>
                <c:pt idx="2034">
                  <c:v>110.52457542900949</c:v>
                </c:pt>
                <c:pt idx="2035">
                  <c:v>109.85825232586295</c:v>
                </c:pt>
                <c:pt idx="2036">
                  <c:v>112.17398584103351</c:v>
                </c:pt>
                <c:pt idx="2037">
                  <c:v>113.43153145846021</c:v>
                </c:pt>
                <c:pt idx="2038">
                  <c:v>112.15026025443437</c:v>
                </c:pt>
                <c:pt idx="2039">
                  <c:v>113.39719127035666</c:v>
                </c:pt>
                <c:pt idx="2040">
                  <c:v>116.79344596140815</c:v>
                </c:pt>
                <c:pt idx="2041">
                  <c:v>117.23433397013331</c:v>
                </c:pt>
                <c:pt idx="2042">
                  <c:v>118.23395372624461</c:v>
                </c:pt>
                <c:pt idx="2043">
                  <c:v>116.37955047865034</c:v>
                </c:pt>
                <c:pt idx="2044">
                  <c:v>113.33621550517158</c:v>
                </c:pt>
                <c:pt idx="2045">
                  <c:v>114.30360900234561</c:v>
                </c:pt>
                <c:pt idx="2046">
                  <c:v>116.58953985806932</c:v>
                </c:pt>
                <c:pt idx="2047">
                  <c:v>120.61046529132931</c:v>
                </c:pt>
                <c:pt idx="2048">
                  <c:v>120.88832329546713</c:v>
                </c:pt>
                <c:pt idx="2049">
                  <c:v>121.77534795617039</c:v>
                </c:pt>
                <c:pt idx="2050">
                  <c:v>122.84935036913514</c:v>
                </c:pt>
                <c:pt idx="2051">
                  <c:v>122.6272919699371</c:v>
                </c:pt>
                <c:pt idx="2052">
                  <c:v>124.46007621809632</c:v>
                </c:pt>
                <c:pt idx="2053">
                  <c:v>125.51890708440787</c:v>
                </c:pt>
                <c:pt idx="2054">
                  <c:v>125.86618381079755</c:v>
                </c:pt>
                <c:pt idx="2055">
                  <c:v>125.66543717032489</c:v>
                </c:pt>
                <c:pt idx="2056">
                  <c:v>123.58499406778458</c:v>
                </c:pt>
                <c:pt idx="2057">
                  <c:v>123.92319148119819</c:v>
                </c:pt>
                <c:pt idx="2058">
                  <c:v>121.46677816356153</c:v>
                </c:pt>
                <c:pt idx="2059">
                  <c:v>120.74453949912305</c:v>
                </c:pt>
                <c:pt idx="2060">
                  <c:v>123.93338201399227</c:v>
                </c:pt>
                <c:pt idx="2061">
                  <c:v>125.50395124510088</c:v>
                </c:pt>
                <c:pt idx="2062">
                  <c:v>123.61459547847073</c:v>
                </c:pt>
                <c:pt idx="2063">
                  <c:v>119.36325692202512</c:v>
                </c:pt>
                <c:pt idx="2064">
                  <c:v>118.87824735581322</c:v>
                </c:pt>
                <c:pt idx="2065">
                  <c:v>115.61888202950496</c:v>
                </c:pt>
                <c:pt idx="2066">
                  <c:v>116.09004425790552</c:v>
                </c:pt>
                <c:pt idx="2067">
                  <c:v>119.2610668572196</c:v>
                </c:pt>
                <c:pt idx="2068">
                  <c:v>118.38869557134861</c:v>
                </c:pt>
                <c:pt idx="2069">
                  <c:v>118.85388879261308</c:v>
                </c:pt>
                <c:pt idx="2070">
                  <c:v>120.02515556906667</c:v>
                </c:pt>
                <c:pt idx="2071">
                  <c:v>121.56531422884424</c:v>
                </c:pt>
                <c:pt idx="2072">
                  <c:v>120.14876298204123</c:v>
                </c:pt>
                <c:pt idx="2073">
                  <c:v>120.12227098056472</c:v>
                </c:pt>
                <c:pt idx="2074">
                  <c:v>118.0399710291357</c:v>
                </c:pt>
                <c:pt idx="2075">
                  <c:v>118.39112707619188</c:v>
                </c:pt>
                <c:pt idx="2076">
                  <c:v>117.95489445215479</c:v>
                </c:pt>
                <c:pt idx="2077">
                  <c:v>116.86703890357802</c:v>
                </c:pt>
                <c:pt idx="2078">
                  <c:v>116.86304583614391</c:v>
                </c:pt>
                <c:pt idx="2079">
                  <c:v>117.47090344423967</c:v>
                </c:pt>
                <c:pt idx="2080">
                  <c:v>117.56057618591032</c:v>
                </c:pt>
                <c:pt idx="2081">
                  <c:v>113.02589979529054</c:v>
                </c:pt>
                <c:pt idx="2082">
                  <c:v>111.14725182227424</c:v>
                </c:pt>
                <c:pt idx="2083">
                  <c:v>109.14303880428439</c:v>
                </c:pt>
                <c:pt idx="2084">
                  <c:v>111.9184130871588</c:v>
                </c:pt>
                <c:pt idx="2085">
                  <c:v>112.61352068935913</c:v>
                </c:pt>
                <c:pt idx="2086">
                  <c:v>113.74424010373392</c:v>
                </c:pt>
                <c:pt idx="2087">
                  <c:v>112.79514882090871</c:v>
                </c:pt>
                <c:pt idx="2088">
                  <c:v>112.42601829870021</c:v>
                </c:pt>
                <c:pt idx="2089">
                  <c:v>110.27161969971129</c:v>
                </c:pt>
                <c:pt idx="2090">
                  <c:v>111.76718418691914</c:v>
                </c:pt>
                <c:pt idx="2091">
                  <c:v>110.19713557978277</c:v>
                </c:pt>
                <c:pt idx="2092">
                  <c:v>112.96630709776062</c:v>
                </c:pt>
                <c:pt idx="2093">
                  <c:v>111.97020269686691</c:v>
                </c:pt>
                <c:pt idx="2094">
                  <c:v>112.57333387277458</c:v>
                </c:pt>
                <c:pt idx="2095">
                  <c:v>111.51663709026174</c:v>
                </c:pt>
                <c:pt idx="2096">
                  <c:v>111.57493937978859</c:v>
                </c:pt>
                <c:pt idx="2097">
                  <c:v>112.79707427009929</c:v>
                </c:pt>
                <c:pt idx="2098">
                  <c:v>108.87856943229447</c:v>
                </c:pt>
                <c:pt idx="2099">
                  <c:v>107.68738218854483</c:v>
                </c:pt>
                <c:pt idx="2100">
                  <c:v>113.75925245694154</c:v>
                </c:pt>
                <c:pt idx="2101">
                  <c:v>118.81632356212769</c:v>
                </c:pt>
                <c:pt idx="2102">
                  <c:v>120.52986259118491</c:v>
                </c:pt>
                <c:pt idx="2103">
                  <c:v>119.32479037101638</c:v>
                </c:pt>
                <c:pt idx="2104">
                  <c:v>119.24679870417448</c:v>
                </c:pt>
                <c:pt idx="2105">
                  <c:v>119.27558474417221</c:v>
                </c:pt>
                <c:pt idx="2106">
                  <c:v>120.08617136994036</c:v>
                </c:pt>
                <c:pt idx="2107">
                  <c:v>120.64487620463483</c:v>
                </c:pt>
                <c:pt idx="2108">
                  <c:v>121.29115100043589</c:v>
                </c:pt>
                <c:pt idx="2109">
                  <c:v>122.34378266901524</c:v>
                </c:pt>
                <c:pt idx="2110">
                  <c:v>122.16640877112253</c:v>
                </c:pt>
                <c:pt idx="2111">
                  <c:v>124.46428547343069</c:v>
                </c:pt>
                <c:pt idx="2112">
                  <c:v>125.4249415012638</c:v>
                </c:pt>
                <c:pt idx="2113">
                  <c:v>127.62086038355947</c:v>
                </c:pt>
                <c:pt idx="2114">
                  <c:v>128.10219806419244</c:v>
                </c:pt>
                <c:pt idx="2115">
                  <c:v>130.33572830641509</c:v>
                </c:pt>
                <c:pt idx="2116">
                  <c:v>121.15757300002139</c:v>
                </c:pt>
                <c:pt idx="2117">
                  <c:v>120.51465037542684</c:v>
                </c:pt>
                <c:pt idx="2118">
                  <c:v>117.66578016198383</c:v>
                </c:pt>
                <c:pt idx="2119">
                  <c:v>115.96167078906406</c:v>
                </c:pt>
                <c:pt idx="2120">
                  <c:v>120.96735612164535</c:v>
                </c:pt>
                <c:pt idx="2121">
                  <c:v>126.51472740984497</c:v>
                </c:pt>
                <c:pt idx="2122">
                  <c:v>132.06444596216704</c:v>
                </c:pt>
                <c:pt idx="2123">
                  <c:v>133.53742644357473</c:v>
                </c:pt>
                <c:pt idx="2124">
                  <c:v>133.53094791449666</c:v>
                </c:pt>
                <c:pt idx="2125">
                  <c:v>137.49939527679271</c:v>
                </c:pt>
                <c:pt idx="2126">
                  <c:v>138.32860670351914</c:v>
                </c:pt>
                <c:pt idx="2127">
                  <c:v>138.59081046412561</c:v>
                </c:pt>
                <c:pt idx="2128">
                  <c:v>137.33912893153021</c:v>
                </c:pt>
                <c:pt idx="2129">
                  <c:v>138.96059025785567</c:v>
                </c:pt>
                <c:pt idx="2130">
                  <c:v>136.64665527014941</c:v>
                </c:pt>
                <c:pt idx="2131">
                  <c:v>136.44780458678699</c:v>
                </c:pt>
                <c:pt idx="2132">
                  <c:v>136.94185713216658</c:v>
                </c:pt>
                <c:pt idx="2133">
                  <c:v>139.09657490861619</c:v>
                </c:pt>
                <c:pt idx="2134">
                  <c:v>138.09881985837373</c:v>
                </c:pt>
                <c:pt idx="2135">
                  <c:v>139.49011709724331</c:v>
                </c:pt>
                <c:pt idx="2136">
                  <c:v>143.06666009311223</c:v>
                </c:pt>
                <c:pt idx="2137">
                  <c:v>143.02240645241596</c:v>
                </c:pt>
                <c:pt idx="2138">
                  <c:v>144.81804519036115</c:v>
                </c:pt>
                <c:pt idx="2139">
                  <c:v>146.45928848728823</c:v>
                </c:pt>
                <c:pt idx="2140">
                  <c:v>147.11186350612414</c:v>
                </c:pt>
                <c:pt idx="2141">
                  <c:v>143.60525086337526</c:v>
                </c:pt>
                <c:pt idx="2142">
                  <c:v>146.38833635243023</c:v>
                </c:pt>
                <c:pt idx="2143">
                  <c:v>146.44478183585113</c:v>
                </c:pt>
                <c:pt idx="2144">
                  <c:v>149.32325190328797</c:v>
                </c:pt>
                <c:pt idx="2145">
                  <c:v>150.16453298124082</c:v>
                </c:pt>
                <c:pt idx="2146">
                  <c:v>146.2256011873352</c:v>
                </c:pt>
                <c:pt idx="2147">
                  <c:v>148.27996114419545</c:v>
                </c:pt>
                <c:pt idx="2148">
                  <c:v>145.71376458242045</c:v>
                </c:pt>
                <c:pt idx="2149">
                  <c:v>148.8139188986919</c:v>
                </c:pt>
                <c:pt idx="2150">
                  <c:v>150.96543803793293</c:v>
                </c:pt>
                <c:pt idx="2151">
                  <c:v>154.10641665831608</c:v>
                </c:pt>
                <c:pt idx="2152">
                  <c:v>147.7246285867223</c:v>
                </c:pt>
                <c:pt idx="2153">
                  <c:v>149.36110602022637</c:v>
                </c:pt>
                <c:pt idx="2154">
                  <c:v>149.76010027724035</c:v>
                </c:pt>
                <c:pt idx="2155">
                  <c:v>149.60708868483985</c:v>
                </c:pt>
                <c:pt idx="2156">
                  <c:v>155.81932012928746</c:v>
                </c:pt>
                <c:pt idx="2157">
                  <c:v>158.53706734830689</c:v>
                </c:pt>
                <c:pt idx="2158">
                  <c:v>160.87935541332337</c:v>
                </c:pt>
                <c:pt idx="2159">
                  <c:v>154.73703354118012</c:v>
                </c:pt>
                <c:pt idx="2160">
                  <c:v>152.33285924680226</c:v>
                </c:pt>
                <c:pt idx="2161">
                  <c:v>155.07822131569253</c:v>
                </c:pt>
                <c:pt idx="2162">
                  <c:v>150.51736224018566</c:v>
                </c:pt>
                <c:pt idx="2163">
                  <c:v>148.59694310529019</c:v>
                </c:pt>
                <c:pt idx="2164">
                  <c:v>143.40207420072912</c:v>
                </c:pt>
                <c:pt idx="2165">
                  <c:v>141.52808279575515</c:v>
                </c:pt>
                <c:pt idx="2166">
                  <c:v>152.51924116779028</c:v>
                </c:pt>
                <c:pt idx="2167">
                  <c:v>151.48172152190091</c:v>
                </c:pt>
                <c:pt idx="2168">
                  <c:v>155.04572240657319</c:v>
                </c:pt>
                <c:pt idx="2169">
                  <c:v>158.50405075939273</c:v>
                </c:pt>
                <c:pt idx="2170">
                  <c:v>162.35590723110855</c:v>
                </c:pt>
                <c:pt idx="2171">
                  <c:v>162.85637922527698</c:v>
                </c:pt>
                <c:pt idx="2172">
                  <c:v>158.94642688268047</c:v>
                </c:pt>
                <c:pt idx="2173">
                  <c:v>160.81492619061643</c:v>
                </c:pt>
                <c:pt idx="2174">
                  <c:v>161.05100932054066</c:v>
                </c:pt>
                <c:pt idx="2175">
                  <c:v>164.93374599575591</c:v>
                </c:pt>
                <c:pt idx="2176">
                  <c:v>169.78017523434522</c:v>
                </c:pt>
                <c:pt idx="2177">
                  <c:v>172.47345992231098</c:v>
                </c:pt>
                <c:pt idx="2178">
                  <c:v>178.05374550784498</c:v>
                </c:pt>
                <c:pt idx="2179">
                  <c:v>178.66604185793503</c:v>
                </c:pt>
                <c:pt idx="2180">
                  <c:v>178.91513550508131</c:v>
                </c:pt>
                <c:pt idx="2181">
                  <c:v>184.10206966493635</c:v>
                </c:pt>
                <c:pt idx="2182">
                  <c:v>193.76531641908142</c:v>
                </c:pt>
                <c:pt idx="2183">
                  <c:v>205.36309545798497</c:v>
                </c:pt>
                <c:pt idx="2184">
                  <c:v>211.4293318901579</c:v>
                </c:pt>
                <c:pt idx="2185">
                  <c:v>214.91104135706973</c:v>
                </c:pt>
                <c:pt idx="2186">
                  <c:v>220.50622394196401</c:v>
                </c:pt>
                <c:pt idx="2187">
                  <c:v>222.9171673822776</c:v>
                </c:pt>
                <c:pt idx="2188">
                  <c:v>229.18516956914374</c:v>
                </c:pt>
                <c:pt idx="2189">
                  <c:v>235.39031390736127</c:v>
                </c:pt>
                <c:pt idx="2190">
                  <c:v>242.69111219568083</c:v>
                </c:pt>
                <c:pt idx="2191">
                  <c:v>252.40980200898355</c:v>
                </c:pt>
                <c:pt idx="2192">
                  <c:v>263.78033659856681</c:v>
                </c:pt>
                <c:pt idx="2193">
                  <c:v>274.72299202630654</c:v>
                </c:pt>
                <c:pt idx="2194">
                  <c:v>280.8737782474953</c:v>
                </c:pt>
                <c:pt idx="2195">
                  <c:v>281.1123423241047</c:v>
                </c:pt>
                <c:pt idx="2196">
                  <c:v>278.42548133438112</c:v>
                </c:pt>
                <c:pt idx="2197">
                  <c:v>288.28595221872041</c:v>
                </c:pt>
                <c:pt idx="2198">
                  <c:v>287.00848519669978</c:v>
                </c:pt>
                <c:pt idx="2199">
                  <c:v>282.69466293635719</c:v>
                </c:pt>
                <c:pt idx="2200">
                  <c:v>273.99770153717014</c:v>
                </c:pt>
                <c:pt idx="2201">
                  <c:v>268.77777860172318</c:v>
                </c:pt>
                <c:pt idx="2202">
                  <c:v>262.08707172849131</c:v>
                </c:pt>
                <c:pt idx="2203">
                  <c:v>253.92348099197628</c:v>
                </c:pt>
                <c:pt idx="2204">
                  <c:v>258.28262130906398</c:v>
                </c:pt>
                <c:pt idx="2205">
                  <c:v>260.74215976196933</c:v>
                </c:pt>
                <c:pt idx="2206">
                  <c:v>254.26667266782866</c:v>
                </c:pt>
                <c:pt idx="2207">
                  <c:v>248.18041557398567</c:v>
                </c:pt>
                <c:pt idx="2208">
                  <c:v>240.75562339874512</c:v>
                </c:pt>
                <c:pt idx="2209">
                  <c:v>245.03089353607166</c:v>
                </c:pt>
                <c:pt idx="2210">
                  <c:v>254.92908052853949</c:v>
                </c:pt>
                <c:pt idx="2211">
                  <c:v>255.92123898790203</c:v>
                </c:pt>
                <c:pt idx="2212">
                  <c:v>260.64679917138488</c:v>
                </c:pt>
                <c:pt idx="2213">
                  <c:v>270.99369127176408</c:v>
                </c:pt>
                <c:pt idx="2214">
                  <c:v>282.75957034859499</c:v>
                </c:pt>
                <c:pt idx="2215">
                  <c:v>295.49321145337348</c:v>
                </c:pt>
                <c:pt idx="2216">
                  <c:v>296.44613239868966</c:v>
                </c:pt>
                <c:pt idx="2217">
                  <c:v>296.29275368500612</c:v>
                </c:pt>
                <c:pt idx="2218">
                  <c:v>299.62007079627091</c:v>
                </c:pt>
                <c:pt idx="2219">
                  <c:v>299.8620372844245</c:v>
                </c:pt>
                <c:pt idx="2220">
                  <c:v>299.22615092557322</c:v>
                </c:pt>
                <c:pt idx="2221">
                  <c:v>301.00401840352026</c:v>
                </c:pt>
                <c:pt idx="2222">
                  <c:v>302.74646117668567</c:v>
                </c:pt>
                <c:pt idx="2223">
                  <c:v>305.91855536541863</c:v>
                </c:pt>
                <c:pt idx="2224">
                  <c:v>309.35864012827204</c:v>
                </c:pt>
                <c:pt idx="2225">
                  <c:v>318.30930956375386</c:v>
                </c:pt>
                <c:pt idx="2226">
                  <c:v>316.13202873066501</c:v>
                </c:pt>
                <c:pt idx="2227">
                  <c:v>326.81074134317856</c:v>
                </c:pt>
                <c:pt idx="2228">
                  <c:v>346.93631769077865</c:v>
                </c:pt>
                <c:pt idx="2229">
                  <c:v>348.41534712983594</c:v>
                </c:pt>
                <c:pt idx="2230">
                  <c:v>346.36911325485164</c:v>
                </c:pt>
                <c:pt idx="2231">
                  <c:v>362.0459623061659</c:v>
                </c:pt>
                <c:pt idx="2232">
                  <c:v>377.47498965147071</c:v>
                </c:pt>
                <c:pt idx="2233">
                  <c:v>343.72579930713158</c:v>
                </c:pt>
                <c:pt idx="2234">
                  <c:v>339.14061684821434</c:v>
                </c:pt>
                <c:pt idx="2235">
                  <c:v>348.322276202073</c:v>
                </c:pt>
                <c:pt idx="2236">
                  <c:v>355.47124086545131</c:v>
                </c:pt>
                <c:pt idx="2237">
                  <c:v>349.63370334629394</c:v>
                </c:pt>
                <c:pt idx="2238">
                  <c:v>346.84673442779632</c:v>
                </c:pt>
                <c:pt idx="2239">
                  <c:v>355.39264127182514</c:v>
                </c:pt>
                <c:pt idx="2240">
                  <c:v>353.79167411714513</c:v>
                </c:pt>
                <c:pt idx="2241">
                  <c:v>357.57364123404784</c:v>
                </c:pt>
                <c:pt idx="2242">
                  <c:v>352.69958034519743</c:v>
                </c:pt>
                <c:pt idx="2243">
                  <c:v>346.10611275077088</c:v>
                </c:pt>
                <c:pt idx="2244">
                  <c:v>356.38578504066976</c:v>
                </c:pt>
                <c:pt idx="2245">
                  <c:v>375.01881100699848</c:v>
                </c:pt>
                <c:pt idx="2246">
                  <c:v>412.13252805390715</c:v>
                </c:pt>
                <c:pt idx="2247">
                  <c:v>411.01239585544261</c:v>
                </c:pt>
                <c:pt idx="2248">
                  <c:v>423.28691064530273</c:v>
                </c:pt>
                <c:pt idx="2249">
                  <c:v>422.58331945085479</c:v>
                </c:pt>
                <c:pt idx="2250">
                  <c:v>415.63878163565835</c:v>
                </c:pt>
                <c:pt idx="2251">
                  <c:v>417.20467870082234</c:v>
                </c:pt>
                <c:pt idx="2252">
                  <c:v>409.50361534356807</c:v>
                </c:pt>
                <c:pt idx="2253">
                  <c:v>405.82264891176266</c:v>
                </c:pt>
                <c:pt idx="2254">
                  <c:v>409.34638725501031</c:v>
                </c:pt>
                <c:pt idx="2255">
                  <c:v>403.09064207538552</c:v>
                </c:pt>
                <c:pt idx="2256">
                  <c:v>396.38065303303154</c:v>
                </c:pt>
                <c:pt idx="2257">
                  <c:v>395.86660141342065</c:v>
                </c:pt>
                <c:pt idx="2258">
                  <c:v>417.25629842902129</c:v>
                </c:pt>
                <c:pt idx="2259">
                  <c:v>433.78494770747659</c:v>
                </c:pt>
                <c:pt idx="2260">
                  <c:v>407.1321491881759</c:v>
                </c:pt>
                <c:pt idx="2261">
                  <c:v>400.18402721960831</c:v>
                </c:pt>
                <c:pt idx="2262">
                  <c:v>382.55104032265393</c:v>
                </c:pt>
                <c:pt idx="2263">
                  <c:v>367.53449381772646</c:v>
                </c:pt>
                <c:pt idx="2264">
                  <c:v>358.31137189413118</c:v>
                </c:pt>
                <c:pt idx="2265">
                  <c:v>359.95082645997593</c:v>
                </c:pt>
                <c:pt idx="2266">
                  <c:v>348.40786006157009</c:v>
                </c:pt>
                <c:pt idx="2267">
                  <c:v>340.57023038928986</c:v>
                </c:pt>
                <c:pt idx="2268">
                  <c:v>328.21950438542859</c:v>
                </c:pt>
                <c:pt idx="2269">
                  <c:v>317.76235854002925</c:v>
                </c:pt>
                <c:pt idx="2270">
                  <c:v>325.4879403107887</c:v>
                </c:pt>
                <c:pt idx="2271">
                  <c:v>331.33199964699628</c:v>
                </c:pt>
                <c:pt idx="2272">
                  <c:v>330.58763640329136</c:v>
                </c:pt>
                <c:pt idx="2273">
                  <c:v>326.10670000962818</c:v>
                </c:pt>
                <c:pt idx="2274">
                  <c:v>319.09788650977708</c:v>
                </c:pt>
                <c:pt idx="2275">
                  <c:v>324.0423391413803</c:v>
                </c:pt>
                <c:pt idx="2276">
                  <c:v>323.22629879603971</c:v>
                </c:pt>
                <c:pt idx="2277">
                  <c:v>315.50281358075716</c:v>
                </c:pt>
                <c:pt idx="2278">
                  <c:v>306.33967168675326</c:v>
                </c:pt>
                <c:pt idx="2279">
                  <c:v>303.60694553295292</c:v>
                </c:pt>
                <c:pt idx="2280">
                  <c:v>303.45491250962709</c:v>
                </c:pt>
                <c:pt idx="2281">
                  <c:v>299.22060533746759</c:v>
                </c:pt>
                <c:pt idx="2282">
                  <c:v>302.56014100629193</c:v>
                </c:pt>
                <c:pt idx="2283">
                  <c:v>277.23483022070724</c:v>
                </c:pt>
                <c:pt idx="2284">
                  <c:v>283.98238931770311</c:v>
                </c:pt>
                <c:pt idx="2285">
                  <c:v>285.28070421391152</c:v>
                </c:pt>
                <c:pt idx="2286">
                  <c:v>269.21860321477584</c:v>
                </c:pt>
                <c:pt idx="2287">
                  <c:v>264.33104773057624</c:v>
                </c:pt>
                <c:pt idx="2288">
                  <c:v>260.15542004062371</c:v>
                </c:pt>
                <c:pt idx="2289">
                  <c:v>259.4239933103633</c:v>
                </c:pt>
                <c:pt idx="2290">
                  <c:v>253.83531014948804</c:v>
                </c:pt>
                <c:pt idx="2291">
                  <c:v>246.77483143078373</c:v>
                </c:pt>
                <c:pt idx="2292">
                  <c:v>236.59844501158221</c:v>
                </c:pt>
                <c:pt idx="2293">
                  <c:v>237.01461649062713</c:v>
                </c:pt>
                <c:pt idx="2294">
                  <c:v>236.8527722632042</c:v>
                </c:pt>
                <c:pt idx="2295">
                  <c:v>245.68443737991998</c:v>
                </c:pt>
                <c:pt idx="2296">
                  <c:v>255.3890990284923</c:v>
                </c:pt>
                <c:pt idx="2297">
                  <c:v>239.64865765120769</c:v>
                </c:pt>
                <c:pt idx="2298">
                  <c:v>235.14476631794099</c:v>
                </c:pt>
                <c:pt idx="2299">
                  <c:v>239.08991358809843</c:v>
                </c:pt>
                <c:pt idx="2300">
                  <c:v>233.12805492080952</c:v>
                </c:pt>
                <c:pt idx="2301">
                  <c:v>231.71043152593415</c:v>
                </c:pt>
                <c:pt idx="2302">
                  <c:v>234.77929030528261</c:v>
                </c:pt>
                <c:pt idx="2303">
                  <c:v>228.02092982893623</c:v>
                </c:pt>
                <c:pt idx="2304">
                  <c:v>223.9790593024135</c:v>
                </c:pt>
                <c:pt idx="2305">
                  <c:v>215.15047262942258</c:v>
                </c:pt>
                <c:pt idx="2306">
                  <c:v>214.40267588000663</c:v>
                </c:pt>
                <c:pt idx="2307">
                  <c:v>233.9316272400051</c:v>
                </c:pt>
                <c:pt idx="2308">
                  <c:v>222.70223690298457</c:v>
                </c:pt>
                <c:pt idx="2309">
                  <c:v>215.51312928627382</c:v>
                </c:pt>
                <c:pt idx="2310">
                  <c:v>217.74124767030088</c:v>
                </c:pt>
                <c:pt idx="2311">
                  <c:v>210.49428454474955</c:v>
                </c:pt>
                <c:pt idx="2312">
                  <c:v>211.41346860006109</c:v>
                </c:pt>
                <c:pt idx="2313">
                  <c:v>221.73435527592972</c:v>
                </c:pt>
                <c:pt idx="2314">
                  <c:v>214.70260750843869</c:v>
                </c:pt>
                <c:pt idx="2315">
                  <c:v>205.02520979150842</c:v>
                </c:pt>
                <c:pt idx="2316">
                  <c:v>204.24240834667378</c:v>
                </c:pt>
                <c:pt idx="2317">
                  <c:v>236.1919694246246</c:v>
                </c:pt>
                <c:pt idx="2318">
                  <c:v>241.80319143378864</c:v>
                </c:pt>
                <c:pt idx="2319">
                  <c:v>224.84584839426907</c:v>
                </c:pt>
                <c:pt idx="2320">
                  <c:v>205.39080569855483</c:v>
                </c:pt>
                <c:pt idx="2321">
                  <c:v>207.6751650645771</c:v>
                </c:pt>
                <c:pt idx="2322">
                  <c:v>214.43849094308274</c:v>
                </c:pt>
                <c:pt idx="2323">
                  <c:v>222.08427976129033</c:v>
                </c:pt>
                <c:pt idx="2324">
                  <c:v>225.53726663397777</c:v>
                </c:pt>
                <c:pt idx="2325">
                  <c:v>229.30241584495062</c:v>
                </c:pt>
                <c:pt idx="2326">
                  <c:v>239.82493509642495</c:v>
                </c:pt>
                <c:pt idx="2327">
                  <c:v>239.90405944895804</c:v>
                </c:pt>
                <c:pt idx="2328">
                  <c:v>243.09775435742375</c:v>
                </c:pt>
                <c:pt idx="2329">
                  <c:v>245.1281630304066</c:v>
                </c:pt>
                <c:pt idx="2330">
                  <c:v>247.25329950267988</c:v>
                </c:pt>
                <c:pt idx="2331">
                  <c:v>249.43686229005161</c:v>
                </c:pt>
                <c:pt idx="2332">
                  <c:v>257.19569257131167</c:v>
                </c:pt>
                <c:pt idx="2333">
                  <c:v>266.54813435676499</c:v>
                </c:pt>
                <c:pt idx="2334">
                  <c:v>268.95926182682683</c:v>
                </c:pt>
                <c:pt idx="2335">
                  <c:v>263.99324750864298</c:v>
                </c:pt>
                <c:pt idx="2336">
                  <c:v>263.83653227539787</c:v>
                </c:pt>
                <c:pt idx="2337">
                  <c:v>268.67327866983345</c:v>
                </c:pt>
                <c:pt idx="2338">
                  <c:v>274.06778760609586</c:v>
                </c:pt>
                <c:pt idx="2339">
                  <c:v>272.4795395010517</c:v>
                </c:pt>
                <c:pt idx="2340">
                  <c:v>271.81559568898035</c:v>
                </c:pt>
                <c:pt idx="2341">
                  <c:v>268.18402173303411</c:v>
                </c:pt>
                <c:pt idx="2342">
                  <c:v>272.10119312218791</c:v>
                </c:pt>
                <c:pt idx="2343">
                  <c:v>273.05145300748751</c:v>
                </c:pt>
                <c:pt idx="2344">
                  <c:v>268.35755259468857</c:v>
                </c:pt>
                <c:pt idx="2345">
                  <c:v>256.96630470849385</c:v>
                </c:pt>
                <c:pt idx="2346">
                  <c:v>255.18632930311935</c:v>
                </c:pt>
                <c:pt idx="2347">
                  <c:v>264.30092057683822</c:v>
                </c:pt>
                <c:pt idx="2348">
                  <c:v>265.12444421931701</c:v>
                </c:pt>
                <c:pt idx="2349">
                  <c:v>264.88063262505432</c:v>
                </c:pt>
                <c:pt idx="2350">
                  <c:v>265.87195767886578</c:v>
                </c:pt>
                <c:pt idx="2351">
                  <c:v>263.76075668296841</c:v>
                </c:pt>
                <c:pt idx="2352">
                  <c:v>260.50198520872544</c:v>
                </c:pt>
                <c:pt idx="2353">
                  <c:v>259.3509515155709</c:v>
                </c:pt>
                <c:pt idx="2354">
                  <c:v>262.38322951328627</c:v>
                </c:pt>
                <c:pt idx="2355">
                  <c:v>258.59292716797057</c:v>
                </c:pt>
                <c:pt idx="2356">
                  <c:v>255.819154664503</c:v>
                </c:pt>
                <c:pt idx="2357">
                  <c:v>248.53856608008505</c:v>
                </c:pt>
                <c:pt idx="2358">
                  <c:v>249.43845998845828</c:v>
                </c:pt>
                <c:pt idx="2359">
                  <c:v>251.0280766103736</c:v>
                </c:pt>
                <c:pt idx="2360">
                  <c:v>245.60380124205071</c:v>
                </c:pt>
                <c:pt idx="2361">
                  <c:v>239.25540051486988</c:v>
                </c:pt>
                <c:pt idx="2362">
                  <c:v>244.09210005584836</c:v>
                </c:pt>
                <c:pt idx="2363">
                  <c:v>248.19748638571804</c:v>
                </c:pt>
                <c:pt idx="2364">
                  <c:v>247.62166019485616</c:v>
                </c:pt>
                <c:pt idx="2365">
                  <c:v>239.87573921681968</c:v>
                </c:pt>
                <c:pt idx="2366">
                  <c:v>237.15676666571227</c:v>
                </c:pt>
                <c:pt idx="2367">
                  <c:v>244.37298950201637</c:v>
                </c:pt>
                <c:pt idx="2368">
                  <c:v>249.27640137509269</c:v>
                </c:pt>
                <c:pt idx="2369">
                  <c:v>249.81818333316554</c:v>
                </c:pt>
                <c:pt idx="2370">
                  <c:v>246.51725998759341</c:v>
                </c:pt>
                <c:pt idx="2371">
                  <c:v>257.8116191152273</c:v>
                </c:pt>
                <c:pt idx="2372">
                  <c:v>259.63142341235533</c:v>
                </c:pt>
                <c:pt idx="2373">
                  <c:v>259.57852927324387</c:v>
                </c:pt>
                <c:pt idx="2374">
                  <c:v>249.48609922584035</c:v>
                </c:pt>
                <c:pt idx="2375">
                  <c:v>242.75201068877072</c:v>
                </c:pt>
                <c:pt idx="2376">
                  <c:v>247.2672346974783</c:v>
                </c:pt>
                <c:pt idx="2377">
                  <c:v>245.45758215099664</c:v>
                </c:pt>
                <c:pt idx="2378">
                  <c:v>242.45611650889208</c:v>
                </c:pt>
                <c:pt idx="2379">
                  <c:v>237.29879628388287</c:v>
                </c:pt>
                <c:pt idx="2380">
                  <c:v>232.27332083223547</c:v>
                </c:pt>
                <c:pt idx="2381">
                  <c:v>225.21786856170468</c:v>
                </c:pt>
                <c:pt idx="2382">
                  <c:v>232.61646964465723</c:v>
                </c:pt>
                <c:pt idx="2383">
                  <c:v>236.5270959760864</c:v>
                </c:pt>
                <c:pt idx="2384">
                  <c:v>236.42386388131681</c:v>
                </c:pt>
                <c:pt idx="2385">
                  <c:v>236.57850890302072</c:v>
                </c:pt>
                <c:pt idx="2386">
                  <c:v>236.72116496957563</c:v>
                </c:pt>
                <c:pt idx="2387">
                  <c:v>235.37951014435902</c:v>
                </c:pt>
                <c:pt idx="2388">
                  <c:v>233.29148004789553</c:v>
                </c:pt>
                <c:pt idx="2389">
                  <c:v>230.25900563176654</c:v>
                </c:pt>
                <c:pt idx="2390">
                  <c:v>230.74015010664306</c:v>
                </c:pt>
                <c:pt idx="2391">
                  <c:v>235.77826997166926</c:v>
                </c:pt>
                <c:pt idx="2392">
                  <c:v>234.70452945038397</c:v>
                </c:pt>
                <c:pt idx="2393">
                  <c:v>229.8061234713243</c:v>
                </c:pt>
                <c:pt idx="2394">
                  <c:v>227.0440666740044</c:v>
                </c:pt>
                <c:pt idx="2395">
                  <c:v>220.91681699411888</c:v>
                </c:pt>
                <c:pt idx="2396">
                  <c:v>225.1973578582118</c:v>
                </c:pt>
                <c:pt idx="2397">
                  <c:v>224.06289810445185</c:v>
                </c:pt>
                <c:pt idx="2398">
                  <c:v>227.92543706231814</c:v>
                </c:pt>
                <c:pt idx="2399">
                  <c:v>224.35667605427045</c:v>
                </c:pt>
                <c:pt idx="2400">
                  <c:v>226.51983453341549</c:v>
                </c:pt>
                <c:pt idx="2401">
                  <c:v>230.28552704965381</c:v>
                </c:pt>
                <c:pt idx="2402">
                  <c:v>231.42976015523533</c:v>
                </c:pt>
                <c:pt idx="2403">
                  <c:v>234.33529397910397</c:v>
                </c:pt>
                <c:pt idx="2404">
                  <c:v>233.70629811451226</c:v>
                </c:pt>
                <c:pt idx="2405">
                  <c:v>238.03425326063888</c:v>
                </c:pt>
                <c:pt idx="2406">
                  <c:v>243.48859025683987</c:v>
                </c:pt>
                <c:pt idx="2407">
                  <c:v>245.52962263649317</c:v>
                </c:pt>
                <c:pt idx="2408">
                  <c:v>251.03501981968648</c:v>
                </c:pt>
                <c:pt idx="2409">
                  <c:v>254.62545416364753</c:v>
                </c:pt>
                <c:pt idx="2410">
                  <c:v>247.69156594472287</c:v>
                </c:pt>
                <c:pt idx="2411">
                  <c:v>242.57893418721582</c:v>
                </c:pt>
                <c:pt idx="2412">
                  <c:v>241.88661877243581</c:v>
                </c:pt>
                <c:pt idx="2413">
                  <c:v>241.11960332268876</c:v>
                </c:pt>
                <c:pt idx="2414">
                  <c:v>246.28721580648843</c:v>
                </c:pt>
                <c:pt idx="2415">
                  <c:v>245.75827128683366</c:v>
                </c:pt>
                <c:pt idx="2416">
                  <c:v>242.98078881378217</c:v>
                </c:pt>
                <c:pt idx="2417">
                  <c:v>239.6474604803457</c:v>
                </c:pt>
                <c:pt idx="2418">
                  <c:v>240.33275407690027</c:v>
                </c:pt>
                <c:pt idx="2419">
                  <c:v>241.32952945089278</c:v>
                </c:pt>
                <c:pt idx="2420">
                  <c:v>238.51521389782266</c:v>
                </c:pt>
                <c:pt idx="2421">
                  <c:v>237.69919706537206</c:v>
                </c:pt>
                <c:pt idx="2422">
                  <c:v>243.18650108902276</c:v>
                </c:pt>
                <c:pt idx="2423">
                  <c:v>241.56494149299559</c:v>
                </c:pt>
                <c:pt idx="2424">
                  <c:v>242.12666189366945</c:v>
                </c:pt>
                <c:pt idx="2425">
                  <c:v>241.56887713593269</c:v>
                </c:pt>
                <c:pt idx="2426">
                  <c:v>240.72463551575402</c:v>
                </c:pt>
                <c:pt idx="2427">
                  <c:v>245.76895657284447</c:v>
                </c:pt>
                <c:pt idx="2428">
                  <c:v>243.51976151371082</c:v>
                </c:pt>
                <c:pt idx="2429">
                  <c:v>242.41202562140342</c:v>
                </c:pt>
                <c:pt idx="2430">
                  <c:v>239.97225641994385</c:v>
                </c:pt>
                <c:pt idx="2431">
                  <c:v>240.92067639421069</c:v>
                </c:pt>
                <c:pt idx="2432">
                  <c:v>243.86548484346744</c:v>
                </c:pt>
                <c:pt idx="2433">
                  <c:v>245.12846012657025</c:v>
                </c:pt>
                <c:pt idx="2434">
                  <c:v>245.96422375082358</c:v>
                </c:pt>
                <c:pt idx="2435">
                  <c:v>255.22337576062932</c:v>
                </c:pt>
                <c:pt idx="2436">
                  <c:v>253.81447107352022</c:v>
                </c:pt>
                <c:pt idx="2437">
                  <c:v>264.36785313213556</c:v>
                </c:pt>
                <c:pt idx="2438">
                  <c:v>267.16451542911841</c:v>
                </c:pt>
                <c:pt idx="2439">
                  <c:v>262.56496927346609</c:v>
                </c:pt>
                <c:pt idx="2440">
                  <c:v>252.99308611138315</c:v>
                </c:pt>
                <c:pt idx="2441">
                  <c:v>250.85702560026797</c:v>
                </c:pt>
                <c:pt idx="2442">
                  <c:v>254.14799455165237</c:v>
                </c:pt>
                <c:pt idx="2443">
                  <c:v>254.39016787668083</c:v>
                </c:pt>
                <c:pt idx="2444">
                  <c:v>250.43746204651325</c:v>
                </c:pt>
                <c:pt idx="2445">
                  <c:v>250.44801387098121</c:v>
                </c:pt>
                <c:pt idx="2446">
                  <c:v>246.84295009152584</c:v>
                </c:pt>
                <c:pt idx="2447">
                  <c:v>247.02656478902728</c:v>
                </c:pt>
                <c:pt idx="2448">
                  <c:v>240.05573048542854</c:v>
                </c:pt>
                <c:pt idx="2449">
                  <c:v>235.89882799558112</c:v>
                </c:pt>
                <c:pt idx="2450">
                  <c:v>232.82103877801373</c:v>
                </c:pt>
                <c:pt idx="2451">
                  <c:v>234.78244571055143</c:v>
                </c:pt>
                <c:pt idx="2452">
                  <c:v>234.37530531724889</c:v>
                </c:pt>
                <c:pt idx="2453">
                  <c:v>230.27031739767926</c:v>
                </c:pt>
                <c:pt idx="2454">
                  <c:v>230.10957180672872</c:v>
                </c:pt>
                <c:pt idx="2455">
                  <c:v>232.31974112744942</c:v>
                </c:pt>
                <c:pt idx="2456">
                  <c:v>231.13829295429795</c:v>
                </c:pt>
                <c:pt idx="2457">
                  <c:v>232.49943121819169</c:v>
                </c:pt>
                <c:pt idx="2458">
                  <c:v>232.26718559092294</c:v>
                </c:pt>
                <c:pt idx="2459">
                  <c:v>233.06298388858875</c:v>
                </c:pt>
                <c:pt idx="2460">
                  <c:v>225.31465499191924</c:v>
                </c:pt>
                <c:pt idx="2461">
                  <c:v>227.54145223136865</c:v>
                </c:pt>
                <c:pt idx="2462">
                  <c:v>223.79604578052204</c:v>
                </c:pt>
                <c:pt idx="2463">
                  <c:v>226.56766898389051</c:v>
                </c:pt>
                <c:pt idx="2464">
                  <c:v>225.59044480696772</c:v>
                </c:pt>
                <c:pt idx="2465">
                  <c:v>223.8831815533845</c:v>
                </c:pt>
                <c:pt idx="2466">
                  <c:v>232.95184602971781</c:v>
                </c:pt>
                <c:pt idx="2467">
                  <c:v>227.53705325619021</c:v>
                </c:pt>
                <c:pt idx="2468">
                  <c:v>228.15549299508154</c:v>
                </c:pt>
                <c:pt idx="2469">
                  <c:v>229.87624519880137</c:v>
                </c:pt>
                <c:pt idx="2470">
                  <c:v>235.43355744497859</c:v>
                </c:pt>
                <c:pt idx="2471">
                  <c:v>236.60836684543892</c:v>
                </c:pt>
                <c:pt idx="2472">
                  <c:v>235.26722938330701</c:v>
                </c:pt>
                <c:pt idx="2473">
                  <c:v>235.86692302678117</c:v>
                </c:pt>
                <c:pt idx="2474">
                  <c:v>234.70361826202151</c:v>
                </c:pt>
                <c:pt idx="2475">
                  <c:v>232.39133467916707</c:v>
                </c:pt>
                <c:pt idx="2476">
                  <c:v>232.19960957208963</c:v>
                </c:pt>
                <c:pt idx="2477">
                  <c:v>232.65932946135933</c:v>
                </c:pt>
                <c:pt idx="2478">
                  <c:v>235.72940567025955</c:v>
                </c:pt>
                <c:pt idx="2479">
                  <c:v>238.99482708054413</c:v>
                </c:pt>
                <c:pt idx="2480">
                  <c:v>239.38665309663685</c:v>
                </c:pt>
                <c:pt idx="2481">
                  <c:v>238.67187517835092</c:v>
                </c:pt>
                <c:pt idx="2482">
                  <c:v>232.37766508555421</c:v>
                </c:pt>
                <c:pt idx="2483">
                  <c:v>236.1734664652908</c:v>
                </c:pt>
                <c:pt idx="2484">
                  <c:v>237.75242196685141</c:v>
                </c:pt>
                <c:pt idx="2485">
                  <c:v>247.39820882747523</c:v>
                </c:pt>
                <c:pt idx="2486">
                  <c:v>246.97752585682201</c:v>
                </c:pt>
                <c:pt idx="2487">
                  <c:v>247.20740011417899</c:v>
                </c:pt>
                <c:pt idx="2488">
                  <c:v>249.75848132486016</c:v>
                </c:pt>
                <c:pt idx="2489">
                  <c:v>246.42651112009167</c:v>
                </c:pt>
                <c:pt idx="2490">
                  <c:v>242.08249923335293</c:v>
                </c:pt>
                <c:pt idx="2491">
                  <c:v>238.49662013631863</c:v>
                </c:pt>
                <c:pt idx="2492">
                  <c:v>243.69273809630801</c:v>
                </c:pt>
                <c:pt idx="2493">
                  <c:v>247.76839788736075</c:v>
                </c:pt>
                <c:pt idx="2494">
                  <c:v>246.88489370296469</c:v>
                </c:pt>
                <c:pt idx="2495">
                  <c:v>247.36202993635095</c:v>
                </c:pt>
                <c:pt idx="2496">
                  <c:v>253.72283741452625</c:v>
                </c:pt>
                <c:pt idx="2497">
                  <c:v>253.83396837687704</c:v>
                </c:pt>
                <c:pt idx="2498">
                  <c:v>254.53672570743066</c:v>
                </c:pt>
                <c:pt idx="2499">
                  <c:v>254.92938967338088</c:v>
                </c:pt>
                <c:pt idx="2500">
                  <c:v>254.54351833038197</c:v>
                </c:pt>
                <c:pt idx="2501">
                  <c:v>257.36852046983347</c:v>
                </c:pt>
                <c:pt idx="2502">
                  <c:v>259.91791280732991</c:v>
                </c:pt>
                <c:pt idx="2503">
                  <c:v>257.59649468617704</c:v>
                </c:pt>
                <c:pt idx="2504">
                  <c:v>255.49173751054843</c:v>
                </c:pt>
                <c:pt idx="2505">
                  <c:v>253.64100445835135</c:v>
                </c:pt>
                <c:pt idx="2506">
                  <c:v>258.31303719139152</c:v>
                </c:pt>
                <c:pt idx="2507">
                  <c:v>257.09913418231986</c:v>
                </c:pt>
                <c:pt idx="2508">
                  <c:v>258.26879977827355</c:v>
                </c:pt>
                <c:pt idx="2509">
                  <c:v>263.72404314978399</c:v>
                </c:pt>
                <c:pt idx="2510">
                  <c:v>259.96437594457984</c:v>
                </c:pt>
                <c:pt idx="2511">
                  <c:v>252.23745286664379</c:v>
                </c:pt>
                <c:pt idx="2512">
                  <c:v>260.39792919197998</c:v>
                </c:pt>
                <c:pt idx="2513">
                  <c:v>264.14171687898812</c:v>
                </c:pt>
                <c:pt idx="2514">
                  <c:v>263.08341293151454</c:v>
                </c:pt>
                <c:pt idx="2515">
                  <c:v>262.89718104369405</c:v>
                </c:pt>
                <c:pt idx="2516">
                  <c:v>257.97650249262637</c:v>
                </c:pt>
                <c:pt idx="2517">
                  <c:v>255.84842268769259</c:v>
                </c:pt>
                <c:pt idx="2518">
                  <c:v>256.11960989117932</c:v>
                </c:pt>
                <c:pt idx="2519">
                  <c:v>254.82854219529716</c:v>
                </c:pt>
                <c:pt idx="2520">
                  <c:v>251.62881222423891</c:v>
                </c:pt>
                <c:pt idx="2521">
                  <c:v>252.07357630056885</c:v>
                </c:pt>
                <c:pt idx="2522">
                  <c:v>253.34934928800857</c:v>
                </c:pt>
                <c:pt idx="2523">
                  <c:v>246.26425135852853</c:v>
                </c:pt>
                <c:pt idx="2524">
                  <c:v>241.01308511190237</c:v>
                </c:pt>
                <c:pt idx="2525">
                  <c:v>242.91225523741326</c:v>
                </c:pt>
                <c:pt idx="2526">
                  <c:v>236.50499685090676</c:v>
                </c:pt>
                <c:pt idx="2527">
                  <c:v>234.57851183555493</c:v>
                </c:pt>
                <c:pt idx="2528">
                  <c:v>240.00247066871032</c:v>
                </c:pt>
                <c:pt idx="2529">
                  <c:v>239.25978496156657</c:v>
                </c:pt>
                <c:pt idx="2530">
                  <c:v>236.18437158984347</c:v>
                </c:pt>
                <c:pt idx="2531">
                  <c:v>236.54087917782633</c:v>
                </c:pt>
                <c:pt idx="2532">
                  <c:v>242.86511324572294</c:v>
                </c:pt>
                <c:pt idx="2533">
                  <c:v>244.75929868905712</c:v>
                </c:pt>
                <c:pt idx="2534">
                  <c:v>245.18303286831076</c:v>
                </c:pt>
                <c:pt idx="2535">
                  <c:v>247.41654677247183</c:v>
                </c:pt>
                <c:pt idx="2536">
                  <c:v>246.83470759996334</c:v>
                </c:pt>
                <c:pt idx="2537">
                  <c:v>244.73248415029181</c:v>
                </c:pt>
                <c:pt idx="2538">
                  <c:v>247.3190954899903</c:v>
                </c:pt>
                <c:pt idx="2539">
                  <c:v>243.23765882431525</c:v>
                </c:pt>
                <c:pt idx="2540">
                  <c:v>238.48456816929024</c:v>
                </c:pt>
                <c:pt idx="2541">
                  <c:v>244.23125726846686</c:v>
                </c:pt>
                <c:pt idx="2542">
                  <c:v>244.69310501029111</c:v>
                </c:pt>
                <c:pt idx="2543">
                  <c:v>243.88306261776836</c:v>
                </c:pt>
                <c:pt idx="2544">
                  <c:v>243.92567275051962</c:v>
                </c:pt>
                <c:pt idx="2545">
                  <c:v>243.31315838643198</c:v>
                </c:pt>
                <c:pt idx="2546">
                  <c:v>236.01246504291794</c:v>
                </c:pt>
                <c:pt idx="2547">
                  <c:v>232.41098141623863</c:v>
                </c:pt>
                <c:pt idx="2548">
                  <c:v>232.33251498622758</c:v>
                </c:pt>
                <c:pt idx="2549">
                  <c:v>233.15896860532928</c:v>
                </c:pt>
                <c:pt idx="2550">
                  <c:v>230.68888021181331</c:v>
                </c:pt>
                <c:pt idx="2551">
                  <c:v>225.15792957631066</c:v>
                </c:pt>
                <c:pt idx="2552">
                  <c:v>229.09885223310806</c:v>
                </c:pt>
                <c:pt idx="2553">
                  <c:v>230.73454094785546</c:v>
                </c:pt>
                <c:pt idx="2554">
                  <c:v>232.08531387850985</c:v>
                </c:pt>
                <c:pt idx="2555">
                  <c:v>238.49593023484394</c:v>
                </c:pt>
                <c:pt idx="2556">
                  <c:v>235.40914508173327</c:v>
                </c:pt>
                <c:pt idx="2557">
                  <c:v>235.87229694505996</c:v>
                </c:pt>
                <c:pt idx="2558">
                  <c:v>237.4783210522277</c:v>
                </c:pt>
                <c:pt idx="2559">
                  <c:v>236.74557122975665</c:v>
                </c:pt>
                <c:pt idx="2560">
                  <c:v>231.67761986693148</c:v>
                </c:pt>
                <c:pt idx="2561">
                  <c:v>233.16685936032246</c:v>
                </c:pt>
                <c:pt idx="2562">
                  <c:v>233.10718612269343</c:v>
                </c:pt>
                <c:pt idx="2563">
                  <c:v>232.2481028725029</c:v>
                </c:pt>
                <c:pt idx="2564">
                  <c:v>232.72264212321491</c:v>
                </c:pt>
                <c:pt idx="2565">
                  <c:v>227.71771899895907</c:v>
                </c:pt>
                <c:pt idx="2566">
                  <c:v>226.26626676421677</c:v>
                </c:pt>
                <c:pt idx="2567">
                  <c:v>228.7051677230271</c:v>
                </c:pt>
                <c:pt idx="2568">
                  <c:v>226.57785154826419</c:v>
                </c:pt>
                <c:pt idx="2569">
                  <c:v>220.90908445106712</c:v>
                </c:pt>
                <c:pt idx="2570">
                  <c:v>211.65546165333029</c:v>
                </c:pt>
                <c:pt idx="2571">
                  <c:v>216.46800052346345</c:v>
                </c:pt>
                <c:pt idx="2572">
                  <c:v>217.48406812400407</c:v>
                </c:pt>
                <c:pt idx="2573">
                  <c:v>216.43242315651483</c:v>
                </c:pt>
                <c:pt idx="2574">
                  <c:v>210.78492249898682</c:v>
                </c:pt>
                <c:pt idx="2575">
                  <c:v>202.29020157122503</c:v>
                </c:pt>
                <c:pt idx="2576">
                  <c:v>202.68423113368172</c:v>
                </c:pt>
                <c:pt idx="2577">
                  <c:v>199.11341004210382</c:v>
                </c:pt>
                <c:pt idx="2578">
                  <c:v>199.36941910814352</c:v>
                </c:pt>
                <c:pt idx="2579">
                  <c:v>201.92880031647155</c:v>
                </c:pt>
                <c:pt idx="2580">
                  <c:v>202.79079004908886</c:v>
                </c:pt>
                <c:pt idx="2581">
                  <c:v>202.14666952111642</c:v>
                </c:pt>
                <c:pt idx="2582">
                  <c:v>202.5345865192439</c:v>
                </c:pt>
                <c:pt idx="2583">
                  <c:v>196.70350889066623</c:v>
                </c:pt>
                <c:pt idx="2584">
                  <c:v>197.90306089478844</c:v>
                </c:pt>
                <c:pt idx="2585">
                  <c:v>201.0427699057899</c:v>
                </c:pt>
                <c:pt idx="2586">
                  <c:v>198.69285367569964</c:v>
                </c:pt>
                <c:pt idx="2587">
                  <c:v>198.06983391101463</c:v>
                </c:pt>
                <c:pt idx="2588">
                  <c:v>200.04268447253176</c:v>
                </c:pt>
                <c:pt idx="2589">
                  <c:v>205.78004331494907</c:v>
                </c:pt>
                <c:pt idx="2590">
                  <c:v>205.22103894008077</c:v>
                </c:pt>
                <c:pt idx="2591">
                  <c:v>210.414242359691</c:v>
                </c:pt>
                <c:pt idx="2592">
                  <c:v>213.17314488786229</c:v>
                </c:pt>
                <c:pt idx="2593">
                  <c:v>214.97679115086802</c:v>
                </c:pt>
                <c:pt idx="2594">
                  <c:v>213.86599297101731</c:v>
                </c:pt>
                <c:pt idx="2595">
                  <c:v>211.89213879594735</c:v>
                </c:pt>
                <c:pt idx="2596">
                  <c:v>212.93468037395698</c:v>
                </c:pt>
                <c:pt idx="2597">
                  <c:v>214.52487417544071</c:v>
                </c:pt>
                <c:pt idx="2598">
                  <c:v>213.68425897056821</c:v>
                </c:pt>
                <c:pt idx="2599">
                  <c:v>216.05539986463629</c:v>
                </c:pt>
                <c:pt idx="2600">
                  <c:v>221.7889619790337</c:v>
                </c:pt>
                <c:pt idx="2601">
                  <c:v>221.23104662433425</c:v>
                </c:pt>
                <c:pt idx="2602">
                  <c:v>215.91507974038561</c:v>
                </c:pt>
                <c:pt idx="2603">
                  <c:v>215.74171416786001</c:v>
                </c:pt>
                <c:pt idx="2604">
                  <c:v>218.22234244035235</c:v>
                </c:pt>
                <c:pt idx="2605">
                  <c:v>216.5064378713592</c:v>
                </c:pt>
                <c:pt idx="2606">
                  <c:v>215.69817854457776</c:v>
                </c:pt>
                <c:pt idx="2607">
                  <c:v>218.58343922581508</c:v>
                </c:pt>
                <c:pt idx="2608">
                  <c:v>210.03940044825754</c:v>
                </c:pt>
                <c:pt idx="2609">
                  <c:v>209.33167688165275</c:v>
                </c:pt>
                <c:pt idx="2610">
                  <c:v>209.80850029617849</c:v>
                </c:pt>
                <c:pt idx="2611">
                  <c:v>204.83170578268943</c:v>
                </c:pt>
                <c:pt idx="2612">
                  <c:v>200.14340921116656</c:v>
                </c:pt>
                <c:pt idx="2613">
                  <c:v>196.1703595984971</c:v>
                </c:pt>
                <c:pt idx="2614">
                  <c:v>200.42312931594526</c:v>
                </c:pt>
                <c:pt idx="2615">
                  <c:v>203.93659256470147</c:v>
                </c:pt>
                <c:pt idx="2616">
                  <c:v>207.80281679060971</c:v>
                </c:pt>
                <c:pt idx="2617">
                  <c:v>211.17606295476119</c:v>
                </c:pt>
                <c:pt idx="2618">
                  <c:v>213.17176065634391</c:v>
                </c:pt>
                <c:pt idx="2619">
                  <c:v>214.91496324855569</c:v>
                </c:pt>
                <c:pt idx="2620">
                  <c:v>224.27103098382676</c:v>
                </c:pt>
                <c:pt idx="2621">
                  <c:v>215.68379085910553</c:v>
                </c:pt>
                <c:pt idx="2622">
                  <c:v>217.84606452034572</c:v>
                </c:pt>
                <c:pt idx="2623">
                  <c:v>218.82304443280219</c:v>
                </c:pt>
                <c:pt idx="2624">
                  <c:v>219.79565996947059</c:v>
                </c:pt>
                <c:pt idx="2625">
                  <c:v>217.08897037989493</c:v>
                </c:pt>
                <c:pt idx="2626">
                  <c:v>212.9722883782872</c:v>
                </c:pt>
                <c:pt idx="2627">
                  <c:v>214.23328425557787</c:v>
                </c:pt>
                <c:pt idx="2628">
                  <c:v>217.33010929453621</c:v>
                </c:pt>
                <c:pt idx="2629">
                  <c:v>222.57886480071897</c:v>
                </c:pt>
                <c:pt idx="2630">
                  <c:v>225.16813824587558</c:v>
                </c:pt>
                <c:pt idx="2631">
                  <c:v>223.49251121993157</c:v>
                </c:pt>
                <c:pt idx="2632">
                  <c:v>222.14722816546751</c:v>
                </c:pt>
                <c:pt idx="2633">
                  <c:v>223.19765210832583</c:v>
                </c:pt>
                <c:pt idx="2634">
                  <c:v>221.84498764730549</c:v>
                </c:pt>
                <c:pt idx="2635">
                  <c:v>221.31367833941383</c:v>
                </c:pt>
                <c:pt idx="2636">
                  <c:v>224.24081682183404</c:v>
                </c:pt>
                <c:pt idx="2637">
                  <c:v>223.436031103842</c:v>
                </c:pt>
                <c:pt idx="2638">
                  <c:v>229.93473304203539</c:v>
                </c:pt>
                <c:pt idx="2639">
                  <c:v>234.75730709441828</c:v>
                </c:pt>
                <c:pt idx="2640">
                  <c:v>234.87851420643082</c:v>
                </c:pt>
                <c:pt idx="2641">
                  <c:v>233.00867793312244</c:v>
                </c:pt>
                <c:pt idx="2642">
                  <c:v>237.84797112903857</c:v>
                </c:pt>
                <c:pt idx="2643">
                  <c:v>233.863589004115</c:v>
                </c:pt>
                <c:pt idx="2644">
                  <c:v>229.97448305959475</c:v>
                </c:pt>
                <c:pt idx="2645">
                  <c:v>229.86835480623773</c:v>
                </c:pt>
                <c:pt idx="2646">
                  <c:v>229.52894933255618</c:v>
                </c:pt>
                <c:pt idx="2647">
                  <c:v>232.78537333580894</c:v>
                </c:pt>
                <c:pt idx="2648">
                  <c:v>235.9719563719828</c:v>
                </c:pt>
                <c:pt idx="2649">
                  <c:v>240.18962737510631</c:v>
                </c:pt>
                <c:pt idx="2650">
                  <c:v>240.91737824329735</c:v>
                </c:pt>
                <c:pt idx="2651">
                  <c:v>241.52131453292745</c:v>
                </c:pt>
                <c:pt idx="2652">
                  <c:v>236.84693671110406</c:v>
                </c:pt>
                <c:pt idx="2653">
                  <c:v>241.72720980597492</c:v>
                </c:pt>
                <c:pt idx="2654">
                  <c:v>246.46626072270391</c:v>
                </c:pt>
                <c:pt idx="2655">
                  <c:v>247.2324225888849</c:v>
                </c:pt>
                <c:pt idx="2656">
                  <c:v>242.97400114450318</c:v>
                </c:pt>
                <c:pt idx="2657">
                  <c:v>242.07337738679206</c:v>
                </c:pt>
                <c:pt idx="2658">
                  <c:v>239.42321829812695</c:v>
                </c:pt>
                <c:pt idx="2659">
                  <c:v>239.95830175217995</c:v>
                </c:pt>
                <c:pt idx="2660">
                  <c:v>240.12319844568225</c:v>
                </c:pt>
                <c:pt idx="2661">
                  <c:v>234.55480185383377</c:v>
                </c:pt>
                <c:pt idx="2662">
                  <c:v>238.65646607344124</c:v>
                </c:pt>
                <c:pt idx="2663">
                  <c:v>239.97211495456895</c:v>
                </c:pt>
                <c:pt idx="2664">
                  <c:v>241.94596890871568</c:v>
                </c:pt>
                <c:pt idx="2665">
                  <c:v>248.09701229978754</c:v>
                </c:pt>
                <c:pt idx="2666">
                  <c:v>250.54029681253382</c:v>
                </c:pt>
                <c:pt idx="2667">
                  <c:v>248.99693389905298</c:v>
                </c:pt>
                <c:pt idx="2668">
                  <c:v>247.476321158075</c:v>
                </c:pt>
                <c:pt idx="2669">
                  <c:v>246.52800098924979</c:v>
                </c:pt>
                <c:pt idx="2670">
                  <c:v>248.1462660697874</c:v>
                </c:pt>
                <c:pt idx="2671">
                  <c:v>246.54865130762366</c:v>
                </c:pt>
                <c:pt idx="2672">
                  <c:v>246.71526891401254</c:v>
                </c:pt>
                <c:pt idx="2673">
                  <c:v>248.06047838206055</c:v>
                </c:pt>
                <c:pt idx="2674">
                  <c:v>248.33401210111774</c:v>
                </c:pt>
                <c:pt idx="2675">
                  <c:v>247.29230843120044</c:v>
                </c:pt>
                <c:pt idx="2676">
                  <c:v>248.56052347043271</c:v>
                </c:pt>
                <c:pt idx="2677">
                  <c:v>248.15930935456944</c:v>
                </c:pt>
                <c:pt idx="2678">
                  <c:v>237.99636007596033</c:v>
                </c:pt>
                <c:pt idx="2679">
                  <c:v>238.25712315923525</c:v>
                </c:pt>
                <c:pt idx="2680">
                  <c:v>237.63146840607919</c:v>
                </c:pt>
                <c:pt idx="2681">
                  <c:v>233.39268718785505</c:v>
                </c:pt>
                <c:pt idx="2682">
                  <c:v>235.48242797236182</c:v>
                </c:pt>
                <c:pt idx="2683">
                  <c:v>241.45172860270719</c:v>
                </c:pt>
                <c:pt idx="2684">
                  <c:v>241.4972793208191</c:v>
                </c:pt>
                <c:pt idx="2685">
                  <c:v>236.51549666851591</c:v>
                </c:pt>
                <c:pt idx="2686">
                  <c:v>237.08242786902008</c:v>
                </c:pt>
                <c:pt idx="2687">
                  <c:v>232.6168522878302</c:v>
                </c:pt>
                <c:pt idx="2688">
                  <c:v>233.92980270466666</c:v>
                </c:pt>
                <c:pt idx="2689">
                  <c:v>234.52345298466165</c:v>
                </c:pt>
                <c:pt idx="2690">
                  <c:v>230.74532573028941</c:v>
                </c:pt>
                <c:pt idx="2691">
                  <c:v>225.85867890532239</c:v>
                </c:pt>
                <c:pt idx="2692">
                  <c:v>224.42111372569988</c:v>
                </c:pt>
                <c:pt idx="2693">
                  <c:v>224.79437555887228</c:v>
                </c:pt>
                <c:pt idx="2694">
                  <c:v>219.72501772931574</c:v>
                </c:pt>
                <c:pt idx="2695">
                  <c:v>216.9653824959166</c:v>
                </c:pt>
                <c:pt idx="2696">
                  <c:v>214.69036161140136</c:v>
                </c:pt>
                <c:pt idx="2697">
                  <c:v>216.61599108563007</c:v>
                </c:pt>
                <c:pt idx="2698">
                  <c:v>209.1927774637997</c:v>
                </c:pt>
                <c:pt idx="2699">
                  <c:v>209.34934804777694</c:v>
                </c:pt>
                <c:pt idx="2700">
                  <c:v>216.00835589062669</c:v>
                </c:pt>
                <c:pt idx="2701">
                  <c:v>221.95834051971946</c:v>
                </c:pt>
                <c:pt idx="2702">
                  <c:v>222.27491025545154</c:v>
                </c:pt>
                <c:pt idx="2703">
                  <c:v>217.76099067473626</c:v>
                </c:pt>
                <c:pt idx="2704">
                  <c:v>219.30888057926049</c:v>
                </c:pt>
                <c:pt idx="2705">
                  <c:v>219.33502517099333</c:v>
                </c:pt>
                <c:pt idx="2706">
                  <c:v>218.04315860358039</c:v>
                </c:pt>
                <c:pt idx="2707">
                  <c:v>214.85400514601201</c:v>
                </c:pt>
                <c:pt idx="2708">
                  <c:v>215.13174894708686</c:v>
                </c:pt>
                <c:pt idx="2709">
                  <c:v>216.53075341914024</c:v>
                </c:pt>
                <c:pt idx="2710">
                  <c:v>222.74869059814642</c:v>
                </c:pt>
                <c:pt idx="2711">
                  <c:v>221.1760964039928</c:v>
                </c:pt>
                <c:pt idx="2712">
                  <c:v>217.40377021017579</c:v>
                </c:pt>
                <c:pt idx="2713">
                  <c:v>205.69094746975412</c:v>
                </c:pt>
                <c:pt idx="2714">
                  <c:v>212.11750633465027</c:v>
                </c:pt>
                <c:pt idx="2715">
                  <c:v>212.86827142266171</c:v>
                </c:pt>
                <c:pt idx="2716">
                  <c:v>216.17853541396076</c:v>
                </c:pt>
                <c:pt idx="2717">
                  <c:v>214.22748530763147</c:v>
                </c:pt>
                <c:pt idx="2718">
                  <c:v>213.55975770038071</c:v>
                </c:pt>
                <c:pt idx="2719">
                  <c:v>211.15163639666977</c:v>
                </c:pt>
                <c:pt idx="2720">
                  <c:v>210.18123766767116</c:v>
                </c:pt>
                <c:pt idx="2721">
                  <c:v>211.08880669785631</c:v>
                </c:pt>
                <c:pt idx="2722">
                  <c:v>205.34154331214282</c:v>
                </c:pt>
                <c:pt idx="2723">
                  <c:v>204.12991967965826</c:v>
                </c:pt>
                <c:pt idx="2724">
                  <c:v>204.65949618286754</c:v>
                </c:pt>
                <c:pt idx="2725">
                  <c:v>204.29529129911677</c:v>
                </c:pt>
                <c:pt idx="2726">
                  <c:v>202.17711877041677</c:v>
                </c:pt>
                <c:pt idx="2727">
                  <c:v>199.85202530720738</c:v>
                </c:pt>
                <c:pt idx="2728">
                  <c:v>196.8151558959519</c:v>
                </c:pt>
                <c:pt idx="2729">
                  <c:v>195.0402905484946</c:v>
                </c:pt>
                <c:pt idx="2730">
                  <c:v>195.79464820464662</c:v>
                </c:pt>
                <c:pt idx="2731">
                  <c:v>195.188435087481</c:v>
                </c:pt>
                <c:pt idx="2732">
                  <c:v>194.15979728874754</c:v>
                </c:pt>
                <c:pt idx="2733">
                  <c:v>194.21605615618907</c:v>
                </c:pt>
                <c:pt idx="2734">
                  <c:v>195.69583702718765</c:v>
                </c:pt>
                <c:pt idx="2735">
                  <c:v>199.17655035554927</c:v>
                </c:pt>
                <c:pt idx="2736">
                  <c:v>198.6410753098545</c:v>
                </c:pt>
                <c:pt idx="2737">
                  <c:v>197.54496888024906</c:v>
                </c:pt>
                <c:pt idx="2738">
                  <c:v>200.58347230657995</c:v>
                </c:pt>
                <c:pt idx="2739">
                  <c:v>208.17878880848048</c:v>
                </c:pt>
                <c:pt idx="2740">
                  <c:v>205.91597452128124</c:v>
                </c:pt>
                <c:pt idx="2741">
                  <c:v>207.80137628820469</c:v>
                </c:pt>
                <c:pt idx="2742">
                  <c:v>207.80265332491618</c:v>
                </c:pt>
                <c:pt idx="2743">
                  <c:v>208.06280623371509</c:v>
                </c:pt>
                <c:pt idx="2744">
                  <c:v>217.46636398657867</c:v>
                </c:pt>
                <c:pt idx="2745">
                  <c:v>211.9515147373132</c:v>
                </c:pt>
                <c:pt idx="2746">
                  <c:v>208.38014111009525</c:v>
                </c:pt>
                <c:pt idx="2747">
                  <c:v>210.09430467537121</c:v>
                </c:pt>
                <c:pt idx="2748">
                  <c:v>211.11832379555011</c:v>
                </c:pt>
                <c:pt idx="2749">
                  <c:v>208.64197897769935</c:v>
                </c:pt>
                <c:pt idx="2750">
                  <c:v>209.14319380028664</c:v>
                </c:pt>
                <c:pt idx="2751">
                  <c:v>207.88139561057676</c:v>
                </c:pt>
                <c:pt idx="2752">
                  <c:v>206.44017689078942</c:v>
                </c:pt>
                <c:pt idx="2753">
                  <c:v>205.96548619976573</c:v>
                </c:pt>
                <c:pt idx="2754">
                  <c:v>203.30535124522703</c:v>
                </c:pt>
                <c:pt idx="2755">
                  <c:v>202.35870416116225</c:v>
                </c:pt>
                <c:pt idx="2756">
                  <c:v>202.51286965922813</c:v>
                </c:pt>
                <c:pt idx="2757">
                  <c:v>202.26795828536123</c:v>
                </c:pt>
                <c:pt idx="2758">
                  <c:v>200.2330077316266</c:v>
                </c:pt>
                <c:pt idx="2759">
                  <c:v>197.07022480521039</c:v>
                </c:pt>
                <c:pt idx="2760">
                  <c:v>192.6535642311016</c:v>
                </c:pt>
                <c:pt idx="2761">
                  <c:v>191.58549159188925</c:v>
                </c:pt>
                <c:pt idx="2762">
                  <c:v>188.55058983106619</c:v>
                </c:pt>
                <c:pt idx="2763">
                  <c:v>188.40806415362084</c:v>
                </c:pt>
                <c:pt idx="2764">
                  <c:v>186.85994134991938</c:v>
                </c:pt>
                <c:pt idx="2765">
                  <c:v>185.11593715668712</c:v>
                </c:pt>
                <c:pt idx="2766">
                  <c:v>184.52491271871637</c:v>
                </c:pt>
                <c:pt idx="2767">
                  <c:v>182.70054372940388</c:v>
                </c:pt>
                <c:pt idx="2768">
                  <c:v>179.09216221944675</c:v>
                </c:pt>
                <c:pt idx="2769">
                  <c:v>180.10944130639641</c:v>
                </c:pt>
                <c:pt idx="2770">
                  <c:v>180.69583584912564</c:v>
                </c:pt>
                <c:pt idx="2771">
                  <c:v>170.77031350729879</c:v>
                </c:pt>
                <c:pt idx="2772">
                  <c:v>170.09783422665492</c:v>
                </c:pt>
                <c:pt idx="2773">
                  <c:v>168.50408169781278</c:v>
                </c:pt>
                <c:pt idx="2774">
                  <c:v>168.82302428305769</c:v>
                </c:pt>
                <c:pt idx="2775">
                  <c:v>171.92252509533961</c:v>
                </c:pt>
                <c:pt idx="2776">
                  <c:v>171.43065056750814</c:v>
                </c:pt>
                <c:pt idx="2777">
                  <c:v>170.31405122229009</c:v>
                </c:pt>
                <c:pt idx="2778">
                  <c:v>170.42617741913421</c:v>
                </c:pt>
                <c:pt idx="2779">
                  <c:v>171.94717101969147</c:v>
                </c:pt>
                <c:pt idx="2780">
                  <c:v>171.15830367991006</c:v>
                </c:pt>
                <c:pt idx="2781">
                  <c:v>168.69830548613015</c:v>
                </c:pt>
                <c:pt idx="2782">
                  <c:v>169.64053100306501</c:v>
                </c:pt>
                <c:pt idx="2783">
                  <c:v>169.88468513202386</c:v>
                </c:pt>
                <c:pt idx="2784">
                  <c:v>170.29953498522303</c:v>
                </c:pt>
                <c:pt idx="2785">
                  <c:v>169.75641156604422</c:v>
                </c:pt>
                <c:pt idx="2786">
                  <c:v>167.95232732475407</c:v>
                </c:pt>
                <c:pt idx="2787">
                  <c:v>165.33186528824811</c:v>
                </c:pt>
                <c:pt idx="2788">
                  <c:v>163.50401005970801</c:v>
                </c:pt>
                <c:pt idx="2789">
                  <c:v>159.31320055628984</c:v>
                </c:pt>
                <c:pt idx="2790">
                  <c:v>160.12921227562393</c:v>
                </c:pt>
                <c:pt idx="2791">
                  <c:v>160.82958425084692</c:v>
                </c:pt>
                <c:pt idx="2792">
                  <c:v>160.38441947298864</c:v>
                </c:pt>
                <c:pt idx="2793">
                  <c:v>159.61010603236454</c:v>
                </c:pt>
                <c:pt idx="2794">
                  <c:v>155.6142014445021</c:v>
                </c:pt>
                <c:pt idx="2795">
                  <c:v>155.10773298673345</c:v>
                </c:pt>
                <c:pt idx="2796">
                  <c:v>156.31514041180449</c:v>
                </c:pt>
                <c:pt idx="2797">
                  <c:v>157.93638816963315</c:v>
                </c:pt>
                <c:pt idx="2798">
                  <c:v>163.34326911948821</c:v>
                </c:pt>
                <c:pt idx="2799">
                  <c:v>166.82250097786206</c:v>
                </c:pt>
                <c:pt idx="2800">
                  <c:v>170.20225711261946</c:v>
                </c:pt>
                <c:pt idx="2801">
                  <c:v>167.59894201394732</c:v>
                </c:pt>
                <c:pt idx="2802">
                  <c:v>165.24749318221114</c:v>
                </c:pt>
                <c:pt idx="2803">
                  <c:v>165.05484020905115</c:v>
                </c:pt>
                <c:pt idx="2804">
                  <c:v>166.65665849704934</c:v>
                </c:pt>
                <c:pt idx="2805">
                  <c:v>165.33180589876272</c:v>
                </c:pt>
                <c:pt idx="2806">
                  <c:v>166.8635885485713</c:v>
                </c:pt>
                <c:pt idx="2807">
                  <c:v>167.18509195828841</c:v>
                </c:pt>
                <c:pt idx="2808">
                  <c:v>166.4445702898212</c:v>
                </c:pt>
                <c:pt idx="2809">
                  <c:v>167.95087092120761</c:v>
                </c:pt>
                <c:pt idx="2810">
                  <c:v>165.83540667812235</c:v>
                </c:pt>
                <c:pt idx="2811">
                  <c:v>163.99344906280427</c:v>
                </c:pt>
                <c:pt idx="2812">
                  <c:v>164.10175427080625</c:v>
                </c:pt>
                <c:pt idx="2813">
                  <c:v>165.45664246565286</c:v>
                </c:pt>
                <c:pt idx="2814">
                  <c:v>163.97038188114598</c:v>
                </c:pt>
                <c:pt idx="2815">
                  <c:v>165.02733584395699</c:v>
                </c:pt>
                <c:pt idx="2816">
                  <c:v>164.10772495050216</c:v>
                </c:pt>
                <c:pt idx="2817">
                  <c:v>163.53639007951455</c:v>
                </c:pt>
                <c:pt idx="2818">
                  <c:v>163.7321442829849</c:v>
                </c:pt>
                <c:pt idx="2819">
                  <c:v>162.74073887967916</c:v>
                </c:pt>
                <c:pt idx="2820">
                  <c:v>157.40559822560652</c:v>
                </c:pt>
                <c:pt idx="2821">
                  <c:v>156.29233182207292</c:v>
                </c:pt>
                <c:pt idx="2822">
                  <c:v>156.15714729611858</c:v>
                </c:pt>
                <c:pt idx="2823">
                  <c:v>158.29255498044427</c:v>
                </c:pt>
                <c:pt idx="2824">
                  <c:v>161.63787713765748</c:v>
                </c:pt>
                <c:pt idx="2825">
                  <c:v>156.09626217172482</c:v>
                </c:pt>
                <c:pt idx="2826">
                  <c:v>159.81666605651318</c:v>
                </c:pt>
                <c:pt idx="2827">
                  <c:v>157.8297725604269</c:v>
                </c:pt>
                <c:pt idx="2828">
                  <c:v>160.69576474829012</c:v>
                </c:pt>
                <c:pt idx="2829">
                  <c:v>158.32244125941037</c:v>
                </c:pt>
                <c:pt idx="2830">
                  <c:v>158.72652204977882</c:v>
                </c:pt>
                <c:pt idx="2831">
                  <c:v>159.42651270123889</c:v>
                </c:pt>
                <c:pt idx="2832">
                  <c:v>158.93682660594976</c:v>
                </c:pt>
                <c:pt idx="2833">
                  <c:v>156.77387769318872</c:v>
                </c:pt>
                <c:pt idx="2834">
                  <c:v>166.87499431703918</c:v>
                </c:pt>
                <c:pt idx="2835">
                  <c:v>160.34872121974504</c:v>
                </c:pt>
                <c:pt idx="2836">
                  <c:v>167.21947695376582</c:v>
                </c:pt>
                <c:pt idx="2837">
                  <c:v>166.66574619019059</c:v>
                </c:pt>
                <c:pt idx="2838">
                  <c:v>166.7723030048061</c:v>
                </c:pt>
                <c:pt idx="2839">
                  <c:v>161.64747032377991</c:v>
                </c:pt>
                <c:pt idx="2840">
                  <c:v>166.99650444124802</c:v>
                </c:pt>
                <c:pt idx="2841">
                  <c:v>168.50900922842004</c:v>
                </c:pt>
                <c:pt idx="2842">
                  <c:v>172.68965327934043</c:v>
                </c:pt>
                <c:pt idx="2843">
                  <c:v>169.83640400465094</c:v>
                </c:pt>
                <c:pt idx="2844">
                  <c:v>170.22630217570065</c:v>
                </c:pt>
                <c:pt idx="2845">
                  <c:v>172.11077729920291</c:v>
                </c:pt>
                <c:pt idx="2846">
                  <c:v>170.1036500607409</c:v>
                </c:pt>
                <c:pt idx="2847">
                  <c:v>166.32729153457771</c:v>
                </c:pt>
                <c:pt idx="2848">
                  <c:v>156.07855155324134</c:v>
                </c:pt>
                <c:pt idx="2849">
                  <c:v>155.63972892698413</c:v>
                </c:pt>
                <c:pt idx="2850">
                  <c:v>156.13041548945418</c:v>
                </c:pt>
                <c:pt idx="2851">
                  <c:v>161.53600025076341</c:v>
                </c:pt>
                <c:pt idx="2852">
                  <c:v>155.78762559505958</c:v>
                </c:pt>
                <c:pt idx="2853">
                  <c:v>154.06588629709191</c:v>
                </c:pt>
                <c:pt idx="2854">
                  <c:v>145.24780264257438</c:v>
                </c:pt>
                <c:pt idx="2855">
                  <c:v>145.8102508860205</c:v>
                </c:pt>
                <c:pt idx="2856">
                  <c:v>146.91497036689759</c:v>
                </c:pt>
                <c:pt idx="2857">
                  <c:v>147.08190740804636</c:v>
                </c:pt>
                <c:pt idx="2858">
                  <c:v>145.13175497033501</c:v>
                </c:pt>
                <c:pt idx="2859">
                  <c:v>145.22070172106751</c:v>
                </c:pt>
                <c:pt idx="2860">
                  <c:v>148.33892802967961</c:v>
                </c:pt>
                <c:pt idx="2861">
                  <c:v>147.13645492193905</c:v>
                </c:pt>
                <c:pt idx="2862">
                  <c:v>141.93959897663845</c:v>
                </c:pt>
                <c:pt idx="2863">
                  <c:v>142.99541956430082</c:v>
                </c:pt>
                <c:pt idx="2864">
                  <c:v>140.99964900527806</c:v>
                </c:pt>
                <c:pt idx="2865">
                  <c:v>136.00274452514748</c:v>
                </c:pt>
                <c:pt idx="2866">
                  <c:v>131.02636075100597</c:v>
                </c:pt>
                <c:pt idx="2867">
                  <c:v>135.16800618818391</c:v>
                </c:pt>
                <c:pt idx="2868">
                  <c:v>140.15245479123888</c:v>
                </c:pt>
                <c:pt idx="2869">
                  <c:v>136.52940104749641</c:v>
                </c:pt>
                <c:pt idx="2870">
                  <c:v>128.1265722698142</c:v>
                </c:pt>
                <c:pt idx="2871">
                  <c:v>132.61590579547754</c:v>
                </c:pt>
                <c:pt idx="2872">
                  <c:v>130.72792590400726</c:v>
                </c:pt>
                <c:pt idx="2873">
                  <c:v>139.40788347797508</c:v>
                </c:pt>
                <c:pt idx="2874">
                  <c:v>143.29421614726027</c:v>
                </c:pt>
                <c:pt idx="2875">
                  <c:v>140.58181053996429</c:v>
                </c:pt>
                <c:pt idx="2876">
                  <c:v>149.93131795803939</c:v>
                </c:pt>
                <c:pt idx="2877">
                  <c:v>153.64376591015576</c:v>
                </c:pt>
                <c:pt idx="2878">
                  <c:v>149.70936235290407</c:v>
                </c:pt>
                <c:pt idx="2879">
                  <c:v>174.93180845414437</c:v>
                </c:pt>
                <c:pt idx="2880">
                  <c:v>172.05269675463938</c:v>
                </c:pt>
                <c:pt idx="2881">
                  <c:v>166.18784714303499</c:v>
                </c:pt>
                <c:pt idx="2882">
                  <c:v>158.59528584872803</c:v>
                </c:pt>
                <c:pt idx="2883">
                  <c:v>166.4801479029052</c:v>
                </c:pt>
                <c:pt idx="2884">
                  <c:v>171.16315848638808</c:v>
                </c:pt>
                <c:pt idx="2885">
                  <c:v>171.86411992300711</c:v>
                </c:pt>
                <c:pt idx="2886">
                  <c:v>166.10239622852995</c:v>
                </c:pt>
                <c:pt idx="2887">
                  <c:v>166.70441534136754</c:v>
                </c:pt>
                <c:pt idx="2888">
                  <c:v>166.8825851393978</c:v>
                </c:pt>
                <c:pt idx="2889">
                  <c:v>164.02265071712935</c:v>
                </c:pt>
                <c:pt idx="2890">
                  <c:v>162.43942451355466</c:v>
                </c:pt>
                <c:pt idx="2891">
                  <c:v>171.55518116860088</c:v>
                </c:pt>
                <c:pt idx="2892">
                  <c:v>174.42684535757641</c:v>
                </c:pt>
                <c:pt idx="2893">
                  <c:v>178.89902307391091</c:v>
                </c:pt>
                <c:pt idx="2894">
                  <c:v>182.01888746287054</c:v>
                </c:pt>
                <c:pt idx="2895">
                  <c:v>185.78588806459365</c:v>
                </c:pt>
                <c:pt idx="2896">
                  <c:v>183.9673002100852</c:v>
                </c:pt>
                <c:pt idx="2897">
                  <c:v>179.8783103566218</c:v>
                </c:pt>
                <c:pt idx="2898">
                  <c:v>187.53373980194073</c:v>
                </c:pt>
                <c:pt idx="2899">
                  <c:v>188.01741037738196</c:v>
                </c:pt>
                <c:pt idx="2900">
                  <c:v>188.87122548965434</c:v>
                </c:pt>
                <c:pt idx="2901">
                  <c:v>190.3600201994455</c:v>
                </c:pt>
                <c:pt idx="2902">
                  <c:v>190.10777571339091</c:v>
                </c:pt>
                <c:pt idx="2903">
                  <c:v>189.54219605065489</c:v>
                </c:pt>
                <c:pt idx="2904">
                  <c:v>192.81956064355347</c:v>
                </c:pt>
                <c:pt idx="2905">
                  <c:v>190.36087272172554</c:v>
                </c:pt>
                <c:pt idx="2906">
                  <c:v>187.95265487800924</c:v>
                </c:pt>
                <c:pt idx="2907">
                  <c:v>190.63061310035548</c:v>
                </c:pt>
                <c:pt idx="2908">
                  <c:v>187.90629868391284</c:v>
                </c:pt>
                <c:pt idx="2909">
                  <c:v>195.32095874004926</c:v>
                </c:pt>
                <c:pt idx="2910">
                  <c:v>196.70642167172815</c:v>
                </c:pt>
                <c:pt idx="2911">
                  <c:v>200.98071264088284</c:v>
                </c:pt>
                <c:pt idx="2912">
                  <c:v>195.86304029601456</c:v>
                </c:pt>
                <c:pt idx="2913">
                  <c:v>182.5093330693345</c:v>
                </c:pt>
                <c:pt idx="2914">
                  <c:v>182.79368624600909</c:v>
                </c:pt>
                <c:pt idx="2915">
                  <c:v>181.1999676382772</c:v>
                </c:pt>
                <c:pt idx="2916">
                  <c:v>178.99983233036312</c:v>
                </c:pt>
                <c:pt idx="2917">
                  <c:v>187.37174199685154</c:v>
                </c:pt>
                <c:pt idx="2918">
                  <c:v>186.06552562863061</c:v>
                </c:pt>
                <c:pt idx="2919">
                  <c:v>190.74352399307659</c:v>
                </c:pt>
                <c:pt idx="2920">
                  <c:v>188.34932137071692</c:v>
                </c:pt>
                <c:pt idx="2921">
                  <c:v>187.09991482598156</c:v>
                </c:pt>
                <c:pt idx="2922">
                  <c:v>186.15256340331214</c:v>
                </c:pt>
                <c:pt idx="2923">
                  <c:v>187.69479545627115</c:v>
                </c:pt>
                <c:pt idx="2924">
                  <c:v>191.15214771671126</c:v>
                </c:pt>
                <c:pt idx="2925">
                  <c:v>186.65773128864771</c:v>
                </c:pt>
                <c:pt idx="2926">
                  <c:v>183.75620831902611</c:v>
                </c:pt>
                <c:pt idx="2927">
                  <c:v>184.30714826000141</c:v>
                </c:pt>
                <c:pt idx="2928">
                  <c:v>186.89047756762793</c:v>
                </c:pt>
                <c:pt idx="2929">
                  <c:v>187.15415412712451</c:v>
                </c:pt>
                <c:pt idx="2930">
                  <c:v>188.82459496217035</c:v>
                </c:pt>
                <c:pt idx="2931">
                  <c:v>188.85906281662653</c:v>
                </c:pt>
                <c:pt idx="2932">
                  <c:v>192.4729485191319</c:v>
                </c:pt>
                <c:pt idx="2933">
                  <c:v>188.15298301250948</c:v>
                </c:pt>
                <c:pt idx="2934">
                  <c:v>196.43668232503046</c:v>
                </c:pt>
                <c:pt idx="2935">
                  <c:v>186.70451463545862</c:v>
                </c:pt>
                <c:pt idx="2936">
                  <c:v>181.46663875247523</c:v>
                </c:pt>
                <c:pt idx="2937">
                  <c:v>187.16508796407177</c:v>
                </c:pt>
                <c:pt idx="2938">
                  <c:v>185.08317983685171</c:v>
                </c:pt>
                <c:pt idx="2939">
                  <c:v>183.73515767493637</c:v>
                </c:pt>
                <c:pt idx="2940">
                  <c:v>185.82036357983804</c:v>
                </c:pt>
                <c:pt idx="2941">
                  <c:v>185.73634192455845</c:v>
                </c:pt>
                <c:pt idx="2942">
                  <c:v>186.72886401131552</c:v>
                </c:pt>
                <c:pt idx="2943">
                  <c:v>177.79909932612702</c:v>
                </c:pt>
                <c:pt idx="2944">
                  <c:v>183.24233096109697</c:v>
                </c:pt>
                <c:pt idx="2945">
                  <c:v>184.04750794826964</c:v>
                </c:pt>
                <c:pt idx="2946">
                  <c:v>183.50926897419106</c:v>
                </c:pt>
                <c:pt idx="2947">
                  <c:v>182.15099261286895</c:v>
                </c:pt>
                <c:pt idx="2948">
                  <c:v>179.61558540720685</c:v>
                </c:pt>
                <c:pt idx="2949">
                  <c:v>180.19910317410199</c:v>
                </c:pt>
                <c:pt idx="2950">
                  <c:v>181.58874294403134</c:v>
                </c:pt>
                <c:pt idx="2951">
                  <c:v>183.1051244719786</c:v>
                </c:pt>
                <c:pt idx="2952">
                  <c:v>181.96278225795754</c:v>
                </c:pt>
                <c:pt idx="2953">
                  <c:v>183.12828819916581</c:v>
                </c:pt>
                <c:pt idx="2954">
                  <c:v>181.11943629043657</c:v>
                </c:pt>
                <c:pt idx="2955">
                  <c:v>179.83558552599231</c:v>
                </c:pt>
                <c:pt idx="2956">
                  <c:v>179.57035521616248</c:v>
                </c:pt>
                <c:pt idx="2957">
                  <c:v>174.33484846655108</c:v>
                </c:pt>
                <c:pt idx="2958">
                  <c:v>175.68378508115484</c:v>
                </c:pt>
                <c:pt idx="2959">
                  <c:v>172.7556142593784</c:v>
                </c:pt>
                <c:pt idx="2960">
                  <c:v>165.512182739802</c:v>
                </c:pt>
                <c:pt idx="2961">
                  <c:v>169.02539354270633</c:v>
                </c:pt>
                <c:pt idx="2962">
                  <c:v>171.69873757613055</c:v>
                </c:pt>
                <c:pt idx="2963">
                  <c:v>168.40088389223703</c:v>
                </c:pt>
                <c:pt idx="2964">
                  <c:v>168.51929440884575</c:v>
                </c:pt>
                <c:pt idx="2965">
                  <c:v>168.02522557693112</c:v>
                </c:pt>
                <c:pt idx="2966">
                  <c:v>166.47086873033663</c:v>
                </c:pt>
                <c:pt idx="2967">
                  <c:v>165.8524436087167</c:v>
                </c:pt>
                <c:pt idx="2968">
                  <c:v>164.97515112870153</c:v>
                </c:pt>
                <c:pt idx="2969">
                  <c:v>163.22644958133381</c:v>
                </c:pt>
                <c:pt idx="2970">
                  <c:v>161.99018632440803</c:v>
                </c:pt>
                <c:pt idx="2971">
                  <c:v>160.40138305044897</c:v>
                </c:pt>
                <c:pt idx="2972">
                  <c:v>165.90063533833353</c:v>
                </c:pt>
                <c:pt idx="2973">
                  <c:v>165.3074087418272</c:v>
                </c:pt>
                <c:pt idx="2974">
                  <c:v>166.46410289052963</c:v>
                </c:pt>
                <c:pt idx="2975">
                  <c:v>169.87992571546627</c:v>
                </c:pt>
                <c:pt idx="2976">
                  <c:v>168.96196527151793</c:v>
                </c:pt>
                <c:pt idx="2977">
                  <c:v>167.69910953770221</c:v>
                </c:pt>
                <c:pt idx="2978">
                  <c:v>166.0393561704858</c:v>
                </c:pt>
                <c:pt idx="2979">
                  <c:v>166.48844020529631</c:v>
                </c:pt>
                <c:pt idx="2980">
                  <c:v>164.73507016984647</c:v>
                </c:pt>
                <c:pt idx="2981">
                  <c:v>165.5552019500673</c:v>
                </c:pt>
                <c:pt idx="2982">
                  <c:v>164.21612670721672</c:v>
                </c:pt>
                <c:pt idx="2983">
                  <c:v>164.41361854420489</c:v>
                </c:pt>
                <c:pt idx="2984">
                  <c:v>164.63416733815458</c:v>
                </c:pt>
                <c:pt idx="2985">
                  <c:v>161.19628581324793</c:v>
                </c:pt>
                <c:pt idx="2986">
                  <c:v>162.55790180926371</c:v>
                </c:pt>
                <c:pt idx="2987">
                  <c:v>167.11464840550849</c:v>
                </c:pt>
                <c:pt idx="2988">
                  <c:v>171.24873949526642</c:v>
                </c:pt>
                <c:pt idx="2989">
                  <c:v>174.1539555262502</c:v>
                </c:pt>
                <c:pt idx="2990">
                  <c:v>174.11691468774683</c:v>
                </c:pt>
                <c:pt idx="2991">
                  <c:v>174.89372921063725</c:v>
                </c:pt>
                <c:pt idx="2992">
                  <c:v>173.713411768523</c:v>
                </c:pt>
                <c:pt idx="2993">
                  <c:v>173.65073549364536</c:v>
                </c:pt>
                <c:pt idx="2994">
                  <c:v>175.72635643073187</c:v>
                </c:pt>
                <c:pt idx="2995">
                  <c:v>176.88922438874491</c:v>
                </c:pt>
                <c:pt idx="2996">
                  <c:v>174.55710028094521</c:v>
                </c:pt>
                <c:pt idx="2997">
                  <c:v>174.33686647997678</c:v>
                </c:pt>
                <c:pt idx="2998">
                  <c:v>174.53131523502466</c:v>
                </c:pt>
                <c:pt idx="2999">
                  <c:v>174.37543403354385</c:v>
                </c:pt>
                <c:pt idx="3000">
                  <c:v>173.48218415897952</c:v>
                </c:pt>
                <c:pt idx="3001">
                  <c:v>175.35631999323087</c:v>
                </c:pt>
                <c:pt idx="3002">
                  <c:v>175.34058812056458</c:v>
                </c:pt>
                <c:pt idx="3003">
                  <c:v>174.57798730362646</c:v>
                </c:pt>
                <c:pt idx="3004">
                  <c:v>175.68656564389815</c:v>
                </c:pt>
                <c:pt idx="3005">
                  <c:v>174.6860830527454</c:v>
                </c:pt>
                <c:pt idx="3006">
                  <c:v>172.682176007377</c:v>
                </c:pt>
                <c:pt idx="3007">
                  <c:v>172.98103652068357</c:v>
                </c:pt>
                <c:pt idx="3008">
                  <c:v>172.89750561436588</c:v>
                </c:pt>
                <c:pt idx="3009">
                  <c:v>171.43470727465487</c:v>
                </c:pt>
                <c:pt idx="3010">
                  <c:v>170.05264524912286</c:v>
                </c:pt>
                <c:pt idx="3011">
                  <c:v>169.88949853028538</c:v>
                </c:pt>
                <c:pt idx="3012">
                  <c:v>170.18006787107547</c:v>
                </c:pt>
                <c:pt idx="3013">
                  <c:v>165.15894694208032</c:v>
                </c:pt>
                <c:pt idx="3014">
                  <c:v>155.57559296500105</c:v>
                </c:pt>
                <c:pt idx="3015">
                  <c:v>154.87857141631144</c:v>
                </c:pt>
                <c:pt idx="3016">
                  <c:v>157.00380370304063</c:v>
                </c:pt>
                <c:pt idx="3017">
                  <c:v>159.48117697710549</c:v>
                </c:pt>
                <c:pt idx="3018">
                  <c:v>159.72183350161123</c:v>
                </c:pt>
                <c:pt idx="3019">
                  <c:v>160.32468841108556</c:v>
                </c:pt>
                <c:pt idx="3020">
                  <c:v>163.38875785194833</c:v>
                </c:pt>
                <c:pt idx="3021">
                  <c:v>162.35396429251057</c:v>
                </c:pt>
                <c:pt idx="3022">
                  <c:v>160.59102485748573</c:v>
                </c:pt>
                <c:pt idx="3023">
                  <c:v>164.20735217893278</c:v>
                </c:pt>
                <c:pt idx="3024">
                  <c:v>163.34869137324725</c:v>
                </c:pt>
                <c:pt idx="3025">
                  <c:v>162.03920758583965</c:v>
                </c:pt>
                <c:pt idx="3026">
                  <c:v>159.81527814958588</c:v>
                </c:pt>
                <c:pt idx="3027">
                  <c:v>157.57515913548463</c:v>
                </c:pt>
                <c:pt idx="3028">
                  <c:v>150.46599338979019</c:v>
                </c:pt>
                <c:pt idx="3029">
                  <c:v>153.6636485898882</c:v>
                </c:pt>
                <c:pt idx="3030">
                  <c:v>155.02072842612944</c:v>
                </c:pt>
                <c:pt idx="3031">
                  <c:v>154.81467758938572</c:v>
                </c:pt>
                <c:pt idx="3032">
                  <c:v>153.33559995247691</c:v>
                </c:pt>
                <c:pt idx="3033">
                  <c:v>157.61445242565711</c:v>
                </c:pt>
                <c:pt idx="3034">
                  <c:v>158.26800140906974</c:v>
                </c:pt>
                <c:pt idx="3035">
                  <c:v>159.38939401438648</c:v>
                </c:pt>
                <c:pt idx="3036">
                  <c:v>161.73393503034481</c:v>
                </c:pt>
                <c:pt idx="3037">
                  <c:v>162.03075854286769</c:v>
                </c:pt>
                <c:pt idx="3038">
                  <c:v>161.31342938577203</c:v>
                </c:pt>
                <c:pt idx="3039">
                  <c:v>161.16257113794518</c:v>
                </c:pt>
                <c:pt idx="3040">
                  <c:v>162.11680818480764</c:v>
                </c:pt>
                <c:pt idx="3041">
                  <c:v>161.62712764814322</c:v>
                </c:pt>
                <c:pt idx="3042">
                  <c:v>161.79697440236185</c:v>
                </c:pt>
                <c:pt idx="3043">
                  <c:v>161.68847750440449</c:v>
                </c:pt>
                <c:pt idx="3044">
                  <c:v>162.88525233800675</c:v>
                </c:pt>
                <c:pt idx="3045">
                  <c:v>162.17542409199316</c:v>
                </c:pt>
                <c:pt idx="3046">
                  <c:v>162.77602490833283</c:v>
                </c:pt>
                <c:pt idx="3047">
                  <c:v>163.09696260422874</c:v>
                </c:pt>
                <c:pt idx="3048">
                  <c:v>162.08935223797278</c:v>
                </c:pt>
                <c:pt idx="3049">
                  <c:v>163.03175633155504</c:v>
                </c:pt>
                <c:pt idx="3050">
                  <c:v>163.13002140641714</c:v>
                </c:pt>
                <c:pt idx="3051">
                  <c:v>163.64861604402955</c:v>
                </c:pt>
                <c:pt idx="3052">
                  <c:v>164.96073229915902</c:v>
                </c:pt>
                <c:pt idx="3053">
                  <c:v>167.29668613858115</c:v>
                </c:pt>
                <c:pt idx="3054">
                  <c:v>169.68384337093147</c:v>
                </c:pt>
                <c:pt idx="3055">
                  <c:v>172.78773838433051</c:v>
                </c:pt>
                <c:pt idx="3056">
                  <c:v>174.5448170498864</c:v>
                </c:pt>
                <c:pt idx="3057">
                  <c:v>174.43015449673683</c:v>
                </c:pt>
                <c:pt idx="3058">
                  <c:v>173.45228452194809</c:v>
                </c:pt>
                <c:pt idx="3059">
                  <c:v>173.78710862380186</c:v>
                </c:pt>
                <c:pt idx="3060">
                  <c:v>172.84662242845675</c:v>
                </c:pt>
                <c:pt idx="3061">
                  <c:v>173.00635944308104</c:v>
                </c:pt>
                <c:pt idx="3062">
                  <c:v>172.43873446325065</c:v>
                </c:pt>
                <c:pt idx="3063">
                  <c:v>173.71183363727388</c:v>
                </c:pt>
                <c:pt idx="3064">
                  <c:v>176.86070671340346</c:v>
                </c:pt>
                <c:pt idx="3065">
                  <c:v>177.78434043341122</c:v>
                </c:pt>
                <c:pt idx="3066">
                  <c:v>179.33619961995254</c:v>
                </c:pt>
                <c:pt idx="3067">
                  <c:v>177.98585804219218</c:v>
                </c:pt>
                <c:pt idx="3068">
                  <c:v>177.03939243650666</c:v>
                </c:pt>
                <c:pt idx="3069">
                  <c:v>176.12570722540545</c:v>
                </c:pt>
                <c:pt idx="3070">
                  <c:v>175.57096480214662</c:v>
                </c:pt>
                <c:pt idx="3071">
                  <c:v>174.57698963787166</c:v>
                </c:pt>
                <c:pt idx="3072">
                  <c:v>174.18947638034965</c:v>
                </c:pt>
                <c:pt idx="3073">
                  <c:v>173.12088886321663</c:v>
                </c:pt>
                <c:pt idx="3074">
                  <c:v>172.39432461769022</c:v>
                </c:pt>
                <c:pt idx="3075">
                  <c:v>171.26510587071886</c:v>
                </c:pt>
                <c:pt idx="3076">
                  <c:v>170.65574966220839</c:v>
                </c:pt>
                <c:pt idx="3077">
                  <c:v>171.17983974078834</c:v>
                </c:pt>
                <c:pt idx="3078">
                  <c:v>171.15594841703845</c:v>
                </c:pt>
                <c:pt idx="3079">
                  <c:v>169.71264909132503</c:v>
                </c:pt>
                <c:pt idx="3080">
                  <c:v>168.93967377267055</c:v>
                </c:pt>
                <c:pt idx="3081">
                  <c:v>168.35397573408733</c:v>
                </c:pt>
                <c:pt idx="3082">
                  <c:v>170.50274067203608</c:v>
                </c:pt>
                <c:pt idx="3083">
                  <c:v>168.89652413829566</c:v>
                </c:pt>
                <c:pt idx="3084">
                  <c:v>166.73243234859012</c:v>
                </c:pt>
                <c:pt idx="3085">
                  <c:v>164.16700166651032</c:v>
                </c:pt>
                <c:pt idx="3086">
                  <c:v>161.37968593942708</c:v>
                </c:pt>
                <c:pt idx="3087">
                  <c:v>161.12258604000428</c:v>
                </c:pt>
                <c:pt idx="3088">
                  <c:v>160.10166149910071</c:v>
                </c:pt>
                <c:pt idx="3089">
                  <c:v>155.41955327226711</c:v>
                </c:pt>
                <c:pt idx="3090">
                  <c:v>153.69118906998054</c:v>
                </c:pt>
                <c:pt idx="3091">
                  <c:v>152.81100743283747</c:v>
                </c:pt>
                <c:pt idx="3092">
                  <c:v>152.55640761828565</c:v>
                </c:pt>
                <c:pt idx="3093">
                  <c:v>146.48637849628554</c:v>
                </c:pt>
                <c:pt idx="3094">
                  <c:v>145.44810838418334</c:v>
                </c:pt>
                <c:pt idx="3095">
                  <c:v>145.24181371127727</c:v>
                </c:pt>
                <c:pt idx="3096">
                  <c:v>150.66058305220017</c:v>
                </c:pt>
                <c:pt idx="3097">
                  <c:v>153.44527932966474</c:v>
                </c:pt>
                <c:pt idx="3098">
                  <c:v>152.74105507563002</c:v>
                </c:pt>
                <c:pt idx="3099">
                  <c:v>152.80543383012582</c:v>
                </c:pt>
                <c:pt idx="3100">
                  <c:v>151.06893459807597</c:v>
                </c:pt>
                <c:pt idx="3101">
                  <c:v>153.77353262492966</c:v>
                </c:pt>
                <c:pt idx="3102">
                  <c:v>152.50153073459725</c:v>
                </c:pt>
                <c:pt idx="3103">
                  <c:v>151.21409468055813</c:v>
                </c:pt>
                <c:pt idx="3104">
                  <c:v>150.07875513163933</c:v>
                </c:pt>
                <c:pt idx="3105">
                  <c:v>146.17878796065128</c:v>
                </c:pt>
                <c:pt idx="3106">
                  <c:v>145.37968810693582</c:v>
                </c:pt>
                <c:pt idx="3107">
                  <c:v>145.88582423258111</c:v>
                </c:pt>
                <c:pt idx="3108">
                  <c:v>147.17644646094544</c:v>
                </c:pt>
                <c:pt idx="3109">
                  <c:v>145.93091818395595</c:v>
                </c:pt>
                <c:pt idx="3110">
                  <c:v>144.80963344542224</c:v>
                </c:pt>
                <c:pt idx="3111">
                  <c:v>141.64591665842121</c:v>
                </c:pt>
                <c:pt idx="3112">
                  <c:v>139.85163641907127</c:v>
                </c:pt>
                <c:pt idx="3113">
                  <c:v>141.60098365847492</c:v>
                </c:pt>
                <c:pt idx="3114">
                  <c:v>140.99791309860376</c:v>
                </c:pt>
                <c:pt idx="3115">
                  <c:v>144.81282887425684</c:v>
                </c:pt>
                <c:pt idx="3116">
                  <c:v>142.39405512087134</c:v>
                </c:pt>
                <c:pt idx="3117">
                  <c:v>142.93678729815244</c:v>
                </c:pt>
                <c:pt idx="3118">
                  <c:v>143.42836028793516</c:v>
                </c:pt>
                <c:pt idx="3119">
                  <c:v>143.85488421958928</c:v>
                </c:pt>
                <c:pt idx="3120">
                  <c:v>145.86934526303386</c:v>
                </c:pt>
                <c:pt idx="3121">
                  <c:v>144.58323345176456</c:v>
                </c:pt>
                <c:pt idx="3122">
                  <c:v>145.14617678354963</c:v>
                </c:pt>
                <c:pt idx="3123">
                  <c:v>144.31330774903401</c:v>
                </c:pt>
                <c:pt idx="3124">
                  <c:v>143.13610703346384</c:v>
                </c:pt>
                <c:pt idx="3125">
                  <c:v>144.01866263159411</c:v>
                </c:pt>
                <c:pt idx="3126">
                  <c:v>145.18317723014326</c:v>
                </c:pt>
                <c:pt idx="3127">
                  <c:v>144.72390552147178</c:v>
                </c:pt>
                <c:pt idx="3128">
                  <c:v>147.2349501658573</c:v>
                </c:pt>
                <c:pt idx="3129">
                  <c:v>147.90702925020872</c:v>
                </c:pt>
                <c:pt idx="3130">
                  <c:v>147.43747227389463</c:v>
                </c:pt>
                <c:pt idx="3131">
                  <c:v>147.20633431352542</c:v>
                </c:pt>
                <c:pt idx="3132">
                  <c:v>141.99053414173611</c:v>
                </c:pt>
                <c:pt idx="3133">
                  <c:v>141.09662377731533</c:v>
                </c:pt>
                <c:pt idx="3134">
                  <c:v>135.60006761403051</c:v>
                </c:pt>
                <c:pt idx="3135">
                  <c:v>138.83136925284637</c:v>
                </c:pt>
                <c:pt idx="3136">
                  <c:v>141.34229426947434</c:v>
                </c:pt>
                <c:pt idx="3137">
                  <c:v>140.57223583486746</c:v>
                </c:pt>
                <c:pt idx="3138">
                  <c:v>132.20218908369193</c:v>
                </c:pt>
                <c:pt idx="3139">
                  <c:v>129.17781836540888</c:v>
                </c:pt>
                <c:pt idx="3140">
                  <c:v>131.14114702993979</c:v>
                </c:pt>
                <c:pt idx="3141">
                  <c:v>132.9028411874236</c:v>
                </c:pt>
                <c:pt idx="3142">
                  <c:v>131.78423037148789</c:v>
                </c:pt>
                <c:pt idx="3143">
                  <c:v>138.73819383431271</c:v>
                </c:pt>
                <c:pt idx="3144">
                  <c:v>140.85435417668884</c:v>
                </c:pt>
                <c:pt idx="3145">
                  <c:v>140.50970278336089</c:v>
                </c:pt>
                <c:pt idx="3146">
                  <c:v>140.52043556387181</c:v>
                </c:pt>
                <c:pt idx="3147">
                  <c:v>142.18922659203611</c:v>
                </c:pt>
                <c:pt idx="3148">
                  <c:v>147.79810916950734</c:v>
                </c:pt>
                <c:pt idx="3149">
                  <c:v>148.88152719079065</c:v>
                </c:pt>
                <c:pt idx="3150">
                  <c:v>145.77526333024079</c:v>
                </c:pt>
                <c:pt idx="3151">
                  <c:v>143.20176350818107</c:v>
                </c:pt>
                <c:pt idx="3152">
                  <c:v>144.78907691354084</c:v>
                </c:pt>
                <c:pt idx="3153">
                  <c:v>147.45879770390343</c:v>
                </c:pt>
                <c:pt idx="3154">
                  <c:v>145.12608582349876</c:v>
                </c:pt>
                <c:pt idx="3155">
                  <c:v>143.88188333038133</c:v>
                </c:pt>
                <c:pt idx="3156">
                  <c:v>143.60083755809612</c:v>
                </c:pt>
                <c:pt idx="3157">
                  <c:v>143.73709600390001</c:v>
                </c:pt>
                <c:pt idx="3158">
                  <c:v>143.95193223293739</c:v>
                </c:pt>
                <c:pt idx="3159">
                  <c:v>143.10393423763443</c:v>
                </c:pt>
                <c:pt idx="3160">
                  <c:v>144.1311455232929</c:v>
                </c:pt>
                <c:pt idx="3161">
                  <c:v>144.75192709837586</c:v>
                </c:pt>
                <c:pt idx="3162">
                  <c:v>150.03929725635052</c:v>
                </c:pt>
                <c:pt idx="3163">
                  <c:v>138.43529459357924</c:v>
                </c:pt>
                <c:pt idx="3164">
                  <c:v>143.80000000000001</c:v>
                </c:pt>
                <c:pt idx="3165">
                  <c:v>143.55689782592702</c:v>
                </c:pt>
                <c:pt idx="3166">
                  <c:v>141.32420196646845</c:v>
                </c:pt>
                <c:pt idx="3167">
                  <c:v>137.73573608958472</c:v>
                </c:pt>
                <c:pt idx="3168">
                  <c:v>138.03521422306133</c:v>
                </c:pt>
                <c:pt idx="3169">
                  <c:v>140.16479360780366</c:v>
                </c:pt>
                <c:pt idx="3170">
                  <c:v>139</c:v>
                </c:pt>
                <c:pt idx="3171">
                  <c:v>136</c:v>
                </c:pt>
                <c:pt idx="3172">
                  <c:v>138</c:v>
                </c:pt>
                <c:pt idx="3173">
                  <c:v>135.7165733532527</c:v>
                </c:pt>
                <c:pt idx="3174">
                  <c:v>136.10716444659263</c:v>
                </c:pt>
                <c:pt idx="3175">
                  <c:v>137.26347566152887</c:v>
                </c:pt>
                <c:pt idx="3176">
                  <c:v>137.21527304334421</c:v>
                </c:pt>
                <c:pt idx="3177">
                  <c:v>137.141330359129</c:v>
                </c:pt>
                <c:pt idx="3178">
                  <c:v>136</c:v>
                </c:pt>
                <c:pt idx="3179">
                  <c:v>135</c:v>
                </c:pt>
                <c:pt idx="3180">
                  <c:v>133</c:v>
                </c:pt>
                <c:pt idx="3181">
                  <c:v>134</c:v>
                </c:pt>
                <c:pt idx="3182">
                  <c:v>133.75257705655389</c:v>
                </c:pt>
                <c:pt idx="3183">
                  <c:v>132.36171268069737</c:v>
                </c:pt>
                <c:pt idx="3184">
                  <c:v>130.80320943721622</c:v>
                </c:pt>
                <c:pt idx="3185">
                  <c:v>133.29162572420211</c:v>
                </c:pt>
                <c:pt idx="3186">
                  <c:v>131.16046915321817</c:v>
                </c:pt>
                <c:pt idx="3187">
                  <c:v>129.05953707799821</c:v>
                </c:pt>
                <c:pt idx="3188">
                  <c:v>129.14071279610499</c:v>
                </c:pt>
                <c:pt idx="3189">
                  <c:v>131.16046915321817</c:v>
                </c:pt>
                <c:pt idx="3190">
                  <c:v>129.05953707799821</c:v>
                </c:pt>
                <c:pt idx="3191">
                  <c:v>129.50344102191136</c:v>
                </c:pt>
                <c:pt idx="3192">
                  <c:v>131.70896592261732</c:v>
                </c:pt>
                <c:pt idx="3193">
                  <c:v>132.48169851733712</c:v>
                </c:pt>
                <c:pt idx="3194">
                  <c:v>139.29440614700593</c:v>
                </c:pt>
                <c:pt idx="3195">
                  <c:v>141.82243719061259</c:v>
                </c:pt>
                <c:pt idx="3196">
                  <c:v>141.78822795000727</c:v>
                </c:pt>
                <c:pt idx="3197">
                  <c:v>142.74991867975672</c:v>
                </c:pt>
                <c:pt idx="3198">
                  <c:v>143.47608467220499</c:v>
                </c:pt>
                <c:pt idx="3199">
                  <c:v>143.85477553819948</c:v>
                </c:pt>
                <c:pt idx="3200">
                  <c:v>143.75714874492152</c:v>
                </c:pt>
                <c:pt idx="3201">
                  <c:v>145.33616483623888</c:v>
                </c:pt>
                <c:pt idx="3202">
                  <c:v>143.33832493279701</c:v>
                </c:pt>
                <c:pt idx="3203">
                  <c:v>142.16417349815984</c:v>
                </c:pt>
                <c:pt idx="3204">
                  <c:v>140.62879408205055</c:v>
                </c:pt>
                <c:pt idx="3205">
                  <c:v>139.37034499685228</c:v>
                </c:pt>
                <c:pt idx="3206">
                  <c:v>138.47136425626769</c:v>
                </c:pt>
                <c:pt idx="3207">
                  <c:v>136.57597575108448</c:v>
                </c:pt>
                <c:pt idx="3208">
                  <c:v>133.3654192086145</c:v>
                </c:pt>
                <c:pt idx="3209">
                  <c:v>132.05550389545454</c:v>
                </c:pt>
                <c:pt idx="3210">
                  <c:v>126.9</c:v>
                </c:pt>
                <c:pt idx="3211">
                  <c:v>119.89488199605979</c:v>
                </c:pt>
                <c:pt idx="3212">
                  <c:v>120.94466594273982</c:v>
                </c:pt>
                <c:pt idx="3213">
                  <c:v>119.96335583239903</c:v>
                </c:pt>
                <c:pt idx="3214">
                  <c:v>120.44343029897587</c:v>
                </c:pt>
                <c:pt idx="3215">
                  <c:v>122.70393232897418</c:v>
                </c:pt>
                <c:pt idx="3216">
                  <c:v>123.64367797803177</c:v>
                </c:pt>
                <c:pt idx="3217">
                  <c:v>122.35575016048857</c:v>
                </c:pt>
                <c:pt idx="3218">
                  <c:v>122.66839218508566</c:v>
                </c:pt>
                <c:pt idx="3219">
                  <c:v>124.47333481866724</c:v>
                </c:pt>
                <c:pt idx="3220">
                  <c:v>127.90110450664621</c:v>
                </c:pt>
                <c:pt idx="3221">
                  <c:v>128.43778315770425</c:v>
                </c:pt>
                <c:pt idx="3222">
                  <c:v>127.77814624304482</c:v>
                </c:pt>
                <c:pt idx="3223">
                  <c:v>128.09259559862571</c:v>
                </c:pt>
                <c:pt idx="3224">
                  <c:v>128.13743390196277</c:v>
                </c:pt>
                <c:pt idx="3225">
                  <c:v>128.58713653868287</c:v>
                </c:pt>
                <c:pt idx="3226">
                  <c:v>127.0726439248044</c:v>
                </c:pt>
                <c:pt idx="3227">
                  <c:v>128.21250694555408</c:v>
                </c:pt>
                <c:pt idx="3228">
                  <c:v>127.4</c:v>
                </c:pt>
                <c:pt idx="3229">
                  <c:v>128.80000000000001</c:v>
                </c:pt>
                <c:pt idx="3230">
                  <c:v>128.30000000000001</c:v>
                </c:pt>
                <c:pt idx="3231">
                  <c:v>128.80000000000001</c:v>
                </c:pt>
                <c:pt idx="3232">
                  <c:v>128.6</c:v>
                </c:pt>
                <c:pt idx="3233">
                  <c:v>128.38744178697553</c:v>
                </c:pt>
                <c:pt idx="3234">
                  <c:v>128.85017312394703</c:v>
                </c:pt>
                <c:pt idx="3235">
                  <c:v>128.33808047733288</c:v>
                </c:pt>
                <c:pt idx="3236">
                  <c:v>128.07578750937421</c:v>
                </c:pt>
                <c:pt idx="3237">
                  <c:v>128.435649919513</c:v>
                </c:pt>
                <c:pt idx="3238">
                  <c:v>128.24895400634469</c:v>
                </c:pt>
                <c:pt idx="3239">
                  <c:v>128.16811291783483</c:v>
                </c:pt>
                <c:pt idx="3240">
                  <c:v>129.79596627609592</c:v>
                </c:pt>
                <c:pt idx="3241">
                  <c:v>129.8929874412234</c:v>
                </c:pt>
                <c:pt idx="3242">
                  <c:v>129.56974832129544</c:v>
                </c:pt>
                <c:pt idx="3243">
                  <c:v>130.71101140946496</c:v>
                </c:pt>
                <c:pt idx="3244">
                  <c:v>131.64708166415667</c:v>
                </c:pt>
                <c:pt idx="3245">
                  <c:v>128.3523779012834</c:v>
                </c:pt>
                <c:pt idx="3246">
                  <c:v>129.22122114391317</c:v>
                </c:pt>
                <c:pt idx="3247">
                  <c:v>128.13211504166702</c:v>
                </c:pt>
                <c:pt idx="3248">
                  <c:v>124.33726809152574</c:v>
                </c:pt>
                <c:pt idx="3249">
                  <c:v>123.64171441321537</c:v>
                </c:pt>
                <c:pt idx="3250">
                  <c:v>123.09638350648</c:v>
                </c:pt>
                <c:pt idx="3251">
                  <c:v>120.88284383589789</c:v>
                </c:pt>
                <c:pt idx="3252">
                  <c:v>121.77945721617033</c:v>
                </c:pt>
                <c:pt idx="3253">
                  <c:v>122.22277101699403</c:v>
                </c:pt>
                <c:pt idx="3254">
                  <c:v>121.51884206589475</c:v>
                </c:pt>
                <c:pt idx="3255">
                  <c:v>121.51884206589475</c:v>
                </c:pt>
                <c:pt idx="3256">
                  <c:v>123.69591518495349</c:v>
                </c:pt>
                <c:pt idx="3257">
                  <c:v>122.68123455925289</c:v>
                </c:pt>
                <c:pt idx="3258">
                  <c:v>120.92057966443346</c:v>
                </c:pt>
                <c:pt idx="3259">
                  <c:v>120.40444964029658</c:v>
                </c:pt>
                <c:pt idx="3260">
                  <c:v>119.080842856543</c:v>
                </c:pt>
                <c:pt idx="3261">
                  <c:v>117.16179147856991</c:v>
                </c:pt>
                <c:pt idx="3262">
                  <c:v>115.32524897845627</c:v>
                </c:pt>
                <c:pt idx="3263">
                  <c:v>113.49454862189408</c:v>
                </c:pt>
                <c:pt idx="3264">
                  <c:v>109.77897536134739</c:v>
                </c:pt>
                <c:pt idx="3265">
                  <c:v>105.62121811369779</c:v>
                </c:pt>
                <c:pt idx="3266">
                  <c:v>110.9692874821515</c:v>
                </c:pt>
                <c:pt idx="3267">
                  <c:v>111.44772024674047</c:v>
                </c:pt>
                <c:pt idx="3268">
                  <c:v>110.19717845533451</c:v>
                </c:pt>
                <c:pt idx="3269">
                  <c:v>108.49442496420316</c:v>
                </c:pt>
                <c:pt idx="3270">
                  <c:v>108.09694188340011</c:v>
                </c:pt>
                <c:pt idx="3271">
                  <c:v>107.33914678293981</c:v>
                </c:pt>
                <c:pt idx="3272">
                  <c:v>105.84751534599414</c:v>
                </c:pt>
                <c:pt idx="3273">
                  <c:v>105.81774543974853</c:v>
                </c:pt>
                <c:pt idx="3274">
                  <c:v>106.37721214407294</c:v>
                </c:pt>
                <c:pt idx="3275">
                  <c:v>104.68196950088692</c:v>
                </c:pt>
                <c:pt idx="3276">
                  <c:v>107.23471878735781</c:v>
                </c:pt>
                <c:pt idx="3277">
                  <c:v>110.55249668296845</c:v>
                </c:pt>
                <c:pt idx="3278">
                  <c:v>114.60073675385681</c:v>
                </c:pt>
                <c:pt idx="3279">
                  <c:v>113.20823698250236</c:v>
                </c:pt>
                <c:pt idx="3280">
                  <c:v>113.39902703498468</c:v>
                </c:pt>
                <c:pt idx="3281">
                  <c:v>115.82678331088334</c:v>
                </c:pt>
                <c:pt idx="3282">
                  <c:v>116.76447432326836</c:v>
                </c:pt>
                <c:pt idx="3283">
                  <c:v>118.88743460618852</c:v>
                </c:pt>
                <c:pt idx="3284">
                  <c:v>118.60252662077865</c:v>
                </c:pt>
                <c:pt idx="3285">
                  <c:v>117.58829666547223</c:v>
                </c:pt>
                <c:pt idx="3286">
                  <c:v>117.90961852679688</c:v>
                </c:pt>
                <c:pt idx="3287">
                  <c:v>117.43316173356737</c:v>
                </c:pt>
                <c:pt idx="3288">
                  <c:v>122.2532186324125</c:v>
                </c:pt>
                <c:pt idx="3289">
                  <c:v>124.51013961694353</c:v>
                </c:pt>
                <c:pt idx="3290">
                  <c:v>125.3155173685887</c:v>
                </c:pt>
                <c:pt idx="3291">
                  <c:v>125.20619445780692</c:v>
                </c:pt>
                <c:pt idx="3292">
                  <c:v>123.42330861659313</c:v>
                </c:pt>
                <c:pt idx="3293">
                  <c:v>123.47518466101582</c:v>
                </c:pt>
                <c:pt idx="3294">
                  <c:v>125.24200537769252</c:v>
                </c:pt>
                <c:pt idx="3295">
                  <c:v>125.71002475100539</c:v>
                </c:pt>
                <c:pt idx="3296">
                  <c:v>125.86723309454564</c:v>
                </c:pt>
                <c:pt idx="3297">
                  <c:v>124.25281355747485</c:v>
                </c:pt>
                <c:pt idx="3298">
                  <c:v>122.90674553709174</c:v>
                </c:pt>
                <c:pt idx="3299">
                  <c:v>125.44532384510873</c:v>
                </c:pt>
                <c:pt idx="3300">
                  <c:v>125.3246863115417</c:v>
                </c:pt>
                <c:pt idx="3301">
                  <c:v>125.1343463606259</c:v>
                </c:pt>
                <c:pt idx="3302">
                  <c:v>125.25609203326238</c:v>
                </c:pt>
                <c:pt idx="3303">
                  <c:v>128.12275617298315</c:v>
                </c:pt>
                <c:pt idx="3304">
                  <c:v>127.1458370951466</c:v>
                </c:pt>
                <c:pt idx="3305">
                  <c:v>125.62912515426511</c:v>
                </c:pt>
                <c:pt idx="3306">
                  <c:v>125.12142979029419</c:v>
                </c:pt>
                <c:pt idx="3307">
                  <c:v>129.3881711240619</c:v>
                </c:pt>
                <c:pt idx="3308">
                  <c:v>131.50283513286837</c:v>
                </c:pt>
                <c:pt idx="3309">
                  <c:v>130.30260014632626</c:v>
                </c:pt>
                <c:pt idx="3310">
                  <c:v>128.63593463596868</c:v>
                </c:pt>
                <c:pt idx="3311">
                  <c:v>129.80451573379281</c:v>
                </c:pt>
                <c:pt idx="3312">
                  <c:v>129.72620196734752</c:v>
                </c:pt>
                <c:pt idx="3313">
                  <c:v>124.43106501097108</c:v>
                </c:pt>
                <c:pt idx="3314">
                  <c:v>125.01706065855326</c:v>
                </c:pt>
                <c:pt idx="3315">
                  <c:v>120.15189957476251</c:v>
                </c:pt>
                <c:pt idx="3316">
                  <c:v>121.77903491655697</c:v>
                </c:pt>
                <c:pt idx="3317">
                  <c:v>122.75721121446327</c:v>
                </c:pt>
                <c:pt idx="3318">
                  <c:v>127.49678164132023</c:v>
                </c:pt>
                <c:pt idx="3319">
                  <c:v>129.55807466383249</c:v>
                </c:pt>
                <c:pt idx="3320">
                  <c:v>129.19306827113712</c:v>
                </c:pt>
                <c:pt idx="3321">
                  <c:v>131.27929725803037</c:v>
                </c:pt>
                <c:pt idx="3322">
                  <c:v>131.55095604417505</c:v>
                </c:pt>
                <c:pt idx="3323">
                  <c:v>127.97250600442632</c:v>
                </c:pt>
                <c:pt idx="3324">
                  <c:v>127.40080777668148</c:v>
                </c:pt>
                <c:pt idx="3325">
                  <c:v>127.06268905022924</c:v>
                </c:pt>
                <c:pt idx="3326">
                  <c:v>128.32852183053728</c:v>
                </c:pt>
                <c:pt idx="3327">
                  <c:v>126.3309414960074</c:v>
                </c:pt>
                <c:pt idx="3328">
                  <c:v>125.73327327984953</c:v>
                </c:pt>
                <c:pt idx="3329">
                  <c:v>123.53170828162132</c:v>
                </c:pt>
                <c:pt idx="3330">
                  <c:v>121.42489889249217</c:v>
                </c:pt>
                <c:pt idx="3331">
                  <c:v>123.5852512869513</c:v>
                </c:pt>
                <c:pt idx="3332">
                  <c:v>122.96038555949603</c:v>
                </c:pt>
                <c:pt idx="3333">
                  <c:v>121.85810740963574</c:v>
                </c:pt>
                <c:pt idx="3334">
                  <c:v>121.09665622707253</c:v>
                </c:pt>
                <c:pt idx="3335">
                  <c:v>121.8849174942693</c:v>
                </c:pt>
                <c:pt idx="3336">
                  <c:v>119.47259643150059</c:v>
                </c:pt>
                <c:pt idx="3337">
                  <c:v>119.87078060148906</c:v>
                </c:pt>
                <c:pt idx="3338">
                  <c:v>120.34863745244294</c:v>
                </c:pt>
                <c:pt idx="3339">
                  <c:v>120.38503624394953</c:v>
                </c:pt>
                <c:pt idx="3340">
                  <c:v>119.26857109210202</c:v>
                </c:pt>
                <c:pt idx="3341">
                  <c:v>110.73310923512433</c:v>
                </c:pt>
                <c:pt idx="3342">
                  <c:v>113.61284663133902</c:v>
                </c:pt>
                <c:pt idx="3343">
                  <c:v>108.87193514894011</c:v>
                </c:pt>
                <c:pt idx="3344">
                  <c:v>108</c:v>
                </c:pt>
                <c:pt idx="3345">
                  <c:v>108</c:v>
                </c:pt>
                <c:pt idx="3346">
                  <c:v>107</c:v>
                </c:pt>
                <c:pt idx="3347">
                  <c:v>107.2</c:v>
                </c:pt>
                <c:pt idx="3348">
                  <c:v>105.5</c:v>
                </c:pt>
                <c:pt idx="3349">
                  <c:v>106.6</c:v>
                </c:pt>
                <c:pt idx="3350">
                  <c:v>110.2</c:v>
                </c:pt>
                <c:pt idx="3351">
                  <c:v>111.1</c:v>
                </c:pt>
                <c:pt idx="3352">
                  <c:v>110.6</c:v>
                </c:pt>
                <c:pt idx="3353">
                  <c:v>110.6</c:v>
                </c:pt>
                <c:pt idx="3354">
                  <c:v>111.2</c:v>
                </c:pt>
                <c:pt idx="3355">
                  <c:v>112</c:v>
                </c:pt>
                <c:pt idx="3356">
                  <c:v>111.2</c:v>
                </c:pt>
                <c:pt idx="3357">
                  <c:v>111.3</c:v>
                </c:pt>
                <c:pt idx="3358">
                  <c:v>111.2</c:v>
                </c:pt>
                <c:pt idx="3359">
                  <c:v>108.37301458332288</c:v>
                </c:pt>
                <c:pt idx="3360">
                  <c:v>105.94063136618126</c:v>
                </c:pt>
                <c:pt idx="3361">
                  <c:v>105.58511945614342</c:v>
                </c:pt>
                <c:pt idx="3362">
                  <c:v>103.67945724214788</c:v>
                </c:pt>
                <c:pt idx="3363">
                  <c:v>108.3</c:v>
                </c:pt>
                <c:pt idx="3364">
                  <c:v>106</c:v>
                </c:pt>
                <c:pt idx="3365">
                  <c:v>105.5</c:v>
                </c:pt>
                <c:pt idx="3366">
                  <c:v>104</c:v>
                </c:pt>
                <c:pt idx="3367">
                  <c:v>104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65B4-446D-A4E9-27E538627F13}"/>
            </c:ext>
          </c:extLst>
        </c:ser>
        <c:ser>
          <c:idx val="1"/>
          <c:order val="1"/>
          <c:tx>
            <c:strRef>
              <c:f>'  بورس ایران-ارزش بازار (دلار آ'!$C$1</c:f>
              <c:strCache>
                <c:ptCount val="1"/>
                <c:pt idx="0">
                  <c:v> میانگین 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Lbl>
              <c:idx val="183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5B4-446D-A4E9-27E538627F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2"/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  بورس ایران-ارزش بازار (دلار آ'!$A$2:$A$3500</c:f>
              <c:strCache>
                <c:ptCount val="3369"/>
                <c:pt idx="0">
                  <c:v>1390-01-06</c:v>
                </c:pt>
                <c:pt idx="1">
                  <c:v>1390-01-07</c:v>
                </c:pt>
                <c:pt idx="2">
                  <c:v>1390-01-08</c:v>
                </c:pt>
                <c:pt idx="3">
                  <c:v>1390-01-09</c:v>
                </c:pt>
                <c:pt idx="4">
                  <c:v>1390-01-10</c:v>
                </c:pt>
                <c:pt idx="5">
                  <c:v>1390-01-14</c:v>
                </c:pt>
                <c:pt idx="6">
                  <c:v>1390-01-15</c:v>
                </c:pt>
                <c:pt idx="7">
                  <c:v>1390-01-16</c:v>
                </c:pt>
                <c:pt idx="8">
                  <c:v>1390-01-17</c:v>
                </c:pt>
                <c:pt idx="9">
                  <c:v>1390-01-20</c:v>
                </c:pt>
                <c:pt idx="10">
                  <c:v>1390-01-21</c:v>
                </c:pt>
                <c:pt idx="11">
                  <c:v>1390-01-22</c:v>
                </c:pt>
                <c:pt idx="12">
                  <c:v>1390-01-23</c:v>
                </c:pt>
                <c:pt idx="13">
                  <c:v>1390-01-24</c:v>
                </c:pt>
                <c:pt idx="14">
                  <c:v>1390-01-27</c:v>
                </c:pt>
                <c:pt idx="15">
                  <c:v>1390-01-28</c:v>
                </c:pt>
                <c:pt idx="16">
                  <c:v>1390-01-29</c:v>
                </c:pt>
                <c:pt idx="17">
                  <c:v>1390-01-30</c:v>
                </c:pt>
                <c:pt idx="18">
                  <c:v>1390-01-31</c:v>
                </c:pt>
                <c:pt idx="19">
                  <c:v>1390-02-03</c:v>
                </c:pt>
                <c:pt idx="20">
                  <c:v>1390-02-04</c:v>
                </c:pt>
                <c:pt idx="21">
                  <c:v>1390-02-05</c:v>
                </c:pt>
                <c:pt idx="22">
                  <c:v>1390-02-06</c:v>
                </c:pt>
                <c:pt idx="23">
                  <c:v>1390-02-07</c:v>
                </c:pt>
                <c:pt idx="24">
                  <c:v>1390-02-10</c:v>
                </c:pt>
                <c:pt idx="25">
                  <c:v>1390-02-11</c:v>
                </c:pt>
                <c:pt idx="26">
                  <c:v>1390-02-12</c:v>
                </c:pt>
                <c:pt idx="27">
                  <c:v>1390-02-13</c:v>
                </c:pt>
                <c:pt idx="28">
                  <c:v>1390-02-14</c:v>
                </c:pt>
                <c:pt idx="29">
                  <c:v>1390-02-18</c:v>
                </c:pt>
                <c:pt idx="30">
                  <c:v>1390-02-19</c:v>
                </c:pt>
                <c:pt idx="31">
                  <c:v>1390-02-20</c:v>
                </c:pt>
                <c:pt idx="32">
                  <c:v>1390-02-21</c:v>
                </c:pt>
                <c:pt idx="33">
                  <c:v>1390-02-24</c:v>
                </c:pt>
                <c:pt idx="34">
                  <c:v>1390-02-25</c:v>
                </c:pt>
                <c:pt idx="35">
                  <c:v>1390-02-26</c:v>
                </c:pt>
                <c:pt idx="36">
                  <c:v>1390-02-27</c:v>
                </c:pt>
                <c:pt idx="37">
                  <c:v>1390-02-28</c:v>
                </c:pt>
                <c:pt idx="38">
                  <c:v>1390-02-31</c:v>
                </c:pt>
                <c:pt idx="39">
                  <c:v>1390-03-01</c:v>
                </c:pt>
                <c:pt idx="40">
                  <c:v>1390-03-02</c:v>
                </c:pt>
                <c:pt idx="41">
                  <c:v>1390-03-03</c:v>
                </c:pt>
                <c:pt idx="42">
                  <c:v>1390-03-04</c:v>
                </c:pt>
                <c:pt idx="43">
                  <c:v>1390-03-07</c:v>
                </c:pt>
                <c:pt idx="44">
                  <c:v>1390-03-08</c:v>
                </c:pt>
                <c:pt idx="45">
                  <c:v>1390-03-09</c:v>
                </c:pt>
                <c:pt idx="46">
                  <c:v>1390-03-10</c:v>
                </c:pt>
                <c:pt idx="47">
                  <c:v>1390-03-11</c:v>
                </c:pt>
                <c:pt idx="48">
                  <c:v>1390-03-16</c:v>
                </c:pt>
                <c:pt idx="49">
                  <c:v>1390-03-17</c:v>
                </c:pt>
                <c:pt idx="50">
                  <c:v>1390-03-18</c:v>
                </c:pt>
                <c:pt idx="51">
                  <c:v>1390-03-21</c:v>
                </c:pt>
                <c:pt idx="52">
                  <c:v>1390-03-22</c:v>
                </c:pt>
                <c:pt idx="53">
                  <c:v>1390-03-23</c:v>
                </c:pt>
                <c:pt idx="54">
                  <c:v>1390-03-24</c:v>
                </c:pt>
                <c:pt idx="55">
                  <c:v>1390-03-25</c:v>
                </c:pt>
                <c:pt idx="56">
                  <c:v>1390-03-28</c:v>
                </c:pt>
                <c:pt idx="57">
                  <c:v>1390-03-29</c:v>
                </c:pt>
                <c:pt idx="58">
                  <c:v>1390-03-30</c:v>
                </c:pt>
                <c:pt idx="59">
                  <c:v>1390-03-31</c:v>
                </c:pt>
                <c:pt idx="60">
                  <c:v>1390-04-01</c:v>
                </c:pt>
                <c:pt idx="61">
                  <c:v>1390-04-04</c:v>
                </c:pt>
                <c:pt idx="62">
                  <c:v>1390-04-05</c:v>
                </c:pt>
                <c:pt idx="63">
                  <c:v>1390-04-06</c:v>
                </c:pt>
                <c:pt idx="64">
                  <c:v>1390-04-07</c:v>
                </c:pt>
                <c:pt idx="65">
                  <c:v>1390-04-08</c:v>
                </c:pt>
                <c:pt idx="66">
                  <c:v>1390-04-11</c:v>
                </c:pt>
                <c:pt idx="67">
                  <c:v>1390-04-12</c:v>
                </c:pt>
                <c:pt idx="68">
                  <c:v>1390-04-13</c:v>
                </c:pt>
                <c:pt idx="69">
                  <c:v>1390-04-14</c:v>
                </c:pt>
                <c:pt idx="70">
                  <c:v>1390-04-15</c:v>
                </c:pt>
                <c:pt idx="71">
                  <c:v>1390-04-18</c:v>
                </c:pt>
                <c:pt idx="72">
                  <c:v>1390-04-19</c:v>
                </c:pt>
                <c:pt idx="73">
                  <c:v>1390-04-20</c:v>
                </c:pt>
                <c:pt idx="74">
                  <c:v>1390-04-21</c:v>
                </c:pt>
                <c:pt idx="75">
                  <c:v>1390-04-22</c:v>
                </c:pt>
                <c:pt idx="76">
                  <c:v>1390-04-25</c:v>
                </c:pt>
                <c:pt idx="77">
                  <c:v>1390-04-27</c:v>
                </c:pt>
                <c:pt idx="78">
                  <c:v>1390-04-28</c:v>
                </c:pt>
                <c:pt idx="79">
                  <c:v>1390-04-29</c:v>
                </c:pt>
                <c:pt idx="80">
                  <c:v>1390-05-01</c:v>
                </c:pt>
                <c:pt idx="81">
                  <c:v>1390-05-02</c:v>
                </c:pt>
                <c:pt idx="82">
                  <c:v>1390-05-03</c:v>
                </c:pt>
                <c:pt idx="83">
                  <c:v>1390-05-04</c:v>
                </c:pt>
                <c:pt idx="84">
                  <c:v>1390-05-05</c:v>
                </c:pt>
                <c:pt idx="85">
                  <c:v>1390-05-08</c:v>
                </c:pt>
                <c:pt idx="86">
                  <c:v>1390-05-09</c:v>
                </c:pt>
                <c:pt idx="87">
                  <c:v>1390-05-10</c:v>
                </c:pt>
                <c:pt idx="88">
                  <c:v>1390-05-11</c:v>
                </c:pt>
                <c:pt idx="89">
                  <c:v>1390-05-12</c:v>
                </c:pt>
                <c:pt idx="90">
                  <c:v>1390-05-15</c:v>
                </c:pt>
                <c:pt idx="91">
                  <c:v>1390-05-16</c:v>
                </c:pt>
                <c:pt idx="92">
                  <c:v>1390-05-17</c:v>
                </c:pt>
                <c:pt idx="93">
                  <c:v>1390-05-18</c:v>
                </c:pt>
                <c:pt idx="94">
                  <c:v>1390-05-19</c:v>
                </c:pt>
                <c:pt idx="95">
                  <c:v>1390-05-22</c:v>
                </c:pt>
                <c:pt idx="96">
                  <c:v>1390-05-23</c:v>
                </c:pt>
                <c:pt idx="97">
                  <c:v>1390-05-24</c:v>
                </c:pt>
                <c:pt idx="98">
                  <c:v>1390-05-25</c:v>
                </c:pt>
                <c:pt idx="99">
                  <c:v>1390-05-26</c:v>
                </c:pt>
                <c:pt idx="100">
                  <c:v>1390-05-29</c:v>
                </c:pt>
                <c:pt idx="101">
                  <c:v>1390-05-30</c:v>
                </c:pt>
                <c:pt idx="102">
                  <c:v>1390-06-01</c:v>
                </c:pt>
                <c:pt idx="103">
                  <c:v>1390-06-02</c:v>
                </c:pt>
                <c:pt idx="104">
                  <c:v>1390-06-05</c:v>
                </c:pt>
                <c:pt idx="105">
                  <c:v>1390-06-06</c:v>
                </c:pt>
                <c:pt idx="106">
                  <c:v>1390-06-07</c:v>
                </c:pt>
                <c:pt idx="107">
                  <c:v>1390-06-08</c:v>
                </c:pt>
                <c:pt idx="108">
                  <c:v>1390-06-12</c:v>
                </c:pt>
                <c:pt idx="109">
                  <c:v>1390-06-13</c:v>
                </c:pt>
                <c:pt idx="110">
                  <c:v>1390-06-14</c:v>
                </c:pt>
                <c:pt idx="111">
                  <c:v>1390-06-15</c:v>
                </c:pt>
                <c:pt idx="112">
                  <c:v>1390-06-16</c:v>
                </c:pt>
                <c:pt idx="113">
                  <c:v>1390-06-19</c:v>
                </c:pt>
                <c:pt idx="114">
                  <c:v>1390-06-20</c:v>
                </c:pt>
                <c:pt idx="115">
                  <c:v>1390-06-21</c:v>
                </c:pt>
                <c:pt idx="116">
                  <c:v>1390-06-22</c:v>
                </c:pt>
                <c:pt idx="117">
                  <c:v>1390-06-23</c:v>
                </c:pt>
                <c:pt idx="118">
                  <c:v>1390-06-26</c:v>
                </c:pt>
                <c:pt idx="119">
                  <c:v>1390-06-27</c:v>
                </c:pt>
                <c:pt idx="120">
                  <c:v>1390-06-28</c:v>
                </c:pt>
                <c:pt idx="121">
                  <c:v>1390-06-29</c:v>
                </c:pt>
                <c:pt idx="122">
                  <c:v>1390-06-30</c:v>
                </c:pt>
                <c:pt idx="123">
                  <c:v>1390-07-03</c:v>
                </c:pt>
                <c:pt idx="124">
                  <c:v>1390-07-04</c:v>
                </c:pt>
                <c:pt idx="125">
                  <c:v>1390-07-05</c:v>
                </c:pt>
                <c:pt idx="126">
                  <c:v>1390-07-06</c:v>
                </c:pt>
                <c:pt idx="127">
                  <c:v>1390-07-09</c:v>
                </c:pt>
                <c:pt idx="128">
                  <c:v>1390-07-10</c:v>
                </c:pt>
                <c:pt idx="129">
                  <c:v>1390-07-11</c:v>
                </c:pt>
                <c:pt idx="130">
                  <c:v>1390-07-12</c:v>
                </c:pt>
                <c:pt idx="131">
                  <c:v>1390-07-13</c:v>
                </c:pt>
                <c:pt idx="132">
                  <c:v>1390-07-16</c:v>
                </c:pt>
                <c:pt idx="133">
                  <c:v>1390-07-17</c:v>
                </c:pt>
                <c:pt idx="134">
                  <c:v>1390-07-18</c:v>
                </c:pt>
                <c:pt idx="135">
                  <c:v>1390-07-19</c:v>
                </c:pt>
                <c:pt idx="136">
                  <c:v>1390-07-20</c:v>
                </c:pt>
                <c:pt idx="137">
                  <c:v>1390-07-23</c:v>
                </c:pt>
                <c:pt idx="138">
                  <c:v>1390-07-24</c:v>
                </c:pt>
                <c:pt idx="139">
                  <c:v>1390-07-25</c:v>
                </c:pt>
                <c:pt idx="140">
                  <c:v>1390-07-26</c:v>
                </c:pt>
                <c:pt idx="141">
                  <c:v>1390-07-27</c:v>
                </c:pt>
                <c:pt idx="142">
                  <c:v>1390-07-30</c:v>
                </c:pt>
                <c:pt idx="143">
                  <c:v>1390-08-01</c:v>
                </c:pt>
                <c:pt idx="144">
                  <c:v>1390-08-02</c:v>
                </c:pt>
                <c:pt idx="145">
                  <c:v>1390-08-03</c:v>
                </c:pt>
                <c:pt idx="146">
                  <c:v>1390-08-04</c:v>
                </c:pt>
                <c:pt idx="147">
                  <c:v>1390-08-07</c:v>
                </c:pt>
                <c:pt idx="148">
                  <c:v>1390-08-08</c:v>
                </c:pt>
                <c:pt idx="149">
                  <c:v>1390-08-09</c:v>
                </c:pt>
                <c:pt idx="150">
                  <c:v>1390-08-10</c:v>
                </c:pt>
                <c:pt idx="151">
                  <c:v>1390-08-11</c:v>
                </c:pt>
                <c:pt idx="152">
                  <c:v>1390-08-14</c:v>
                </c:pt>
                <c:pt idx="153">
                  <c:v>1390-08-15</c:v>
                </c:pt>
                <c:pt idx="154">
                  <c:v>1390-08-17</c:v>
                </c:pt>
                <c:pt idx="155">
                  <c:v>1390-08-18</c:v>
                </c:pt>
                <c:pt idx="156">
                  <c:v>1390-08-21</c:v>
                </c:pt>
                <c:pt idx="157">
                  <c:v>1390-08-22</c:v>
                </c:pt>
                <c:pt idx="158">
                  <c:v>1390-08-23</c:v>
                </c:pt>
                <c:pt idx="159">
                  <c:v>1390-08-25</c:v>
                </c:pt>
                <c:pt idx="160">
                  <c:v>1390-08-28</c:v>
                </c:pt>
                <c:pt idx="161">
                  <c:v>1390-08-29</c:v>
                </c:pt>
                <c:pt idx="162">
                  <c:v>1390-08-30</c:v>
                </c:pt>
                <c:pt idx="163">
                  <c:v>1390-09-01</c:v>
                </c:pt>
                <c:pt idx="164">
                  <c:v>1390-09-02</c:v>
                </c:pt>
                <c:pt idx="165">
                  <c:v>1390-09-05</c:v>
                </c:pt>
                <c:pt idx="166">
                  <c:v>1390-09-06</c:v>
                </c:pt>
                <c:pt idx="167">
                  <c:v>1390-09-07</c:v>
                </c:pt>
                <c:pt idx="168">
                  <c:v>1390-09-08</c:v>
                </c:pt>
                <c:pt idx="169">
                  <c:v>1390-09-09</c:v>
                </c:pt>
                <c:pt idx="170">
                  <c:v>1390-09-12</c:v>
                </c:pt>
                <c:pt idx="171">
                  <c:v>1390-09-13</c:v>
                </c:pt>
                <c:pt idx="172">
                  <c:v>1390-09-16</c:v>
                </c:pt>
                <c:pt idx="173">
                  <c:v>1390-09-19</c:v>
                </c:pt>
                <c:pt idx="174">
                  <c:v>1390-09-20</c:v>
                </c:pt>
                <c:pt idx="175">
                  <c:v>1390-09-21</c:v>
                </c:pt>
                <c:pt idx="176">
                  <c:v>1390-09-22</c:v>
                </c:pt>
                <c:pt idx="177">
                  <c:v>1390-09-23</c:v>
                </c:pt>
                <c:pt idx="178">
                  <c:v>1390-09-26</c:v>
                </c:pt>
                <c:pt idx="179">
                  <c:v>1390-09-27</c:v>
                </c:pt>
                <c:pt idx="180">
                  <c:v>1390-09-28</c:v>
                </c:pt>
                <c:pt idx="181">
                  <c:v>1390-09-29</c:v>
                </c:pt>
                <c:pt idx="182">
                  <c:v>1390-09-30</c:v>
                </c:pt>
                <c:pt idx="183">
                  <c:v>1390-10-03</c:v>
                </c:pt>
                <c:pt idx="184">
                  <c:v>1390-10-04</c:v>
                </c:pt>
                <c:pt idx="185">
                  <c:v>1390-10-05</c:v>
                </c:pt>
                <c:pt idx="186">
                  <c:v>1390-10-06</c:v>
                </c:pt>
                <c:pt idx="187">
                  <c:v>1390-10-07</c:v>
                </c:pt>
                <c:pt idx="188">
                  <c:v>1390-10-10</c:v>
                </c:pt>
                <c:pt idx="189">
                  <c:v>1390-10-11</c:v>
                </c:pt>
                <c:pt idx="190">
                  <c:v>1390-10-12</c:v>
                </c:pt>
                <c:pt idx="191">
                  <c:v>1390-10-13</c:v>
                </c:pt>
                <c:pt idx="192">
                  <c:v>1390-10-14</c:v>
                </c:pt>
                <c:pt idx="193">
                  <c:v>1390-10-17</c:v>
                </c:pt>
                <c:pt idx="194">
                  <c:v>1390-10-18</c:v>
                </c:pt>
                <c:pt idx="195">
                  <c:v>1390-10-19</c:v>
                </c:pt>
                <c:pt idx="196">
                  <c:v>1390-10-20</c:v>
                </c:pt>
                <c:pt idx="197">
                  <c:v>1390-10-21</c:v>
                </c:pt>
                <c:pt idx="198">
                  <c:v>1390-10-25</c:v>
                </c:pt>
                <c:pt idx="199">
                  <c:v>1390-10-26</c:v>
                </c:pt>
                <c:pt idx="200">
                  <c:v>1390-10-27</c:v>
                </c:pt>
                <c:pt idx="201">
                  <c:v>1390-10-28</c:v>
                </c:pt>
                <c:pt idx="202">
                  <c:v>1390-11-01</c:v>
                </c:pt>
                <c:pt idx="203">
                  <c:v>1390-11-03</c:v>
                </c:pt>
                <c:pt idx="204">
                  <c:v>1390-11-05</c:v>
                </c:pt>
                <c:pt idx="205">
                  <c:v>1390-11-08</c:v>
                </c:pt>
                <c:pt idx="206">
                  <c:v>1390-11-09</c:v>
                </c:pt>
                <c:pt idx="207">
                  <c:v>1390-11-10</c:v>
                </c:pt>
                <c:pt idx="208">
                  <c:v>1390-11-11</c:v>
                </c:pt>
                <c:pt idx="209">
                  <c:v>1390-11-12</c:v>
                </c:pt>
                <c:pt idx="210">
                  <c:v>1390-11-15</c:v>
                </c:pt>
                <c:pt idx="211">
                  <c:v>1390-11-16</c:v>
                </c:pt>
                <c:pt idx="212">
                  <c:v>1390-11-17</c:v>
                </c:pt>
                <c:pt idx="213">
                  <c:v>1390-11-18</c:v>
                </c:pt>
                <c:pt idx="214">
                  <c:v>1390-11-19</c:v>
                </c:pt>
                <c:pt idx="215">
                  <c:v>1390-11-23</c:v>
                </c:pt>
                <c:pt idx="216">
                  <c:v>1390-11-24</c:v>
                </c:pt>
                <c:pt idx="217">
                  <c:v>1390-11-25</c:v>
                </c:pt>
                <c:pt idx="218">
                  <c:v>1390-11-26</c:v>
                </c:pt>
                <c:pt idx="219">
                  <c:v>1390-11-29</c:v>
                </c:pt>
                <c:pt idx="220">
                  <c:v>1390-11-30</c:v>
                </c:pt>
                <c:pt idx="221">
                  <c:v>1390-12-01</c:v>
                </c:pt>
                <c:pt idx="222">
                  <c:v>1390-12-02</c:v>
                </c:pt>
                <c:pt idx="223">
                  <c:v>1390-12-03</c:v>
                </c:pt>
                <c:pt idx="224">
                  <c:v>1390-12-06</c:v>
                </c:pt>
                <c:pt idx="225">
                  <c:v>1390-12-07</c:v>
                </c:pt>
                <c:pt idx="226">
                  <c:v>1390-12-08</c:v>
                </c:pt>
                <c:pt idx="227">
                  <c:v>1390-12-09</c:v>
                </c:pt>
                <c:pt idx="228">
                  <c:v>1390-12-10</c:v>
                </c:pt>
                <c:pt idx="229">
                  <c:v>1390-12-13</c:v>
                </c:pt>
                <c:pt idx="230">
                  <c:v>1390-12-14</c:v>
                </c:pt>
                <c:pt idx="231">
                  <c:v>1390-12-15</c:v>
                </c:pt>
                <c:pt idx="232">
                  <c:v>1390-12-16</c:v>
                </c:pt>
                <c:pt idx="233">
                  <c:v>1390-12-17</c:v>
                </c:pt>
                <c:pt idx="234">
                  <c:v>1390-12-20</c:v>
                </c:pt>
                <c:pt idx="235">
                  <c:v>1390-12-21</c:v>
                </c:pt>
                <c:pt idx="236">
                  <c:v>1390-12-22</c:v>
                </c:pt>
                <c:pt idx="237">
                  <c:v>1390-12-23</c:v>
                </c:pt>
                <c:pt idx="238">
                  <c:v>1390-12-24</c:v>
                </c:pt>
                <c:pt idx="239">
                  <c:v>1390-12-27</c:v>
                </c:pt>
                <c:pt idx="240">
                  <c:v>1390-12-28</c:v>
                </c:pt>
                <c:pt idx="241">
                  <c:v>1391-01-05</c:v>
                </c:pt>
                <c:pt idx="242">
                  <c:v>1391-01-06</c:v>
                </c:pt>
                <c:pt idx="243">
                  <c:v>1391-01-07</c:v>
                </c:pt>
                <c:pt idx="244">
                  <c:v>1391-01-08</c:v>
                </c:pt>
                <c:pt idx="245">
                  <c:v>1391-01-09</c:v>
                </c:pt>
                <c:pt idx="246">
                  <c:v>1391-01-14</c:v>
                </c:pt>
                <c:pt idx="247">
                  <c:v>1391-01-15</c:v>
                </c:pt>
                <c:pt idx="248">
                  <c:v>1391-01-16</c:v>
                </c:pt>
                <c:pt idx="249">
                  <c:v>1391-01-19</c:v>
                </c:pt>
                <c:pt idx="250">
                  <c:v>1391-01-20</c:v>
                </c:pt>
                <c:pt idx="251">
                  <c:v>1391-01-21</c:v>
                </c:pt>
                <c:pt idx="252">
                  <c:v>1391-01-22</c:v>
                </c:pt>
                <c:pt idx="253">
                  <c:v>1391-01-23</c:v>
                </c:pt>
                <c:pt idx="254">
                  <c:v>1391-01-26</c:v>
                </c:pt>
                <c:pt idx="255">
                  <c:v>1391-01-27</c:v>
                </c:pt>
                <c:pt idx="256">
                  <c:v>1391-01-28</c:v>
                </c:pt>
                <c:pt idx="257">
                  <c:v>1391-01-29</c:v>
                </c:pt>
                <c:pt idx="258">
                  <c:v>1391-01-30</c:v>
                </c:pt>
                <c:pt idx="259">
                  <c:v>1391-02-02</c:v>
                </c:pt>
                <c:pt idx="260">
                  <c:v>1391-02-03</c:v>
                </c:pt>
                <c:pt idx="261">
                  <c:v>1391-02-04</c:v>
                </c:pt>
                <c:pt idx="262">
                  <c:v>1391-02-05</c:v>
                </c:pt>
                <c:pt idx="263">
                  <c:v>1391-02-09</c:v>
                </c:pt>
                <c:pt idx="264">
                  <c:v>1391-02-10</c:v>
                </c:pt>
                <c:pt idx="265">
                  <c:v>1391-02-11</c:v>
                </c:pt>
                <c:pt idx="266">
                  <c:v>1391-02-12</c:v>
                </c:pt>
                <c:pt idx="267">
                  <c:v>1391-02-13</c:v>
                </c:pt>
                <c:pt idx="268">
                  <c:v>1391-02-16</c:v>
                </c:pt>
                <c:pt idx="269">
                  <c:v>1391-02-17</c:v>
                </c:pt>
                <c:pt idx="270">
                  <c:v>1391-02-18</c:v>
                </c:pt>
                <c:pt idx="271">
                  <c:v>1391-02-19</c:v>
                </c:pt>
                <c:pt idx="272">
                  <c:v>1391-02-20</c:v>
                </c:pt>
                <c:pt idx="273">
                  <c:v>1391-02-23</c:v>
                </c:pt>
                <c:pt idx="274">
                  <c:v>1391-02-24</c:v>
                </c:pt>
                <c:pt idx="275">
                  <c:v>1391-02-25</c:v>
                </c:pt>
                <c:pt idx="276">
                  <c:v>1391-02-26</c:v>
                </c:pt>
                <c:pt idx="277">
                  <c:v>1391-02-27</c:v>
                </c:pt>
                <c:pt idx="278">
                  <c:v>1391-02-30</c:v>
                </c:pt>
                <c:pt idx="279">
                  <c:v>1391-02-31</c:v>
                </c:pt>
                <c:pt idx="280">
                  <c:v>1391-03-01</c:v>
                </c:pt>
                <c:pt idx="281">
                  <c:v>1391-03-02</c:v>
                </c:pt>
                <c:pt idx="282">
                  <c:v>1391-03-03</c:v>
                </c:pt>
                <c:pt idx="283">
                  <c:v>1391-03-06</c:v>
                </c:pt>
                <c:pt idx="284">
                  <c:v>1391-03-07</c:v>
                </c:pt>
                <c:pt idx="285">
                  <c:v>1391-03-08</c:v>
                </c:pt>
                <c:pt idx="286">
                  <c:v>1391-03-09</c:v>
                </c:pt>
                <c:pt idx="287">
                  <c:v>1391-03-10</c:v>
                </c:pt>
                <c:pt idx="288">
                  <c:v>1391-03-13</c:v>
                </c:pt>
                <c:pt idx="289">
                  <c:v>1391-03-16</c:v>
                </c:pt>
                <c:pt idx="290">
                  <c:v>1391-03-17</c:v>
                </c:pt>
                <c:pt idx="291">
                  <c:v>1391-03-20</c:v>
                </c:pt>
                <c:pt idx="292">
                  <c:v>1391-03-21</c:v>
                </c:pt>
                <c:pt idx="293">
                  <c:v>1391-03-22</c:v>
                </c:pt>
                <c:pt idx="294">
                  <c:v>1391-03-23</c:v>
                </c:pt>
                <c:pt idx="295">
                  <c:v>1391-03-24</c:v>
                </c:pt>
                <c:pt idx="296">
                  <c:v>1391-03-27</c:v>
                </c:pt>
                <c:pt idx="297">
                  <c:v>1391-03-28</c:v>
                </c:pt>
                <c:pt idx="298">
                  <c:v>1391-03-30</c:v>
                </c:pt>
                <c:pt idx="299">
                  <c:v>1391-03-31</c:v>
                </c:pt>
                <c:pt idx="300">
                  <c:v>1391-04-03</c:v>
                </c:pt>
                <c:pt idx="301">
                  <c:v>1391-04-04</c:v>
                </c:pt>
                <c:pt idx="302">
                  <c:v>1391-04-05</c:v>
                </c:pt>
                <c:pt idx="303">
                  <c:v>1391-04-06</c:v>
                </c:pt>
                <c:pt idx="304">
                  <c:v>1391-04-07</c:v>
                </c:pt>
                <c:pt idx="305">
                  <c:v>1391-04-10</c:v>
                </c:pt>
                <c:pt idx="306">
                  <c:v>1391-04-11</c:v>
                </c:pt>
                <c:pt idx="307">
                  <c:v>1391-04-12</c:v>
                </c:pt>
                <c:pt idx="308">
                  <c:v>1391-04-13</c:v>
                </c:pt>
                <c:pt idx="309">
                  <c:v>1391-04-14</c:v>
                </c:pt>
                <c:pt idx="310">
                  <c:v>1391-04-17</c:v>
                </c:pt>
                <c:pt idx="311">
                  <c:v>1391-04-18</c:v>
                </c:pt>
                <c:pt idx="312">
                  <c:v>1391-04-19</c:v>
                </c:pt>
                <c:pt idx="313">
                  <c:v>1391-04-20</c:v>
                </c:pt>
                <c:pt idx="314">
                  <c:v>1391-04-21</c:v>
                </c:pt>
                <c:pt idx="315">
                  <c:v>1391-04-24</c:v>
                </c:pt>
                <c:pt idx="316">
                  <c:v>1391-04-25</c:v>
                </c:pt>
                <c:pt idx="317">
                  <c:v>1391-04-26</c:v>
                </c:pt>
                <c:pt idx="318">
                  <c:v>1391-04-27</c:v>
                </c:pt>
                <c:pt idx="319">
                  <c:v>1391-04-28</c:v>
                </c:pt>
                <c:pt idx="320">
                  <c:v>1391-04-31</c:v>
                </c:pt>
                <c:pt idx="321">
                  <c:v>1391-05-01</c:v>
                </c:pt>
                <c:pt idx="322">
                  <c:v>1391-05-02</c:v>
                </c:pt>
                <c:pt idx="323">
                  <c:v>1391-05-03</c:v>
                </c:pt>
                <c:pt idx="324">
                  <c:v>1391-05-04</c:v>
                </c:pt>
                <c:pt idx="325">
                  <c:v>1391-05-07</c:v>
                </c:pt>
                <c:pt idx="326">
                  <c:v>1391-05-08</c:v>
                </c:pt>
                <c:pt idx="327">
                  <c:v>1391-05-09</c:v>
                </c:pt>
                <c:pt idx="328">
                  <c:v>1391-05-10</c:v>
                </c:pt>
                <c:pt idx="329">
                  <c:v>1391-05-11</c:v>
                </c:pt>
                <c:pt idx="330">
                  <c:v>1391-05-14</c:v>
                </c:pt>
                <c:pt idx="331">
                  <c:v>1391-05-15</c:v>
                </c:pt>
                <c:pt idx="332">
                  <c:v>1391-05-16</c:v>
                </c:pt>
                <c:pt idx="333">
                  <c:v>1391-05-17</c:v>
                </c:pt>
                <c:pt idx="334">
                  <c:v>1391-05-18</c:v>
                </c:pt>
                <c:pt idx="335">
                  <c:v>1391-05-21</c:v>
                </c:pt>
                <c:pt idx="336">
                  <c:v>1391-05-22</c:v>
                </c:pt>
                <c:pt idx="337">
                  <c:v>1391-05-23</c:v>
                </c:pt>
                <c:pt idx="338">
                  <c:v>1391-05-24</c:v>
                </c:pt>
                <c:pt idx="339">
                  <c:v>1391-05-25</c:v>
                </c:pt>
                <c:pt idx="340">
                  <c:v>1391-05-28</c:v>
                </c:pt>
                <c:pt idx="341">
                  <c:v>1391-05-31</c:v>
                </c:pt>
                <c:pt idx="342">
                  <c:v>1391-06-01</c:v>
                </c:pt>
                <c:pt idx="343">
                  <c:v>1391-06-04</c:v>
                </c:pt>
                <c:pt idx="344">
                  <c:v>1391-06-05</c:v>
                </c:pt>
                <c:pt idx="345">
                  <c:v>1391-06-06</c:v>
                </c:pt>
                <c:pt idx="346">
                  <c:v>1391-06-12</c:v>
                </c:pt>
                <c:pt idx="347">
                  <c:v>1391-06-13</c:v>
                </c:pt>
                <c:pt idx="348">
                  <c:v>1391-06-14</c:v>
                </c:pt>
                <c:pt idx="349">
                  <c:v>1391-06-15</c:v>
                </c:pt>
                <c:pt idx="350">
                  <c:v>1391-06-18</c:v>
                </c:pt>
                <c:pt idx="351">
                  <c:v>1391-06-19</c:v>
                </c:pt>
                <c:pt idx="352">
                  <c:v>1391-06-20</c:v>
                </c:pt>
                <c:pt idx="353">
                  <c:v>1391-06-21</c:v>
                </c:pt>
                <c:pt idx="354">
                  <c:v>1391-06-25</c:v>
                </c:pt>
                <c:pt idx="355">
                  <c:v>1391-06-26</c:v>
                </c:pt>
                <c:pt idx="356">
                  <c:v>1391-06-27</c:v>
                </c:pt>
                <c:pt idx="357">
                  <c:v>1391-06-28</c:v>
                </c:pt>
                <c:pt idx="358">
                  <c:v>1391-06-29</c:v>
                </c:pt>
                <c:pt idx="359">
                  <c:v>1391-07-01</c:v>
                </c:pt>
                <c:pt idx="360">
                  <c:v>1391-07-02</c:v>
                </c:pt>
                <c:pt idx="361">
                  <c:v>1391-07-03</c:v>
                </c:pt>
                <c:pt idx="362">
                  <c:v>1391-07-04</c:v>
                </c:pt>
                <c:pt idx="363">
                  <c:v>1391-07-05</c:v>
                </c:pt>
                <c:pt idx="364">
                  <c:v>1391-07-08</c:v>
                </c:pt>
                <c:pt idx="365">
                  <c:v>1391-07-09</c:v>
                </c:pt>
                <c:pt idx="366">
                  <c:v>1391-07-10</c:v>
                </c:pt>
                <c:pt idx="367">
                  <c:v>1391-07-11</c:v>
                </c:pt>
                <c:pt idx="368">
                  <c:v>1391-07-12</c:v>
                </c:pt>
                <c:pt idx="369">
                  <c:v>1391-07-15</c:v>
                </c:pt>
                <c:pt idx="370">
                  <c:v>1391-07-16</c:v>
                </c:pt>
                <c:pt idx="371">
                  <c:v>1391-07-17</c:v>
                </c:pt>
                <c:pt idx="372">
                  <c:v>1391-07-18</c:v>
                </c:pt>
                <c:pt idx="373">
                  <c:v>1391-07-19</c:v>
                </c:pt>
                <c:pt idx="374">
                  <c:v>1391-07-22</c:v>
                </c:pt>
                <c:pt idx="375">
                  <c:v>1391-07-23</c:v>
                </c:pt>
                <c:pt idx="376">
                  <c:v>1391-07-24</c:v>
                </c:pt>
                <c:pt idx="377">
                  <c:v>1391-07-25</c:v>
                </c:pt>
                <c:pt idx="378">
                  <c:v>1391-07-26</c:v>
                </c:pt>
                <c:pt idx="379">
                  <c:v>1391-07-29</c:v>
                </c:pt>
                <c:pt idx="380">
                  <c:v>1391-07-30</c:v>
                </c:pt>
                <c:pt idx="381">
                  <c:v>1391-08-01</c:v>
                </c:pt>
                <c:pt idx="382">
                  <c:v>1391-08-02</c:v>
                </c:pt>
                <c:pt idx="383">
                  <c:v>1391-08-03</c:v>
                </c:pt>
                <c:pt idx="384">
                  <c:v>1391-08-06</c:v>
                </c:pt>
                <c:pt idx="385">
                  <c:v>1391-08-07</c:v>
                </c:pt>
                <c:pt idx="386">
                  <c:v>1391-08-08</c:v>
                </c:pt>
                <c:pt idx="387">
                  <c:v>1391-08-09</c:v>
                </c:pt>
                <c:pt idx="388">
                  <c:v>1391-08-10</c:v>
                </c:pt>
                <c:pt idx="389">
                  <c:v>1391-08-14</c:v>
                </c:pt>
                <c:pt idx="390">
                  <c:v>1391-08-15</c:v>
                </c:pt>
                <c:pt idx="391">
                  <c:v>1391-08-16</c:v>
                </c:pt>
                <c:pt idx="392">
                  <c:v>1391-08-17</c:v>
                </c:pt>
                <c:pt idx="393">
                  <c:v>1391-08-20</c:v>
                </c:pt>
                <c:pt idx="394">
                  <c:v>1391-08-21</c:v>
                </c:pt>
                <c:pt idx="395">
                  <c:v>1391-08-22</c:v>
                </c:pt>
                <c:pt idx="396">
                  <c:v>1391-08-23</c:v>
                </c:pt>
                <c:pt idx="397">
                  <c:v>1391-08-24</c:v>
                </c:pt>
                <c:pt idx="398">
                  <c:v>1391-08-27</c:v>
                </c:pt>
                <c:pt idx="399">
                  <c:v>1391-08-28</c:v>
                </c:pt>
                <c:pt idx="400">
                  <c:v>1391-08-29</c:v>
                </c:pt>
                <c:pt idx="401">
                  <c:v>1391-08-30</c:v>
                </c:pt>
                <c:pt idx="402">
                  <c:v>1391-09-01</c:v>
                </c:pt>
                <c:pt idx="403">
                  <c:v>1391-09-06</c:v>
                </c:pt>
                <c:pt idx="404">
                  <c:v>1391-09-07</c:v>
                </c:pt>
                <c:pt idx="405">
                  <c:v>1391-09-08</c:v>
                </c:pt>
                <c:pt idx="406">
                  <c:v>1391-09-11</c:v>
                </c:pt>
                <c:pt idx="407">
                  <c:v>1391-09-12</c:v>
                </c:pt>
                <c:pt idx="408">
                  <c:v>1391-09-13</c:v>
                </c:pt>
                <c:pt idx="409">
                  <c:v>1391-09-14</c:v>
                </c:pt>
                <c:pt idx="410">
                  <c:v>1391-09-15</c:v>
                </c:pt>
                <c:pt idx="411">
                  <c:v>1391-09-18</c:v>
                </c:pt>
                <c:pt idx="412">
                  <c:v>1391-09-19</c:v>
                </c:pt>
                <c:pt idx="413">
                  <c:v>1391-09-20</c:v>
                </c:pt>
                <c:pt idx="414">
                  <c:v>1391-09-21</c:v>
                </c:pt>
                <c:pt idx="415">
                  <c:v>1391-09-22</c:v>
                </c:pt>
                <c:pt idx="416">
                  <c:v>1391-09-25</c:v>
                </c:pt>
                <c:pt idx="417">
                  <c:v>1391-09-26</c:v>
                </c:pt>
                <c:pt idx="418">
                  <c:v>1391-09-27</c:v>
                </c:pt>
                <c:pt idx="419">
                  <c:v>1391-09-28</c:v>
                </c:pt>
                <c:pt idx="420">
                  <c:v>1391-09-29</c:v>
                </c:pt>
                <c:pt idx="421">
                  <c:v>1391-10-02</c:v>
                </c:pt>
                <c:pt idx="422">
                  <c:v>1391-10-03</c:v>
                </c:pt>
                <c:pt idx="423">
                  <c:v>1391-10-04</c:v>
                </c:pt>
                <c:pt idx="424">
                  <c:v>1391-10-05</c:v>
                </c:pt>
                <c:pt idx="425">
                  <c:v>1391-10-06</c:v>
                </c:pt>
                <c:pt idx="426">
                  <c:v>1391-10-09</c:v>
                </c:pt>
                <c:pt idx="427">
                  <c:v>1391-10-10</c:v>
                </c:pt>
                <c:pt idx="428">
                  <c:v>1391-10-11</c:v>
                </c:pt>
                <c:pt idx="429">
                  <c:v>1391-10-12</c:v>
                </c:pt>
                <c:pt idx="430">
                  <c:v>1391-10-13</c:v>
                </c:pt>
                <c:pt idx="431">
                  <c:v>1391-10-17</c:v>
                </c:pt>
                <c:pt idx="432">
                  <c:v>1391-10-18</c:v>
                </c:pt>
                <c:pt idx="433">
                  <c:v>1391-10-19</c:v>
                </c:pt>
                <c:pt idx="434">
                  <c:v>1391-10-20</c:v>
                </c:pt>
                <c:pt idx="435">
                  <c:v>1391-10-24</c:v>
                </c:pt>
                <c:pt idx="436">
                  <c:v>1391-10-25</c:v>
                </c:pt>
                <c:pt idx="437">
                  <c:v>1391-10-26</c:v>
                </c:pt>
                <c:pt idx="438">
                  <c:v>1391-10-27</c:v>
                </c:pt>
                <c:pt idx="439">
                  <c:v>1391-10-30</c:v>
                </c:pt>
                <c:pt idx="440">
                  <c:v>1391-11-01</c:v>
                </c:pt>
                <c:pt idx="441">
                  <c:v>1391-11-02</c:v>
                </c:pt>
                <c:pt idx="442">
                  <c:v>1391-11-03</c:v>
                </c:pt>
                <c:pt idx="443">
                  <c:v>1391-11-04</c:v>
                </c:pt>
                <c:pt idx="444">
                  <c:v>1391-11-07</c:v>
                </c:pt>
                <c:pt idx="445">
                  <c:v>1391-11-08</c:v>
                </c:pt>
                <c:pt idx="446">
                  <c:v>1391-11-09</c:v>
                </c:pt>
                <c:pt idx="447">
                  <c:v>1391-11-11</c:v>
                </c:pt>
                <c:pt idx="448">
                  <c:v>1391-11-14</c:v>
                </c:pt>
                <c:pt idx="449">
                  <c:v>1391-11-15</c:v>
                </c:pt>
                <c:pt idx="450">
                  <c:v>1391-11-16</c:v>
                </c:pt>
                <c:pt idx="451">
                  <c:v>1391-11-17</c:v>
                </c:pt>
                <c:pt idx="452">
                  <c:v>1391-11-18</c:v>
                </c:pt>
                <c:pt idx="453">
                  <c:v>1391-11-21</c:v>
                </c:pt>
                <c:pt idx="454">
                  <c:v>1391-11-23</c:v>
                </c:pt>
                <c:pt idx="455">
                  <c:v>1391-11-24</c:v>
                </c:pt>
                <c:pt idx="456">
                  <c:v>1391-11-25</c:v>
                </c:pt>
                <c:pt idx="457">
                  <c:v>1391-11-28</c:v>
                </c:pt>
                <c:pt idx="458">
                  <c:v>1391-11-29</c:v>
                </c:pt>
                <c:pt idx="459">
                  <c:v>1391-11-30</c:v>
                </c:pt>
                <c:pt idx="460">
                  <c:v>1391-12-01</c:v>
                </c:pt>
                <c:pt idx="461">
                  <c:v>1391-12-02</c:v>
                </c:pt>
                <c:pt idx="462">
                  <c:v>1391-12-05</c:v>
                </c:pt>
                <c:pt idx="463">
                  <c:v>1391-12-06</c:v>
                </c:pt>
                <c:pt idx="464">
                  <c:v>1391-12-07</c:v>
                </c:pt>
                <c:pt idx="465">
                  <c:v>1391-12-08</c:v>
                </c:pt>
                <c:pt idx="466">
                  <c:v>1391-12-09</c:v>
                </c:pt>
                <c:pt idx="467">
                  <c:v>1391-12-12</c:v>
                </c:pt>
                <c:pt idx="468">
                  <c:v>1391-12-13</c:v>
                </c:pt>
                <c:pt idx="469">
                  <c:v>1391-12-14</c:v>
                </c:pt>
                <c:pt idx="470">
                  <c:v>1391-12-15</c:v>
                </c:pt>
                <c:pt idx="471">
                  <c:v>1391-12-16</c:v>
                </c:pt>
                <c:pt idx="472">
                  <c:v>1391-12-19</c:v>
                </c:pt>
                <c:pt idx="473">
                  <c:v>1391-12-20</c:v>
                </c:pt>
                <c:pt idx="474">
                  <c:v>1391-12-21</c:v>
                </c:pt>
                <c:pt idx="475">
                  <c:v>1391-12-22</c:v>
                </c:pt>
                <c:pt idx="476">
                  <c:v>1391-12-23</c:v>
                </c:pt>
                <c:pt idx="477">
                  <c:v>1391-12-26</c:v>
                </c:pt>
                <c:pt idx="478">
                  <c:v>1391-12-27</c:v>
                </c:pt>
                <c:pt idx="479">
                  <c:v>1391-12-28</c:v>
                </c:pt>
                <c:pt idx="480">
                  <c:v>1392-01-05</c:v>
                </c:pt>
                <c:pt idx="481">
                  <c:v>1392-01-06</c:v>
                </c:pt>
                <c:pt idx="482">
                  <c:v>1392-01-07</c:v>
                </c:pt>
                <c:pt idx="483">
                  <c:v>1392-01-10</c:v>
                </c:pt>
                <c:pt idx="484">
                  <c:v>1392-01-11</c:v>
                </c:pt>
                <c:pt idx="485">
                  <c:v>1392-01-14</c:v>
                </c:pt>
                <c:pt idx="486">
                  <c:v>1392-01-17</c:v>
                </c:pt>
                <c:pt idx="487">
                  <c:v>1392-01-18</c:v>
                </c:pt>
                <c:pt idx="488">
                  <c:v>1392-01-19</c:v>
                </c:pt>
                <c:pt idx="489">
                  <c:v>1392-01-20</c:v>
                </c:pt>
                <c:pt idx="490">
                  <c:v>1392-01-21</c:v>
                </c:pt>
                <c:pt idx="491">
                  <c:v>1392-01-24</c:v>
                </c:pt>
                <c:pt idx="492">
                  <c:v>1392-01-26</c:v>
                </c:pt>
                <c:pt idx="493">
                  <c:v>1392-01-27</c:v>
                </c:pt>
                <c:pt idx="494">
                  <c:v>1392-01-28</c:v>
                </c:pt>
                <c:pt idx="495">
                  <c:v>1392-01-31</c:v>
                </c:pt>
                <c:pt idx="496">
                  <c:v>1392-02-01</c:v>
                </c:pt>
                <c:pt idx="497">
                  <c:v>1392-02-02</c:v>
                </c:pt>
                <c:pt idx="498">
                  <c:v>1392-02-03</c:v>
                </c:pt>
                <c:pt idx="499">
                  <c:v>1392-02-04</c:v>
                </c:pt>
                <c:pt idx="500">
                  <c:v>1392-02-07</c:v>
                </c:pt>
                <c:pt idx="501">
                  <c:v>1392-02-08</c:v>
                </c:pt>
                <c:pt idx="502">
                  <c:v>1392-02-09</c:v>
                </c:pt>
                <c:pt idx="503">
                  <c:v>1392-02-10</c:v>
                </c:pt>
                <c:pt idx="504">
                  <c:v>1392-02-11</c:v>
                </c:pt>
                <c:pt idx="505">
                  <c:v>1392-02-14</c:v>
                </c:pt>
                <c:pt idx="506">
                  <c:v>1392-02-15</c:v>
                </c:pt>
                <c:pt idx="507">
                  <c:v>1392-02-16</c:v>
                </c:pt>
                <c:pt idx="508">
                  <c:v>1392-02-17</c:v>
                </c:pt>
                <c:pt idx="509">
                  <c:v>1392-02-18</c:v>
                </c:pt>
                <c:pt idx="510">
                  <c:v>1392-02-21</c:v>
                </c:pt>
                <c:pt idx="511">
                  <c:v>1392-02-22</c:v>
                </c:pt>
                <c:pt idx="512">
                  <c:v>1392-02-23</c:v>
                </c:pt>
                <c:pt idx="513">
                  <c:v>1392-02-24</c:v>
                </c:pt>
                <c:pt idx="514">
                  <c:v>1392-02-25</c:v>
                </c:pt>
                <c:pt idx="515">
                  <c:v>1392-02-28</c:v>
                </c:pt>
                <c:pt idx="516">
                  <c:v>1392-02-29</c:v>
                </c:pt>
                <c:pt idx="517">
                  <c:v>1392-02-30</c:v>
                </c:pt>
                <c:pt idx="518">
                  <c:v>1392-02-31</c:v>
                </c:pt>
                <c:pt idx="519">
                  <c:v>1392-03-01</c:v>
                </c:pt>
                <c:pt idx="520">
                  <c:v>1392-03-04</c:v>
                </c:pt>
                <c:pt idx="521">
                  <c:v>1392-03-05</c:v>
                </c:pt>
                <c:pt idx="522">
                  <c:v>1392-03-06</c:v>
                </c:pt>
                <c:pt idx="523">
                  <c:v>1392-03-07</c:v>
                </c:pt>
                <c:pt idx="524">
                  <c:v>1392-03-08</c:v>
                </c:pt>
                <c:pt idx="525">
                  <c:v>1392-03-11</c:v>
                </c:pt>
                <c:pt idx="526">
                  <c:v>1392-03-12</c:v>
                </c:pt>
                <c:pt idx="527">
                  <c:v>1392-03-13</c:v>
                </c:pt>
                <c:pt idx="528">
                  <c:v>1392-03-18</c:v>
                </c:pt>
                <c:pt idx="529">
                  <c:v>1392-03-19</c:v>
                </c:pt>
                <c:pt idx="530">
                  <c:v>1392-03-20</c:v>
                </c:pt>
                <c:pt idx="531">
                  <c:v>1392-03-21</c:v>
                </c:pt>
                <c:pt idx="532">
                  <c:v>1392-03-22</c:v>
                </c:pt>
                <c:pt idx="533">
                  <c:v>1392-03-25</c:v>
                </c:pt>
                <c:pt idx="534">
                  <c:v>1392-03-26</c:v>
                </c:pt>
                <c:pt idx="535">
                  <c:v>1392-03-27</c:v>
                </c:pt>
                <c:pt idx="536">
                  <c:v>1392-03-28</c:v>
                </c:pt>
                <c:pt idx="537">
                  <c:v>1392-03-29</c:v>
                </c:pt>
                <c:pt idx="538">
                  <c:v>1392-04-01</c:v>
                </c:pt>
                <c:pt idx="539">
                  <c:v>1392-04-02</c:v>
                </c:pt>
                <c:pt idx="540">
                  <c:v>1392-04-04</c:v>
                </c:pt>
                <c:pt idx="541">
                  <c:v>1392-04-05</c:v>
                </c:pt>
                <c:pt idx="542">
                  <c:v>1392-04-08</c:v>
                </c:pt>
                <c:pt idx="543">
                  <c:v>1392-04-09</c:v>
                </c:pt>
                <c:pt idx="544">
                  <c:v>1392-04-10</c:v>
                </c:pt>
                <c:pt idx="545">
                  <c:v>1392-04-11</c:v>
                </c:pt>
                <c:pt idx="546">
                  <c:v>1392-04-12</c:v>
                </c:pt>
                <c:pt idx="547">
                  <c:v>1392-04-15</c:v>
                </c:pt>
                <c:pt idx="548">
                  <c:v>1392-04-16</c:v>
                </c:pt>
                <c:pt idx="549">
                  <c:v>1392-04-17</c:v>
                </c:pt>
                <c:pt idx="550">
                  <c:v>1392-04-18</c:v>
                </c:pt>
                <c:pt idx="551">
                  <c:v>1392-04-19</c:v>
                </c:pt>
                <c:pt idx="552">
                  <c:v>1392-04-22</c:v>
                </c:pt>
                <c:pt idx="553">
                  <c:v>1392-04-23</c:v>
                </c:pt>
                <c:pt idx="554">
                  <c:v>1392-04-24</c:v>
                </c:pt>
                <c:pt idx="555">
                  <c:v>1392-04-25</c:v>
                </c:pt>
                <c:pt idx="556">
                  <c:v>1392-04-26</c:v>
                </c:pt>
                <c:pt idx="557">
                  <c:v>1392-04-29</c:v>
                </c:pt>
                <c:pt idx="558">
                  <c:v>1392-04-30</c:v>
                </c:pt>
                <c:pt idx="559">
                  <c:v>1392-04-31</c:v>
                </c:pt>
                <c:pt idx="560">
                  <c:v>1392-05-01</c:v>
                </c:pt>
                <c:pt idx="561">
                  <c:v>1392-05-02</c:v>
                </c:pt>
                <c:pt idx="562">
                  <c:v>1392-05-05</c:v>
                </c:pt>
                <c:pt idx="563">
                  <c:v>1392-05-06</c:v>
                </c:pt>
                <c:pt idx="564">
                  <c:v>1392-05-07</c:v>
                </c:pt>
                <c:pt idx="565">
                  <c:v>1392-05-09</c:v>
                </c:pt>
                <c:pt idx="566">
                  <c:v>1392-05-12</c:v>
                </c:pt>
                <c:pt idx="567">
                  <c:v>1392-05-13</c:v>
                </c:pt>
                <c:pt idx="568">
                  <c:v>1392-05-14</c:v>
                </c:pt>
                <c:pt idx="569">
                  <c:v>1392-05-15</c:v>
                </c:pt>
                <c:pt idx="570">
                  <c:v>1392-05-16</c:v>
                </c:pt>
                <c:pt idx="571">
                  <c:v>1392-05-20</c:v>
                </c:pt>
                <c:pt idx="572">
                  <c:v>1392-05-21</c:v>
                </c:pt>
                <c:pt idx="573">
                  <c:v>1392-05-22</c:v>
                </c:pt>
                <c:pt idx="574">
                  <c:v>1392-05-23</c:v>
                </c:pt>
                <c:pt idx="575">
                  <c:v>1392-05-26</c:v>
                </c:pt>
                <c:pt idx="576">
                  <c:v>1392-05-27</c:v>
                </c:pt>
                <c:pt idx="577">
                  <c:v>1392-05-28</c:v>
                </c:pt>
                <c:pt idx="578">
                  <c:v>1392-05-29</c:v>
                </c:pt>
                <c:pt idx="579">
                  <c:v>1392-05-30</c:v>
                </c:pt>
                <c:pt idx="580">
                  <c:v>1392-06-02</c:v>
                </c:pt>
                <c:pt idx="581">
                  <c:v>1392-06-03</c:v>
                </c:pt>
                <c:pt idx="582">
                  <c:v>1392-06-04</c:v>
                </c:pt>
                <c:pt idx="583">
                  <c:v>1392-06-05</c:v>
                </c:pt>
                <c:pt idx="584">
                  <c:v>1392-06-06</c:v>
                </c:pt>
                <c:pt idx="585">
                  <c:v>1392-06-09</c:v>
                </c:pt>
                <c:pt idx="586">
                  <c:v>1392-06-10</c:v>
                </c:pt>
                <c:pt idx="587">
                  <c:v>1392-06-12</c:v>
                </c:pt>
                <c:pt idx="588">
                  <c:v>1392-06-13</c:v>
                </c:pt>
                <c:pt idx="589">
                  <c:v>1392-06-16</c:v>
                </c:pt>
                <c:pt idx="590">
                  <c:v>1392-06-17</c:v>
                </c:pt>
                <c:pt idx="591">
                  <c:v>1392-06-18</c:v>
                </c:pt>
                <c:pt idx="592">
                  <c:v>1392-06-19</c:v>
                </c:pt>
                <c:pt idx="593">
                  <c:v>1392-06-20</c:v>
                </c:pt>
                <c:pt idx="594">
                  <c:v>1392-06-23</c:v>
                </c:pt>
                <c:pt idx="595">
                  <c:v>1392-06-24</c:v>
                </c:pt>
                <c:pt idx="596">
                  <c:v>1392-06-25</c:v>
                </c:pt>
                <c:pt idx="597">
                  <c:v>1392-06-26</c:v>
                </c:pt>
                <c:pt idx="598">
                  <c:v>1392-06-27</c:v>
                </c:pt>
                <c:pt idx="599">
                  <c:v>1392-06-30</c:v>
                </c:pt>
                <c:pt idx="600">
                  <c:v>1392-06-31</c:v>
                </c:pt>
                <c:pt idx="601">
                  <c:v>1392-07-01</c:v>
                </c:pt>
                <c:pt idx="602">
                  <c:v>1392-07-02</c:v>
                </c:pt>
                <c:pt idx="603">
                  <c:v>1392-07-03</c:v>
                </c:pt>
                <c:pt idx="604">
                  <c:v>1392-07-06</c:v>
                </c:pt>
                <c:pt idx="605">
                  <c:v>1392-07-07</c:v>
                </c:pt>
                <c:pt idx="606">
                  <c:v>1392-07-08</c:v>
                </c:pt>
                <c:pt idx="607">
                  <c:v>1392-07-09</c:v>
                </c:pt>
                <c:pt idx="608">
                  <c:v>1392-07-10</c:v>
                </c:pt>
                <c:pt idx="609">
                  <c:v>1392-07-13</c:v>
                </c:pt>
                <c:pt idx="610">
                  <c:v>1392-07-14</c:v>
                </c:pt>
                <c:pt idx="611">
                  <c:v>1392-07-15</c:v>
                </c:pt>
                <c:pt idx="612">
                  <c:v>1392-07-16</c:v>
                </c:pt>
                <c:pt idx="613">
                  <c:v>1392-07-17</c:v>
                </c:pt>
                <c:pt idx="614">
                  <c:v>1392-07-20</c:v>
                </c:pt>
                <c:pt idx="615">
                  <c:v>1392-07-21</c:v>
                </c:pt>
                <c:pt idx="616">
                  <c:v>1392-07-22</c:v>
                </c:pt>
                <c:pt idx="617">
                  <c:v>1392-07-23</c:v>
                </c:pt>
                <c:pt idx="618">
                  <c:v>1392-07-27</c:v>
                </c:pt>
                <c:pt idx="619">
                  <c:v>1392-07-28</c:v>
                </c:pt>
                <c:pt idx="620">
                  <c:v>1392-07-29</c:v>
                </c:pt>
                <c:pt idx="621">
                  <c:v>1392-07-30</c:v>
                </c:pt>
                <c:pt idx="622">
                  <c:v>1392-08-01</c:v>
                </c:pt>
                <c:pt idx="623">
                  <c:v>1392-08-04</c:v>
                </c:pt>
                <c:pt idx="624">
                  <c:v>1392-08-05</c:v>
                </c:pt>
                <c:pt idx="625">
                  <c:v>1392-08-06</c:v>
                </c:pt>
                <c:pt idx="626">
                  <c:v>1392-08-07</c:v>
                </c:pt>
                <c:pt idx="627">
                  <c:v>1392-08-08</c:v>
                </c:pt>
                <c:pt idx="628">
                  <c:v>1392-08-11</c:v>
                </c:pt>
                <c:pt idx="629">
                  <c:v>1392-08-12</c:v>
                </c:pt>
                <c:pt idx="630">
                  <c:v>1392-08-13</c:v>
                </c:pt>
                <c:pt idx="631">
                  <c:v>1392-08-14</c:v>
                </c:pt>
                <c:pt idx="632">
                  <c:v>1392-08-15</c:v>
                </c:pt>
                <c:pt idx="633">
                  <c:v>1392-08-18</c:v>
                </c:pt>
                <c:pt idx="634">
                  <c:v>1392-08-19</c:v>
                </c:pt>
                <c:pt idx="635">
                  <c:v>1392-08-20</c:v>
                </c:pt>
                <c:pt idx="636">
                  <c:v>1392-08-21</c:v>
                </c:pt>
                <c:pt idx="637">
                  <c:v>1392-08-25</c:v>
                </c:pt>
                <c:pt idx="638">
                  <c:v>1392-08-26</c:v>
                </c:pt>
                <c:pt idx="639">
                  <c:v>1392-08-27</c:v>
                </c:pt>
                <c:pt idx="640">
                  <c:v>1392-08-28</c:v>
                </c:pt>
                <c:pt idx="641">
                  <c:v>1392-08-29</c:v>
                </c:pt>
                <c:pt idx="642">
                  <c:v>1392-09-02</c:v>
                </c:pt>
                <c:pt idx="643">
                  <c:v>1392-09-03</c:v>
                </c:pt>
                <c:pt idx="644">
                  <c:v>1392-09-04</c:v>
                </c:pt>
                <c:pt idx="645">
                  <c:v>1392-09-05</c:v>
                </c:pt>
                <c:pt idx="646">
                  <c:v>1392-09-06</c:v>
                </c:pt>
                <c:pt idx="647">
                  <c:v>1392-09-09</c:v>
                </c:pt>
                <c:pt idx="648">
                  <c:v>1392-09-10</c:v>
                </c:pt>
                <c:pt idx="649">
                  <c:v>1392-09-11</c:v>
                </c:pt>
                <c:pt idx="650">
                  <c:v>1392-09-12</c:v>
                </c:pt>
                <c:pt idx="651">
                  <c:v>1392-09-13</c:v>
                </c:pt>
                <c:pt idx="652">
                  <c:v>1392-09-16</c:v>
                </c:pt>
                <c:pt idx="653">
                  <c:v>1392-09-17</c:v>
                </c:pt>
                <c:pt idx="654">
                  <c:v>1392-09-18</c:v>
                </c:pt>
                <c:pt idx="655">
                  <c:v>1392-09-19</c:v>
                </c:pt>
                <c:pt idx="656">
                  <c:v>1392-09-20</c:v>
                </c:pt>
                <c:pt idx="657">
                  <c:v>1392-09-23</c:v>
                </c:pt>
                <c:pt idx="658">
                  <c:v>1392-09-24</c:v>
                </c:pt>
                <c:pt idx="659">
                  <c:v>1392-09-25</c:v>
                </c:pt>
                <c:pt idx="660">
                  <c:v>1392-09-26</c:v>
                </c:pt>
                <c:pt idx="661">
                  <c:v>1392-09-27</c:v>
                </c:pt>
                <c:pt idx="662">
                  <c:v>1392-09-30</c:v>
                </c:pt>
                <c:pt idx="663">
                  <c:v>1392-10-01</c:v>
                </c:pt>
                <c:pt idx="664">
                  <c:v>1392-10-03</c:v>
                </c:pt>
                <c:pt idx="665">
                  <c:v>1392-10-04</c:v>
                </c:pt>
                <c:pt idx="666">
                  <c:v>1392-10-07</c:v>
                </c:pt>
                <c:pt idx="667">
                  <c:v>1392-10-08</c:v>
                </c:pt>
                <c:pt idx="668">
                  <c:v>1392-10-09</c:v>
                </c:pt>
                <c:pt idx="669">
                  <c:v>1392-10-11</c:v>
                </c:pt>
                <c:pt idx="670">
                  <c:v>1392-10-14</c:v>
                </c:pt>
                <c:pt idx="671">
                  <c:v>1392-10-15</c:v>
                </c:pt>
                <c:pt idx="672">
                  <c:v>1392-10-16</c:v>
                </c:pt>
                <c:pt idx="673">
                  <c:v>1392-10-17</c:v>
                </c:pt>
                <c:pt idx="674">
                  <c:v>1392-10-18</c:v>
                </c:pt>
                <c:pt idx="675">
                  <c:v>1392-10-21</c:v>
                </c:pt>
                <c:pt idx="676">
                  <c:v>1392-10-22</c:v>
                </c:pt>
                <c:pt idx="677">
                  <c:v>1392-10-23</c:v>
                </c:pt>
                <c:pt idx="678">
                  <c:v>1392-10-24</c:v>
                </c:pt>
                <c:pt idx="679">
                  <c:v>1392-10-25</c:v>
                </c:pt>
                <c:pt idx="680">
                  <c:v>1392-10-28</c:v>
                </c:pt>
                <c:pt idx="681">
                  <c:v>1392-10-30</c:v>
                </c:pt>
                <c:pt idx="682">
                  <c:v>1392-11-01</c:v>
                </c:pt>
                <c:pt idx="683">
                  <c:v>1392-11-02</c:v>
                </c:pt>
                <c:pt idx="684">
                  <c:v>1392-11-05</c:v>
                </c:pt>
                <c:pt idx="685">
                  <c:v>1392-11-06</c:v>
                </c:pt>
                <c:pt idx="686">
                  <c:v>1392-11-07</c:v>
                </c:pt>
                <c:pt idx="687">
                  <c:v>1392-11-08</c:v>
                </c:pt>
                <c:pt idx="688">
                  <c:v>1392-11-09</c:v>
                </c:pt>
                <c:pt idx="689">
                  <c:v>1392-11-12</c:v>
                </c:pt>
                <c:pt idx="690">
                  <c:v>1392-11-13</c:v>
                </c:pt>
                <c:pt idx="691">
                  <c:v>1392-11-14</c:v>
                </c:pt>
                <c:pt idx="692">
                  <c:v>1392-11-15</c:v>
                </c:pt>
                <c:pt idx="693">
                  <c:v>1392-11-16</c:v>
                </c:pt>
                <c:pt idx="694">
                  <c:v>1392-11-19</c:v>
                </c:pt>
                <c:pt idx="695">
                  <c:v>1392-11-20</c:v>
                </c:pt>
                <c:pt idx="696">
                  <c:v>1392-11-21</c:v>
                </c:pt>
                <c:pt idx="697">
                  <c:v>1392-11-23</c:v>
                </c:pt>
                <c:pt idx="698">
                  <c:v>1392-11-26</c:v>
                </c:pt>
                <c:pt idx="699">
                  <c:v>1392-11-27</c:v>
                </c:pt>
                <c:pt idx="700">
                  <c:v>1392-11-28</c:v>
                </c:pt>
                <c:pt idx="701">
                  <c:v>1392-11-29</c:v>
                </c:pt>
                <c:pt idx="702">
                  <c:v>1392-11-30</c:v>
                </c:pt>
                <c:pt idx="703">
                  <c:v>1392-12-03</c:v>
                </c:pt>
                <c:pt idx="704">
                  <c:v>1392-12-04</c:v>
                </c:pt>
                <c:pt idx="705">
                  <c:v>1392-12-05</c:v>
                </c:pt>
                <c:pt idx="706">
                  <c:v>1392-12-06</c:v>
                </c:pt>
                <c:pt idx="707">
                  <c:v>1392-12-07</c:v>
                </c:pt>
                <c:pt idx="708">
                  <c:v>1392-12-10</c:v>
                </c:pt>
                <c:pt idx="709">
                  <c:v>1392-12-11</c:v>
                </c:pt>
                <c:pt idx="710">
                  <c:v>1392-12-12</c:v>
                </c:pt>
                <c:pt idx="711">
                  <c:v>1392-12-13</c:v>
                </c:pt>
                <c:pt idx="712">
                  <c:v>1392-12-14</c:v>
                </c:pt>
                <c:pt idx="713">
                  <c:v>1392-12-17</c:v>
                </c:pt>
                <c:pt idx="714">
                  <c:v>1392-12-18</c:v>
                </c:pt>
                <c:pt idx="715">
                  <c:v>1392-12-19</c:v>
                </c:pt>
                <c:pt idx="716">
                  <c:v>1392-12-20</c:v>
                </c:pt>
                <c:pt idx="717">
                  <c:v>1392-12-21</c:v>
                </c:pt>
                <c:pt idx="718">
                  <c:v>1392-12-24</c:v>
                </c:pt>
                <c:pt idx="719">
                  <c:v>1392-12-25</c:v>
                </c:pt>
                <c:pt idx="720">
                  <c:v>1392-12-26</c:v>
                </c:pt>
                <c:pt idx="721">
                  <c:v>1392-12-27</c:v>
                </c:pt>
                <c:pt idx="722">
                  <c:v>1392-12-28</c:v>
                </c:pt>
                <c:pt idx="723">
                  <c:v>1393-01-05</c:v>
                </c:pt>
                <c:pt idx="724">
                  <c:v>1393-01-06</c:v>
                </c:pt>
                <c:pt idx="725">
                  <c:v>1393-01-09</c:v>
                </c:pt>
                <c:pt idx="726">
                  <c:v>1393-01-10</c:v>
                </c:pt>
                <c:pt idx="727">
                  <c:v>1393-01-11</c:v>
                </c:pt>
                <c:pt idx="728">
                  <c:v>1393-01-16</c:v>
                </c:pt>
                <c:pt idx="729">
                  <c:v>1393-01-17</c:v>
                </c:pt>
                <c:pt idx="730">
                  <c:v>1393-01-18</c:v>
                </c:pt>
                <c:pt idx="731">
                  <c:v>1393-01-19</c:v>
                </c:pt>
                <c:pt idx="732">
                  <c:v>1393-01-20</c:v>
                </c:pt>
                <c:pt idx="733">
                  <c:v>1393-01-23</c:v>
                </c:pt>
                <c:pt idx="734">
                  <c:v>1393-01-24</c:v>
                </c:pt>
                <c:pt idx="735">
                  <c:v>1393-01-25</c:v>
                </c:pt>
                <c:pt idx="736">
                  <c:v>1393-01-26</c:v>
                </c:pt>
                <c:pt idx="737">
                  <c:v>1393-01-27</c:v>
                </c:pt>
                <c:pt idx="738">
                  <c:v>1393-01-30</c:v>
                </c:pt>
                <c:pt idx="739">
                  <c:v>1393-01-31</c:v>
                </c:pt>
                <c:pt idx="740">
                  <c:v>1393-02-01</c:v>
                </c:pt>
                <c:pt idx="741">
                  <c:v>1393-02-02</c:v>
                </c:pt>
                <c:pt idx="742">
                  <c:v>1393-02-03</c:v>
                </c:pt>
                <c:pt idx="743">
                  <c:v>1393-02-06</c:v>
                </c:pt>
                <c:pt idx="744">
                  <c:v>1393-02-07</c:v>
                </c:pt>
                <c:pt idx="745">
                  <c:v>1393-02-08</c:v>
                </c:pt>
                <c:pt idx="746">
                  <c:v>1393-02-09</c:v>
                </c:pt>
                <c:pt idx="747">
                  <c:v>1393-02-10</c:v>
                </c:pt>
                <c:pt idx="748">
                  <c:v>1393-02-13</c:v>
                </c:pt>
                <c:pt idx="749">
                  <c:v>1393-02-14</c:v>
                </c:pt>
                <c:pt idx="750">
                  <c:v>1393-02-15</c:v>
                </c:pt>
                <c:pt idx="751">
                  <c:v>1393-02-16</c:v>
                </c:pt>
                <c:pt idx="752">
                  <c:v>1393-02-17</c:v>
                </c:pt>
                <c:pt idx="753">
                  <c:v>1393-02-20</c:v>
                </c:pt>
                <c:pt idx="754">
                  <c:v>1393-02-21</c:v>
                </c:pt>
                <c:pt idx="755">
                  <c:v>1393-02-22</c:v>
                </c:pt>
                <c:pt idx="756">
                  <c:v>1393-02-24</c:v>
                </c:pt>
                <c:pt idx="757">
                  <c:v>1393-02-27</c:v>
                </c:pt>
                <c:pt idx="758">
                  <c:v>1393-02-28</c:v>
                </c:pt>
                <c:pt idx="759">
                  <c:v>1393-02-29</c:v>
                </c:pt>
                <c:pt idx="760">
                  <c:v>1393-02-30</c:v>
                </c:pt>
                <c:pt idx="761">
                  <c:v>1393-02-31</c:v>
                </c:pt>
                <c:pt idx="762">
                  <c:v>1393-03-03</c:v>
                </c:pt>
                <c:pt idx="763">
                  <c:v>1393-03-04</c:v>
                </c:pt>
                <c:pt idx="764">
                  <c:v>1393-03-05</c:v>
                </c:pt>
                <c:pt idx="765">
                  <c:v>1393-03-07</c:v>
                </c:pt>
                <c:pt idx="766">
                  <c:v>1393-03-10</c:v>
                </c:pt>
                <c:pt idx="767">
                  <c:v>1393-03-11</c:v>
                </c:pt>
                <c:pt idx="768">
                  <c:v>1393-03-12</c:v>
                </c:pt>
                <c:pt idx="769">
                  <c:v>1393-03-13</c:v>
                </c:pt>
                <c:pt idx="770">
                  <c:v>1393-03-17</c:v>
                </c:pt>
                <c:pt idx="771">
                  <c:v>1393-03-18</c:v>
                </c:pt>
                <c:pt idx="772">
                  <c:v>1393-03-19</c:v>
                </c:pt>
                <c:pt idx="773">
                  <c:v>1393-03-20</c:v>
                </c:pt>
                <c:pt idx="774">
                  <c:v>1393-03-21</c:v>
                </c:pt>
                <c:pt idx="775">
                  <c:v>1393-03-24</c:v>
                </c:pt>
                <c:pt idx="776">
                  <c:v>1393-03-25</c:v>
                </c:pt>
                <c:pt idx="777">
                  <c:v>1393-03-26</c:v>
                </c:pt>
                <c:pt idx="778">
                  <c:v>1393-03-27</c:v>
                </c:pt>
                <c:pt idx="779">
                  <c:v>1393-03-28</c:v>
                </c:pt>
                <c:pt idx="780">
                  <c:v>1393-03-31</c:v>
                </c:pt>
                <c:pt idx="781">
                  <c:v>1393-04-01</c:v>
                </c:pt>
                <c:pt idx="782">
                  <c:v>1393-04-02</c:v>
                </c:pt>
                <c:pt idx="783">
                  <c:v>1393-04-03</c:v>
                </c:pt>
                <c:pt idx="784">
                  <c:v>1393-04-04</c:v>
                </c:pt>
                <c:pt idx="785">
                  <c:v>1393-04-07</c:v>
                </c:pt>
                <c:pt idx="786">
                  <c:v>1393-04-08</c:v>
                </c:pt>
                <c:pt idx="787">
                  <c:v>1393-04-09</c:v>
                </c:pt>
                <c:pt idx="788">
                  <c:v>1393-04-10</c:v>
                </c:pt>
                <c:pt idx="789">
                  <c:v>1393-04-11</c:v>
                </c:pt>
                <c:pt idx="790">
                  <c:v>1393-04-14</c:v>
                </c:pt>
                <c:pt idx="791">
                  <c:v>1393-04-15</c:v>
                </c:pt>
                <c:pt idx="792">
                  <c:v>1393-04-16</c:v>
                </c:pt>
                <c:pt idx="793">
                  <c:v>1393-04-17</c:v>
                </c:pt>
                <c:pt idx="794">
                  <c:v>1393-04-18</c:v>
                </c:pt>
                <c:pt idx="795">
                  <c:v>1393-04-21</c:v>
                </c:pt>
                <c:pt idx="796">
                  <c:v>1393-04-22</c:v>
                </c:pt>
                <c:pt idx="797">
                  <c:v>1393-04-23</c:v>
                </c:pt>
                <c:pt idx="798">
                  <c:v>1393-04-24</c:v>
                </c:pt>
                <c:pt idx="799">
                  <c:v>1393-04-25</c:v>
                </c:pt>
                <c:pt idx="800">
                  <c:v>1393-04-29</c:v>
                </c:pt>
                <c:pt idx="801">
                  <c:v>1393-04-30</c:v>
                </c:pt>
                <c:pt idx="802">
                  <c:v>1393-04-31</c:v>
                </c:pt>
                <c:pt idx="803">
                  <c:v>1393-05-01</c:v>
                </c:pt>
                <c:pt idx="804">
                  <c:v>1393-05-04</c:v>
                </c:pt>
                <c:pt idx="805">
                  <c:v>1393-05-05</c:v>
                </c:pt>
                <c:pt idx="806">
                  <c:v>1393-05-06</c:v>
                </c:pt>
                <c:pt idx="807">
                  <c:v>1393-05-11</c:v>
                </c:pt>
                <c:pt idx="808">
                  <c:v>1393-05-12</c:v>
                </c:pt>
                <c:pt idx="809">
                  <c:v>1393-05-13</c:v>
                </c:pt>
                <c:pt idx="810">
                  <c:v>1393-05-14</c:v>
                </c:pt>
                <c:pt idx="811">
                  <c:v>1393-05-15</c:v>
                </c:pt>
                <c:pt idx="812">
                  <c:v>1393-05-18</c:v>
                </c:pt>
                <c:pt idx="813">
                  <c:v>1393-05-19</c:v>
                </c:pt>
                <c:pt idx="814">
                  <c:v>1393-05-20</c:v>
                </c:pt>
                <c:pt idx="815">
                  <c:v>1393-05-21</c:v>
                </c:pt>
                <c:pt idx="816">
                  <c:v>1393-05-22</c:v>
                </c:pt>
                <c:pt idx="817">
                  <c:v>1393-05-25</c:v>
                </c:pt>
                <c:pt idx="818">
                  <c:v>1393-05-26</c:v>
                </c:pt>
                <c:pt idx="819">
                  <c:v>1393-05-27</c:v>
                </c:pt>
                <c:pt idx="820">
                  <c:v>1393-05-28</c:v>
                </c:pt>
                <c:pt idx="821">
                  <c:v>1393-05-29</c:v>
                </c:pt>
                <c:pt idx="822">
                  <c:v>1393-06-01</c:v>
                </c:pt>
                <c:pt idx="823">
                  <c:v>1393-06-02</c:v>
                </c:pt>
                <c:pt idx="824">
                  <c:v>1393-06-03</c:v>
                </c:pt>
                <c:pt idx="825">
                  <c:v>1393-06-04</c:v>
                </c:pt>
                <c:pt idx="826">
                  <c:v>1393-06-05</c:v>
                </c:pt>
                <c:pt idx="827">
                  <c:v>1393-06-08</c:v>
                </c:pt>
                <c:pt idx="828">
                  <c:v>1393-06-09</c:v>
                </c:pt>
                <c:pt idx="829">
                  <c:v>1393-06-10</c:v>
                </c:pt>
                <c:pt idx="830">
                  <c:v>1393-06-11</c:v>
                </c:pt>
                <c:pt idx="831">
                  <c:v>1393-06-12</c:v>
                </c:pt>
                <c:pt idx="832">
                  <c:v>1393-06-15</c:v>
                </c:pt>
                <c:pt idx="833">
                  <c:v>1393-06-16</c:v>
                </c:pt>
                <c:pt idx="834">
                  <c:v>1393-06-17</c:v>
                </c:pt>
                <c:pt idx="835">
                  <c:v>1393-06-18</c:v>
                </c:pt>
                <c:pt idx="836">
                  <c:v>1393-06-19</c:v>
                </c:pt>
                <c:pt idx="837">
                  <c:v>1393-06-22</c:v>
                </c:pt>
                <c:pt idx="838">
                  <c:v>1393-06-23</c:v>
                </c:pt>
                <c:pt idx="839">
                  <c:v>1393-06-24</c:v>
                </c:pt>
                <c:pt idx="840">
                  <c:v>1393-06-25</c:v>
                </c:pt>
                <c:pt idx="841">
                  <c:v>1393-06-26</c:v>
                </c:pt>
                <c:pt idx="842">
                  <c:v>1393-06-29</c:v>
                </c:pt>
                <c:pt idx="843">
                  <c:v>1393-06-30</c:v>
                </c:pt>
                <c:pt idx="844">
                  <c:v>1393-06-31</c:v>
                </c:pt>
                <c:pt idx="845">
                  <c:v>1393-07-01</c:v>
                </c:pt>
                <c:pt idx="846">
                  <c:v>1393-07-02</c:v>
                </c:pt>
                <c:pt idx="847">
                  <c:v>1393-07-05</c:v>
                </c:pt>
                <c:pt idx="848">
                  <c:v>1393-07-06</c:v>
                </c:pt>
                <c:pt idx="849">
                  <c:v>1393-07-07</c:v>
                </c:pt>
                <c:pt idx="850">
                  <c:v>1393-07-08</c:v>
                </c:pt>
                <c:pt idx="851">
                  <c:v>1393-07-09</c:v>
                </c:pt>
                <c:pt idx="852">
                  <c:v>1393-07-12</c:v>
                </c:pt>
                <c:pt idx="853">
                  <c:v>1393-07-14</c:v>
                </c:pt>
                <c:pt idx="854">
                  <c:v>1393-07-15</c:v>
                </c:pt>
                <c:pt idx="855">
                  <c:v>1393-07-16</c:v>
                </c:pt>
                <c:pt idx="856">
                  <c:v>1393-07-19</c:v>
                </c:pt>
                <c:pt idx="857">
                  <c:v>1393-07-20</c:v>
                </c:pt>
                <c:pt idx="858">
                  <c:v>1393-07-22</c:v>
                </c:pt>
                <c:pt idx="859">
                  <c:v>1393-07-23</c:v>
                </c:pt>
                <c:pt idx="860">
                  <c:v>1393-07-26</c:v>
                </c:pt>
                <c:pt idx="861">
                  <c:v>1393-07-27</c:v>
                </c:pt>
                <c:pt idx="862">
                  <c:v>1393-07-28</c:v>
                </c:pt>
                <c:pt idx="863">
                  <c:v>1393-07-29</c:v>
                </c:pt>
                <c:pt idx="864">
                  <c:v>1393-07-30</c:v>
                </c:pt>
                <c:pt idx="865">
                  <c:v>1393-08-03</c:v>
                </c:pt>
                <c:pt idx="866">
                  <c:v>1393-08-04</c:v>
                </c:pt>
                <c:pt idx="867">
                  <c:v>1393-08-05</c:v>
                </c:pt>
                <c:pt idx="868">
                  <c:v>1393-08-06</c:v>
                </c:pt>
                <c:pt idx="869">
                  <c:v>1393-08-07</c:v>
                </c:pt>
                <c:pt idx="870">
                  <c:v>1393-08-10</c:v>
                </c:pt>
                <c:pt idx="871">
                  <c:v>1393-08-11</c:v>
                </c:pt>
                <c:pt idx="872">
                  <c:v>1393-08-14</c:v>
                </c:pt>
                <c:pt idx="873">
                  <c:v>1393-08-17</c:v>
                </c:pt>
                <c:pt idx="874">
                  <c:v>1393-08-18</c:v>
                </c:pt>
                <c:pt idx="875">
                  <c:v>1393-08-19</c:v>
                </c:pt>
                <c:pt idx="876">
                  <c:v>1393-08-20</c:v>
                </c:pt>
                <c:pt idx="877">
                  <c:v>1393-08-21</c:v>
                </c:pt>
                <c:pt idx="878">
                  <c:v>1393-08-24</c:v>
                </c:pt>
                <c:pt idx="879">
                  <c:v>1393-08-25</c:v>
                </c:pt>
                <c:pt idx="880">
                  <c:v>1393-08-26</c:v>
                </c:pt>
                <c:pt idx="881">
                  <c:v>1393-08-27</c:v>
                </c:pt>
                <c:pt idx="882">
                  <c:v>1393-08-28</c:v>
                </c:pt>
                <c:pt idx="883">
                  <c:v>1393-09-01</c:v>
                </c:pt>
                <c:pt idx="884">
                  <c:v>1393-09-02</c:v>
                </c:pt>
                <c:pt idx="885">
                  <c:v>1393-09-03</c:v>
                </c:pt>
                <c:pt idx="886">
                  <c:v>1393-09-04</c:v>
                </c:pt>
                <c:pt idx="887">
                  <c:v>1393-09-05</c:v>
                </c:pt>
                <c:pt idx="888">
                  <c:v>1393-09-08</c:v>
                </c:pt>
                <c:pt idx="889">
                  <c:v>1393-09-09</c:v>
                </c:pt>
                <c:pt idx="890">
                  <c:v>1393-09-10</c:v>
                </c:pt>
                <c:pt idx="891">
                  <c:v>1393-09-11</c:v>
                </c:pt>
                <c:pt idx="892">
                  <c:v>1393-09-12</c:v>
                </c:pt>
                <c:pt idx="893">
                  <c:v>1393-09-15</c:v>
                </c:pt>
                <c:pt idx="894">
                  <c:v>1393-09-16</c:v>
                </c:pt>
                <c:pt idx="895">
                  <c:v>1393-09-17</c:v>
                </c:pt>
                <c:pt idx="896">
                  <c:v>1393-09-18</c:v>
                </c:pt>
                <c:pt idx="897">
                  <c:v>1393-09-19</c:v>
                </c:pt>
                <c:pt idx="898">
                  <c:v>1393-09-23</c:v>
                </c:pt>
                <c:pt idx="899">
                  <c:v>1393-09-24</c:v>
                </c:pt>
                <c:pt idx="900">
                  <c:v>1393-09-25</c:v>
                </c:pt>
                <c:pt idx="901">
                  <c:v>1393-09-26</c:v>
                </c:pt>
                <c:pt idx="902">
                  <c:v>1393-09-29</c:v>
                </c:pt>
                <c:pt idx="903">
                  <c:v>1393-10-01</c:v>
                </c:pt>
                <c:pt idx="904">
                  <c:v>1393-10-03</c:v>
                </c:pt>
                <c:pt idx="905">
                  <c:v>1393-10-06</c:v>
                </c:pt>
                <c:pt idx="906">
                  <c:v>1393-10-07</c:v>
                </c:pt>
                <c:pt idx="907">
                  <c:v>1393-10-08</c:v>
                </c:pt>
                <c:pt idx="908">
                  <c:v>1393-10-09</c:v>
                </c:pt>
                <c:pt idx="909">
                  <c:v>1393-10-10</c:v>
                </c:pt>
                <c:pt idx="910">
                  <c:v>1393-10-13</c:v>
                </c:pt>
                <c:pt idx="911">
                  <c:v>1393-10-14</c:v>
                </c:pt>
                <c:pt idx="912">
                  <c:v>1393-10-15</c:v>
                </c:pt>
                <c:pt idx="913">
                  <c:v>1393-10-16</c:v>
                </c:pt>
                <c:pt idx="914">
                  <c:v>1393-10-17</c:v>
                </c:pt>
                <c:pt idx="915">
                  <c:v>1393-10-20</c:v>
                </c:pt>
                <c:pt idx="916">
                  <c:v>1393-10-21</c:v>
                </c:pt>
                <c:pt idx="917">
                  <c:v>1393-10-22</c:v>
                </c:pt>
                <c:pt idx="918">
                  <c:v>1393-10-23</c:v>
                </c:pt>
                <c:pt idx="919">
                  <c:v>1393-10-24</c:v>
                </c:pt>
                <c:pt idx="920">
                  <c:v>1393-10-27</c:v>
                </c:pt>
                <c:pt idx="921">
                  <c:v>1393-10-28</c:v>
                </c:pt>
                <c:pt idx="922">
                  <c:v>1393-10-29</c:v>
                </c:pt>
                <c:pt idx="923">
                  <c:v>1393-10-30</c:v>
                </c:pt>
                <c:pt idx="924">
                  <c:v>1393-11-01</c:v>
                </c:pt>
                <c:pt idx="925">
                  <c:v>1393-11-04</c:v>
                </c:pt>
                <c:pt idx="926">
                  <c:v>1393-11-05</c:v>
                </c:pt>
                <c:pt idx="927">
                  <c:v>1393-11-06</c:v>
                </c:pt>
                <c:pt idx="928">
                  <c:v>1393-11-07</c:v>
                </c:pt>
                <c:pt idx="929">
                  <c:v>1393-11-08</c:v>
                </c:pt>
                <c:pt idx="930">
                  <c:v>1393-11-11</c:v>
                </c:pt>
                <c:pt idx="931">
                  <c:v>1393-11-12</c:v>
                </c:pt>
                <c:pt idx="932">
                  <c:v>1393-11-13</c:v>
                </c:pt>
                <c:pt idx="933">
                  <c:v>1393-11-14</c:v>
                </c:pt>
                <c:pt idx="934">
                  <c:v>1393-11-15</c:v>
                </c:pt>
                <c:pt idx="935">
                  <c:v>1393-11-18</c:v>
                </c:pt>
                <c:pt idx="936">
                  <c:v>1393-11-19</c:v>
                </c:pt>
                <c:pt idx="937">
                  <c:v>1393-11-20</c:v>
                </c:pt>
                <c:pt idx="938">
                  <c:v>1393-11-21</c:v>
                </c:pt>
                <c:pt idx="939">
                  <c:v>1393-11-25</c:v>
                </c:pt>
                <c:pt idx="940">
                  <c:v>1393-11-26</c:v>
                </c:pt>
                <c:pt idx="941">
                  <c:v>1393-11-27</c:v>
                </c:pt>
                <c:pt idx="942">
                  <c:v>1393-11-28</c:v>
                </c:pt>
                <c:pt idx="943">
                  <c:v>1393-11-29</c:v>
                </c:pt>
                <c:pt idx="944">
                  <c:v>1393-12-02</c:v>
                </c:pt>
                <c:pt idx="945">
                  <c:v>1393-12-03</c:v>
                </c:pt>
                <c:pt idx="946">
                  <c:v>1393-12-04</c:v>
                </c:pt>
                <c:pt idx="947">
                  <c:v>1393-12-05</c:v>
                </c:pt>
                <c:pt idx="948">
                  <c:v>1393-12-06</c:v>
                </c:pt>
                <c:pt idx="949">
                  <c:v>1393-12-09</c:v>
                </c:pt>
                <c:pt idx="950">
                  <c:v>1393-12-10</c:v>
                </c:pt>
                <c:pt idx="951">
                  <c:v>1393-12-11</c:v>
                </c:pt>
                <c:pt idx="952">
                  <c:v>1393-12-12</c:v>
                </c:pt>
                <c:pt idx="953">
                  <c:v>1393-12-13</c:v>
                </c:pt>
                <c:pt idx="954">
                  <c:v>1393-12-16</c:v>
                </c:pt>
                <c:pt idx="955">
                  <c:v>1393-12-17</c:v>
                </c:pt>
                <c:pt idx="956">
                  <c:v>1393-12-18</c:v>
                </c:pt>
                <c:pt idx="957">
                  <c:v>1393-12-19</c:v>
                </c:pt>
                <c:pt idx="958">
                  <c:v>1393-12-20</c:v>
                </c:pt>
                <c:pt idx="959">
                  <c:v>1393-12-23</c:v>
                </c:pt>
                <c:pt idx="960">
                  <c:v>1393-12-24</c:v>
                </c:pt>
                <c:pt idx="961">
                  <c:v>1393-12-25</c:v>
                </c:pt>
                <c:pt idx="962">
                  <c:v>1393-12-26</c:v>
                </c:pt>
                <c:pt idx="963">
                  <c:v>1393-12-27</c:v>
                </c:pt>
                <c:pt idx="964">
                  <c:v>1394-01-05</c:v>
                </c:pt>
                <c:pt idx="965">
                  <c:v>1394-01-08</c:v>
                </c:pt>
                <c:pt idx="966">
                  <c:v>1394-01-09</c:v>
                </c:pt>
                <c:pt idx="967">
                  <c:v>1394-01-10</c:v>
                </c:pt>
                <c:pt idx="968">
                  <c:v>1394-01-11</c:v>
                </c:pt>
                <c:pt idx="969">
                  <c:v>1394-01-15</c:v>
                </c:pt>
                <c:pt idx="970">
                  <c:v>1394-01-16</c:v>
                </c:pt>
                <c:pt idx="971">
                  <c:v>1394-01-17</c:v>
                </c:pt>
                <c:pt idx="972">
                  <c:v>1394-01-18</c:v>
                </c:pt>
                <c:pt idx="973">
                  <c:v>1394-01-19</c:v>
                </c:pt>
                <c:pt idx="974">
                  <c:v>1394-01-22</c:v>
                </c:pt>
                <c:pt idx="975">
                  <c:v>1394-01-23</c:v>
                </c:pt>
                <c:pt idx="976">
                  <c:v>1394-01-24</c:v>
                </c:pt>
                <c:pt idx="977">
                  <c:v>1394-01-25</c:v>
                </c:pt>
                <c:pt idx="978">
                  <c:v>1394-01-26</c:v>
                </c:pt>
                <c:pt idx="979">
                  <c:v>1394-01-29</c:v>
                </c:pt>
                <c:pt idx="980">
                  <c:v>1394-01-30</c:v>
                </c:pt>
                <c:pt idx="981">
                  <c:v>1394-01-31</c:v>
                </c:pt>
                <c:pt idx="982">
                  <c:v>1394-02-01</c:v>
                </c:pt>
                <c:pt idx="983">
                  <c:v>1394-02-02</c:v>
                </c:pt>
                <c:pt idx="984">
                  <c:v>1394-02-05</c:v>
                </c:pt>
                <c:pt idx="985">
                  <c:v>1394-02-06</c:v>
                </c:pt>
                <c:pt idx="986">
                  <c:v>1394-02-07</c:v>
                </c:pt>
                <c:pt idx="987">
                  <c:v>1394-02-08</c:v>
                </c:pt>
                <c:pt idx="988">
                  <c:v>1394-02-09</c:v>
                </c:pt>
                <c:pt idx="989">
                  <c:v>1394-02-13</c:v>
                </c:pt>
                <c:pt idx="990">
                  <c:v>1394-02-14</c:v>
                </c:pt>
                <c:pt idx="991">
                  <c:v>1394-02-15</c:v>
                </c:pt>
                <c:pt idx="992">
                  <c:v>1394-02-16</c:v>
                </c:pt>
                <c:pt idx="993">
                  <c:v>1394-02-19</c:v>
                </c:pt>
                <c:pt idx="994">
                  <c:v>1394-02-20</c:v>
                </c:pt>
                <c:pt idx="995">
                  <c:v>1394-02-21</c:v>
                </c:pt>
                <c:pt idx="996">
                  <c:v>1394-02-22</c:v>
                </c:pt>
                <c:pt idx="997">
                  <c:v>1394-02-23</c:v>
                </c:pt>
                <c:pt idx="998">
                  <c:v>1394-02-27</c:v>
                </c:pt>
                <c:pt idx="999">
                  <c:v>1394-02-28</c:v>
                </c:pt>
                <c:pt idx="1000">
                  <c:v>1394-02-29</c:v>
                </c:pt>
                <c:pt idx="1001">
                  <c:v>1394-02-30</c:v>
                </c:pt>
                <c:pt idx="1002">
                  <c:v>1394-03-02</c:v>
                </c:pt>
                <c:pt idx="1003">
                  <c:v>1394-03-03</c:v>
                </c:pt>
                <c:pt idx="1004">
                  <c:v>1394-03-04</c:v>
                </c:pt>
                <c:pt idx="1005">
                  <c:v>1394-03-05</c:v>
                </c:pt>
                <c:pt idx="1006">
                  <c:v>1394-03-06</c:v>
                </c:pt>
                <c:pt idx="1007">
                  <c:v>1394-03-09</c:v>
                </c:pt>
                <c:pt idx="1008">
                  <c:v>1394-03-10</c:v>
                </c:pt>
                <c:pt idx="1009">
                  <c:v>1394-03-11</c:v>
                </c:pt>
                <c:pt idx="1010">
                  <c:v>1394-03-12</c:v>
                </c:pt>
                <c:pt idx="1011">
                  <c:v>1394-03-16</c:v>
                </c:pt>
                <c:pt idx="1012">
                  <c:v>1394-03-17</c:v>
                </c:pt>
                <c:pt idx="1013">
                  <c:v>1394-03-18</c:v>
                </c:pt>
                <c:pt idx="1014">
                  <c:v>1394-03-19</c:v>
                </c:pt>
                <c:pt idx="1015">
                  <c:v>1394-03-20</c:v>
                </c:pt>
                <c:pt idx="1016">
                  <c:v>1394-03-23</c:v>
                </c:pt>
                <c:pt idx="1017">
                  <c:v>1394-03-24</c:v>
                </c:pt>
                <c:pt idx="1018">
                  <c:v>1394-03-25</c:v>
                </c:pt>
                <c:pt idx="1019">
                  <c:v>1394-03-26</c:v>
                </c:pt>
                <c:pt idx="1020">
                  <c:v>1394-03-27</c:v>
                </c:pt>
                <c:pt idx="1021">
                  <c:v>1394-03-30</c:v>
                </c:pt>
                <c:pt idx="1022">
                  <c:v>1394-03-31</c:v>
                </c:pt>
                <c:pt idx="1023">
                  <c:v>1394-04-01</c:v>
                </c:pt>
                <c:pt idx="1024">
                  <c:v>1394-04-02</c:v>
                </c:pt>
                <c:pt idx="1025">
                  <c:v>1394-04-03</c:v>
                </c:pt>
                <c:pt idx="1026">
                  <c:v>1394-04-06</c:v>
                </c:pt>
                <c:pt idx="1027">
                  <c:v>1394-04-07</c:v>
                </c:pt>
                <c:pt idx="1028">
                  <c:v>1394-04-08</c:v>
                </c:pt>
                <c:pt idx="1029">
                  <c:v>1394-04-09</c:v>
                </c:pt>
                <c:pt idx="1030">
                  <c:v>1394-04-10</c:v>
                </c:pt>
                <c:pt idx="1031">
                  <c:v>1394-04-13</c:v>
                </c:pt>
                <c:pt idx="1032">
                  <c:v>1394-04-14</c:v>
                </c:pt>
                <c:pt idx="1033">
                  <c:v>1394-04-15</c:v>
                </c:pt>
                <c:pt idx="1034">
                  <c:v>1394-04-16</c:v>
                </c:pt>
                <c:pt idx="1035">
                  <c:v>1394-04-20</c:v>
                </c:pt>
                <c:pt idx="1036">
                  <c:v>1394-04-21</c:v>
                </c:pt>
                <c:pt idx="1037">
                  <c:v>1394-04-22</c:v>
                </c:pt>
                <c:pt idx="1038">
                  <c:v>1394-04-23</c:v>
                </c:pt>
                <c:pt idx="1039">
                  <c:v>1394-04-24</c:v>
                </c:pt>
                <c:pt idx="1040">
                  <c:v>1394-04-29</c:v>
                </c:pt>
                <c:pt idx="1041">
                  <c:v>1394-04-30</c:v>
                </c:pt>
                <c:pt idx="1042">
                  <c:v>1394-04-31</c:v>
                </c:pt>
                <c:pt idx="1043">
                  <c:v>1394-05-03</c:v>
                </c:pt>
                <c:pt idx="1044">
                  <c:v>1394-05-04</c:v>
                </c:pt>
                <c:pt idx="1045">
                  <c:v>1394-05-05</c:v>
                </c:pt>
                <c:pt idx="1046">
                  <c:v>1394-05-06</c:v>
                </c:pt>
                <c:pt idx="1047">
                  <c:v>1394-05-07</c:v>
                </c:pt>
                <c:pt idx="1048">
                  <c:v>1394-05-10</c:v>
                </c:pt>
                <c:pt idx="1049">
                  <c:v>1394-05-11</c:v>
                </c:pt>
                <c:pt idx="1050">
                  <c:v>1394-05-12</c:v>
                </c:pt>
                <c:pt idx="1051">
                  <c:v>1394-05-13</c:v>
                </c:pt>
                <c:pt idx="1052">
                  <c:v>1394-05-14</c:v>
                </c:pt>
                <c:pt idx="1053">
                  <c:v>1394-05-17</c:v>
                </c:pt>
                <c:pt idx="1054">
                  <c:v>1394-05-18</c:v>
                </c:pt>
                <c:pt idx="1055">
                  <c:v>1394-05-19</c:v>
                </c:pt>
                <c:pt idx="1056">
                  <c:v>1394-05-21</c:v>
                </c:pt>
                <c:pt idx="1057">
                  <c:v>1394-05-24</c:v>
                </c:pt>
                <c:pt idx="1058">
                  <c:v>1394-05-25</c:v>
                </c:pt>
                <c:pt idx="1059">
                  <c:v>1394-05-26</c:v>
                </c:pt>
                <c:pt idx="1060">
                  <c:v>1394-05-27</c:v>
                </c:pt>
                <c:pt idx="1061">
                  <c:v>1394-05-28</c:v>
                </c:pt>
                <c:pt idx="1062">
                  <c:v>1394-05-31</c:v>
                </c:pt>
                <c:pt idx="1063">
                  <c:v>1394-06-01</c:v>
                </c:pt>
                <c:pt idx="1064">
                  <c:v>1394-06-02</c:v>
                </c:pt>
                <c:pt idx="1065">
                  <c:v>1394-06-03</c:v>
                </c:pt>
                <c:pt idx="1066">
                  <c:v>1394-06-04</c:v>
                </c:pt>
                <c:pt idx="1067">
                  <c:v>1394-06-07</c:v>
                </c:pt>
                <c:pt idx="1068">
                  <c:v>1394-06-08</c:v>
                </c:pt>
                <c:pt idx="1069">
                  <c:v>1394-06-09</c:v>
                </c:pt>
                <c:pt idx="1070">
                  <c:v>1394-06-10</c:v>
                </c:pt>
                <c:pt idx="1071">
                  <c:v>1394-06-11</c:v>
                </c:pt>
                <c:pt idx="1072">
                  <c:v>1394-06-14</c:v>
                </c:pt>
                <c:pt idx="1073">
                  <c:v>1394-06-15</c:v>
                </c:pt>
                <c:pt idx="1074">
                  <c:v>1394-06-16</c:v>
                </c:pt>
                <c:pt idx="1075">
                  <c:v>1394-06-17</c:v>
                </c:pt>
                <c:pt idx="1076">
                  <c:v>1394-06-18</c:v>
                </c:pt>
                <c:pt idx="1077">
                  <c:v>1394-06-21</c:v>
                </c:pt>
                <c:pt idx="1078">
                  <c:v>1394-06-22</c:v>
                </c:pt>
                <c:pt idx="1079">
                  <c:v>1394-06-23</c:v>
                </c:pt>
                <c:pt idx="1080">
                  <c:v>1394-06-24</c:v>
                </c:pt>
                <c:pt idx="1081">
                  <c:v>1394-06-25</c:v>
                </c:pt>
                <c:pt idx="1082">
                  <c:v>1394-06-28</c:v>
                </c:pt>
                <c:pt idx="1083">
                  <c:v>1394-06-29</c:v>
                </c:pt>
                <c:pt idx="1084">
                  <c:v>1394-06-30</c:v>
                </c:pt>
                <c:pt idx="1085">
                  <c:v>1394-06-31</c:v>
                </c:pt>
                <c:pt idx="1086">
                  <c:v>1394-07-01</c:v>
                </c:pt>
                <c:pt idx="1087">
                  <c:v>1394-07-04</c:v>
                </c:pt>
                <c:pt idx="1088">
                  <c:v>1394-07-05</c:v>
                </c:pt>
                <c:pt idx="1089">
                  <c:v>1394-07-06</c:v>
                </c:pt>
                <c:pt idx="1090">
                  <c:v>1394-07-07</c:v>
                </c:pt>
                <c:pt idx="1091">
                  <c:v>1394-07-08</c:v>
                </c:pt>
                <c:pt idx="1092">
                  <c:v>1394-07-11</c:v>
                </c:pt>
                <c:pt idx="1093">
                  <c:v>1394-07-12</c:v>
                </c:pt>
                <c:pt idx="1094">
                  <c:v>1394-07-13</c:v>
                </c:pt>
                <c:pt idx="1095">
                  <c:v>1394-07-14</c:v>
                </c:pt>
                <c:pt idx="1096">
                  <c:v>1394-07-15</c:v>
                </c:pt>
                <c:pt idx="1097">
                  <c:v>1394-07-18</c:v>
                </c:pt>
                <c:pt idx="1098">
                  <c:v>1394-07-19</c:v>
                </c:pt>
                <c:pt idx="1099">
                  <c:v>1394-07-20</c:v>
                </c:pt>
                <c:pt idx="1100">
                  <c:v>1394-07-21</c:v>
                </c:pt>
                <c:pt idx="1101">
                  <c:v>1394-07-22</c:v>
                </c:pt>
                <c:pt idx="1102">
                  <c:v>1394-07-25</c:v>
                </c:pt>
                <c:pt idx="1103">
                  <c:v>1394-07-26</c:v>
                </c:pt>
                <c:pt idx="1104">
                  <c:v>1394-07-27</c:v>
                </c:pt>
                <c:pt idx="1105">
                  <c:v>1394-07-28</c:v>
                </c:pt>
                <c:pt idx="1106">
                  <c:v>1394-07-29</c:v>
                </c:pt>
                <c:pt idx="1107">
                  <c:v>1394-08-03</c:v>
                </c:pt>
                <c:pt idx="1108">
                  <c:v>1394-08-04</c:v>
                </c:pt>
                <c:pt idx="1109">
                  <c:v>1394-08-05</c:v>
                </c:pt>
                <c:pt idx="1110">
                  <c:v>1394-08-06</c:v>
                </c:pt>
                <c:pt idx="1111">
                  <c:v>1394-08-09</c:v>
                </c:pt>
                <c:pt idx="1112">
                  <c:v>1394-08-10</c:v>
                </c:pt>
                <c:pt idx="1113">
                  <c:v>1394-08-11</c:v>
                </c:pt>
                <c:pt idx="1114">
                  <c:v>1394-08-12</c:v>
                </c:pt>
                <c:pt idx="1115">
                  <c:v>1394-08-13</c:v>
                </c:pt>
                <c:pt idx="1116">
                  <c:v>1394-08-16</c:v>
                </c:pt>
                <c:pt idx="1117">
                  <c:v>1394-08-17</c:v>
                </c:pt>
                <c:pt idx="1118">
                  <c:v>1394-08-18</c:v>
                </c:pt>
                <c:pt idx="1119">
                  <c:v>1394-08-19</c:v>
                </c:pt>
                <c:pt idx="1120">
                  <c:v>1394-08-20</c:v>
                </c:pt>
                <c:pt idx="1121">
                  <c:v>1394-08-23</c:v>
                </c:pt>
                <c:pt idx="1122">
                  <c:v>1394-08-24</c:v>
                </c:pt>
                <c:pt idx="1123">
                  <c:v>1394-08-25</c:v>
                </c:pt>
                <c:pt idx="1124">
                  <c:v>1394-08-26</c:v>
                </c:pt>
                <c:pt idx="1125">
                  <c:v>1394-08-27</c:v>
                </c:pt>
                <c:pt idx="1126">
                  <c:v>1394-08-30</c:v>
                </c:pt>
                <c:pt idx="1127">
                  <c:v>1394-09-01</c:v>
                </c:pt>
                <c:pt idx="1128">
                  <c:v>1394-09-02</c:v>
                </c:pt>
                <c:pt idx="1129">
                  <c:v>1394-09-03</c:v>
                </c:pt>
                <c:pt idx="1130">
                  <c:v>1394-09-04</c:v>
                </c:pt>
                <c:pt idx="1131">
                  <c:v>1394-09-07</c:v>
                </c:pt>
                <c:pt idx="1132">
                  <c:v>1394-09-08</c:v>
                </c:pt>
                <c:pt idx="1133">
                  <c:v>1394-09-09</c:v>
                </c:pt>
                <c:pt idx="1134">
                  <c:v>1394-09-10</c:v>
                </c:pt>
                <c:pt idx="1135">
                  <c:v>1394-09-14</c:v>
                </c:pt>
                <c:pt idx="1136">
                  <c:v>1394-09-15</c:v>
                </c:pt>
                <c:pt idx="1137">
                  <c:v>1394-09-16</c:v>
                </c:pt>
                <c:pt idx="1138">
                  <c:v>1394-09-17</c:v>
                </c:pt>
                <c:pt idx="1139">
                  <c:v>1394-09-18</c:v>
                </c:pt>
                <c:pt idx="1140">
                  <c:v>1394-09-22</c:v>
                </c:pt>
                <c:pt idx="1141">
                  <c:v>1394-09-23</c:v>
                </c:pt>
                <c:pt idx="1142">
                  <c:v>1394-09-24</c:v>
                </c:pt>
                <c:pt idx="1143">
                  <c:v>1394-09-25</c:v>
                </c:pt>
                <c:pt idx="1144">
                  <c:v>1394-09-28</c:v>
                </c:pt>
                <c:pt idx="1145">
                  <c:v>1394-09-29</c:v>
                </c:pt>
                <c:pt idx="1146">
                  <c:v>1394-09-30</c:v>
                </c:pt>
                <c:pt idx="1147">
                  <c:v>1394-10-01</c:v>
                </c:pt>
                <c:pt idx="1148">
                  <c:v>1394-10-02</c:v>
                </c:pt>
                <c:pt idx="1149">
                  <c:v>1394-10-05</c:v>
                </c:pt>
                <c:pt idx="1150">
                  <c:v>1394-10-06</c:v>
                </c:pt>
                <c:pt idx="1151">
                  <c:v>1394-10-07</c:v>
                </c:pt>
                <c:pt idx="1152">
                  <c:v>1394-10-09</c:v>
                </c:pt>
                <c:pt idx="1153">
                  <c:v>1394-10-12</c:v>
                </c:pt>
                <c:pt idx="1154">
                  <c:v>1394-10-13</c:v>
                </c:pt>
                <c:pt idx="1155">
                  <c:v>1394-10-14</c:v>
                </c:pt>
                <c:pt idx="1156">
                  <c:v>1394-10-15</c:v>
                </c:pt>
                <c:pt idx="1157">
                  <c:v>1394-10-16</c:v>
                </c:pt>
                <c:pt idx="1158">
                  <c:v>1394-10-19</c:v>
                </c:pt>
                <c:pt idx="1159">
                  <c:v>1394-10-20</c:v>
                </c:pt>
                <c:pt idx="1160">
                  <c:v>1394-10-21</c:v>
                </c:pt>
                <c:pt idx="1161">
                  <c:v>1394-10-22</c:v>
                </c:pt>
                <c:pt idx="1162">
                  <c:v>1394-10-23</c:v>
                </c:pt>
                <c:pt idx="1163">
                  <c:v>1394-10-26</c:v>
                </c:pt>
                <c:pt idx="1164">
                  <c:v>1394-10-27</c:v>
                </c:pt>
                <c:pt idx="1165">
                  <c:v>1394-10-28</c:v>
                </c:pt>
                <c:pt idx="1166">
                  <c:v>1394-10-29</c:v>
                </c:pt>
                <c:pt idx="1167">
                  <c:v>1394-10-30</c:v>
                </c:pt>
                <c:pt idx="1168">
                  <c:v>1394-11-03</c:v>
                </c:pt>
                <c:pt idx="1169">
                  <c:v>1394-11-04</c:v>
                </c:pt>
                <c:pt idx="1170">
                  <c:v>1394-11-05</c:v>
                </c:pt>
                <c:pt idx="1171">
                  <c:v>1394-11-06</c:v>
                </c:pt>
                <c:pt idx="1172">
                  <c:v>1394-11-07</c:v>
                </c:pt>
                <c:pt idx="1173">
                  <c:v>1394-11-10</c:v>
                </c:pt>
                <c:pt idx="1174">
                  <c:v>1394-11-11</c:v>
                </c:pt>
                <c:pt idx="1175">
                  <c:v>1394-11-12</c:v>
                </c:pt>
                <c:pt idx="1176">
                  <c:v>1394-11-13</c:v>
                </c:pt>
                <c:pt idx="1177">
                  <c:v>1394-11-14</c:v>
                </c:pt>
                <c:pt idx="1178">
                  <c:v>1394-11-17</c:v>
                </c:pt>
                <c:pt idx="1179">
                  <c:v>1394-11-18</c:v>
                </c:pt>
                <c:pt idx="1180">
                  <c:v>1394-11-19</c:v>
                </c:pt>
                <c:pt idx="1181">
                  <c:v>1394-11-20</c:v>
                </c:pt>
                <c:pt idx="1182">
                  <c:v>1394-11-21</c:v>
                </c:pt>
                <c:pt idx="1183">
                  <c:v>1394-11-24</c:v>
                </c:pt>
                <c:pt idx="1184">
                  <c:v>1394-11-25</c:v>
                </c:pt>
                <c:pt idx="1185">
                  <c:v>1394-11-26</c:v>
                </c:pt>
                <c:pt idx="1186">
                  <c:v>1394-11-27</c:v>
                </c:pt>
                <c:pt idx="1187">
                  <c:v>1394-11-28</c:v>
                </c:pt>
                <c:pt idx="1188">
                  <c:v>1394-12-01</c:v>
                </c:pt>
                <c:pt idx="1189">
                  <c:v>1394-12-02</c:v>
                </c:pt>
                <c:pt idx="1190">
                  <c:v>1394-12-03</c:v>
                </c:pt>
                <c:pt idx="1191">
                  <c:v>1394-12-04</c:v>
                </c:pt>
                <c:pt idx="1192">
                  <c:v>1394-12-05</c:v>
                </c:pt>
                <c:pt idx="1193">
                  <c:v>1394-12-08</c:v>
                </c:pt>
                <c:pt idx="1194">
                  <c:v>1394-12-09</c:v>
                </c:pt>
                <c:pt idx="1195">
                  <c:v>1394-12-10</c:v>
                </c:pt>
                <c:pt idx="1196">
                  <c:v>1394-12-11</c:v>
                </c:pt>
                <c:pt idx="1197">
                  <c:v>1394-12-12</c:v>
                </c:pt>
                <c:pt idx="1198">
                  <c:v>1394-12-15</c:v>
                </c:pt>
                <c:pt idx="1199">
                  <c:v>1394-12-16</c:v>
                </c:pt>
                <c:pt idx="1200">
                  <c:v>1394-12-17</c:v>
                </c:pt>
                <c:pt idx="1201">
                  <c:v>1394-12-18</c:v>
                </c:pt>
                <c:pt idx="1202">
                  <c:v>1394-12-19</c:v>
                </c:pt>
                <c:pt idx="1203">
                  <c:v>1394-12-22</c:v>
                </c:pt>
                <c:pt idx="1204">
                  <c:v>1394-12-24</c:v>
                </c:pt>
                <c:pt idx="1205">
                  <c:v>1394-12-25</c:v>
                </c:pt>
                <c:pt idx="1206">
                  <c:v>1394-12-26</c:v>
                </c:pt>
                <c:pt idx="1207">
                  <c:v>1395-01-07</c:v>
                </c:pt>
                <c:pt idx="1208">
                  <c:v>1395-01-08</c:v>
                </c:pt>
                <c:pt idx="1209">
                  <c:v>1395-01-09</c:v>
                </c:pt>
                <c:pt idx="1210">
                  <c:v>1395-01-10</c:v>
                </c:pt>
                <c:pt idx="1211">
                  <c:v>1395-01-11</c:v>
                </c:pt>
                <c:pt idx="1212">
                  <c:v>1395-01-14</c:v>
                </c:pt>
                <c:pt idx="1213">
                  <c:v>1395-01-15</c:v>
                </c:pt>
                <c:pt idx="1214">
                  <c:v>1395-01-16</c:v>
                </c:pt>
                <c:pt idx="1215">
                  <c:v>1395-01-17</c:v>
                </c:pt>
                <c:pt idx="1216">
                  <c:v>1395-01-18</c:v>
                </c:pt>
                <c:pt idx="1217">
                  <c:v>1395-01-21</c:v>
                </c:pt>
                <c:pt idx="1218">
                  <c:v>1395-01-22</c:v>
                </c:pt>
                <c:pt idx="1219">
                  <c:v>1395-01-23</c:v>
                </c:pt>
                <c:pt idx="1220">
                  <c:v>1395-01-24</c:v>
                </c:pt>
                <c:pt idx="1221">
                  <c:v>1395-01-25</c:v>
                </c:pt>
                <c:pt idx="1222">
                  <c:v>1395-01-28</c:v>
                </c:pt>
                <c:pt idx="1223">
                  <c:v>1395-01-29</c:v>
                </c:pt>
                <c:pt idx="1224">
                  <c:v>1395-01-30</c:v>
                </c:pt>
                <c:pt idx="1225">
                  <c:v>1395-01-31</c:v>
                </c:pt>
                <c:pt idx="1226">
                  <c:v>1395-02-01</c:v>
                </c:pt>
                <c:pt idx="1227">
                  <c:v>1395-02-04</c:v>
                </c:pt>
                <c:pt idx="1228">
                  <c:v>1395-02-05</c:v>
                </c:pt>
                <c:pt idx="1229">
                  <c:v>1395-02-06</c:v>
                </c:pt>
                <c:pt idx="1230">
                  <c:v>1395-02-07</c:v>
                </c:pt>
                <c:pt idx="1231">
                  <c:v>1395-02-08</c:v>
                </c:pt>
                <c:pt idx="1232">
                  <c:v>1395-02-11</c:v>
                </c:pt>
                <c:pt idx="1233">
                  <c:v>1395-02-12</c:v>
                </c:pt>
                <c:pt idx="1234">
                  <c:v>1395-02-13</c:v>
                </c:pt>
                <c:pt idx="1235">
                  <c:v>1395-02-14</c:v>
                </c:pt>
                <c:pt idx="1236">
                  <c:v>1395-02-15</c:v>
                </c:pt>
                <c:pt idx="1237">
                  <c:v>1395-02-18</c:v>
                </c:pt>
                <c:pt idx="1238">
                  <c:v>1395-02-19</c:v>
                </c:pt>
                <c:pt idx="1239">
                  <c:v>1395-02-20</c:v>
                </c:pt>
                <c:pt idx="1240">
                  <c:v>1395-02-21</c:v>
                </c:pt>
                <c:pt idx="1241">
                  <c:v>1395-02-22</c:v>
                </c:pt>
                <c:pt idx="1242">
                  <c:v>1395-02-25</c:v>
                </c:pt>
                <c:pt idx="1243">
                  <c:v>1395-02-26</c:v>
                </c:pt>
                <c:pt idx="1244">
                  <c:v>1395-02-27</c:v>
                </c:pt>
                <c:pt idx="1245">
                  <c:v>1395-02-28</c:v>
                </c:pt>
                <c:pt idx="1246">
                  <c:v>1395-02-29</c:v>
                </c:pt>
                <c:pt idx="1247">
                  <c:v>1395-03-01</c:v>
                </c:pt>
                <c:pt idx="1248">
                  <c:v>1395-03-03</c:v>
                </c:pt>
                <c:pt idx="1249">
                  <c:v>1395-03-04</c:v>
                </c:pt>
                <c:pt idx="1250">
                  <c:v>1395-03-05</c:v>
                </c:pt>
                <c:pt idx="1251">
                  <c:v>1395-03-08</c:v>
                </c:pt>
                <c:pt idx="1252">
                  <c:v>1395-03-09</c:v>
                </c:pt>
                <c:pt idx="1253">
                  <c:v>1395-03-10</c:v>
                </c:pt>
                <c:pt idx="1254">
                  <c:v>1395-03-11</c:v>
                </c:pt>
                <c:pt idx="1255">
                  <c:v>1395-03-12</c:v>
                </c:pt>
                <c:pt idx="1256">
                  <c:v>1395-03-16</c:v>
                </c:pt>
                <c:pt idx="1257">
                  <c:v>1395-03-17</c:v>
                </c:pt>
                <c:pt idx="1258">
                  <c:v>1395-03-18</c:v>
                </c:pt>
                <c:pt idx="1259">
                  <c:v>1395-03-19</c:v>
                </c:pt>
                <c:pt idx="1260">
                  <c:v>1395-03-22</c:v>
                </c:pt>
                <c:pt idx="1261">
                  <c:v>1395-03-23</c:v>
                </c:pt>
                <c:pt idx="1262">
                  <c:v>1395-03-24</c:v>
                </c:pt>
                <c:pt idx="1263">
                  <c:v>1395-03-25</c:v>
                </c:pt>
                <c:pt idx="1264">
                  <c:v>1395-03-26</c:v>
                </c:pt>
                <c:pt idx="1265">
                  <c:v>1395-03-29</c:v>
                </c:pt>
                <c:pt idx="1266">
                  <c:v>1395-03-30</c:v>
                </c:pt>
                <c:pt idx="1267">
                  <c:v>1395-03-31</c:v>
                </c:pt>
                <c:pt idx="1268">
                  <c:v>1395-04-01</c:v>
                </c:pt>
                <c:pt idx="1269">
                  <c:v>1395-04-02</c:v>
                </c:pt>
                <c:pt idx="1270">
                  <c:v>1395-04-05</c:v>
                </c:pt>
                <c:pt idx="1271">
                  <c:v>1395-04-06</c:v>
                </c:pt>
                <c:pt idx="1272">
                  <c:v>1395-04-08</c:v>
                </c:pt>
                <c:pt idx="1273">
                  <c:v>1395-04-09</c:v>
                </c:pt>
                <c:pt idx="1274">
                  <c:v>1395-04-12</c:v>
                </c:pt>
                <c:pt idx="1275">
                  <c:v>1395-04-13</c:v>
                </c:pt>
                <c:pt idx="1276">
                  <c:v>1395-04-14</c:v>
                </c:pt>
                <c:pt idx="1277">
                  <c:v>1395-04-15</c:v>
                </c:pt>
                <c:pt idx="1278">
                  <c:v>1395-04-19</c:v>
                </c:pt>
                <c:pt idx="1279">
                  <c:v>1395-04-20</c:v>
                </c:pt>
                <c:pt idx="1280">
                  <c:v>1395-04-21</c:v>
                </c:pt>
                <c:pt idx="1281">
                  <c:v>1395-04-22</c:v>
                </c:pt>
                <c:pt idx="1282">
                  <c:v>1395-04-23</c:v>
                </c:pt>
                <c:pt idx="1283">
                  <c:v>1395-04-26</c:v>
                </c:pt>
                <c:pt idx="1284">
                  <c:v>1395-04-27</c:v>
                </c:pt>
                <c:pt idx="1285">
                  <c:v>1395-04-28</c:v>
                </c:pt>
                <c:pt idx="1286">
                  <c:v>1395-04-29</c:v>
                </c:pt>
                <c:pt idx="1287">
                  <c:v>1395-04-30</c:v>
                </c:pt>
                <c:pt idx="1288">
                  <c:v>1395-05-02</c:v>
                </c:pt>
                <c:pt idx="1289">
                  <c:v>1395-05-03</c:v>
                </c:pt>
                <c:pt idx="1290">
                  <c:v>1395-05-04</c:v>
                </c:pt>
                <c:pt idx="1291">
                  <c:v>1395-05-05</c:v>
                </c:pt>
                <c:pt idx="1292">
                  <c:v>1395-05-06</c:v>
                </c:pt>
                <c:pt idx="1293">
                  <c:v>1395-05-10</c:v>
                </c:pt>
                <c:pt idx="1294">
                  <c:v>1395-05-11</c:v>
                </c:pt>
                <c:pt idx="1295">
                  <c:v>1395-05-12</c:v>
                </c:pt>
                <c:pt idx="1296">
                  <c:v>1395-05-13</c:v>
                </c:pt>
                <c:pt idx="1297">
                  <c:v>1395-05-16</c:v>
                </c:pt>
                <c:pt idx="1298">
                  <c:v>1395-05-17</c:v>
                </c:pt>
                <c:pt idx="1299">
                  <c:v>1395-05-18</c:v>
                </c:pt>
                <c:pt idx="1300">
                  <c:v>1395-05-19</c:v>
                </c:pt>
                <c:pt idx="1301">
                  <c:v>1395-05-20</c:v>
                </c:pt>
                <c:pt idx="1302">
                  <c:v>1395-05-23</c:v>
                </c:pt>
                <c:pt idx="1303">
                  <c:v>1395-05-24</c:v>
                </c:pt>
                <c:pt idx="1304">
                  <c:v>1395-05-25</c:v>
                </c:pt>
                <c:pt idx="1305">
                  <c:v>1395-05-26</c:v>
                </c:pt>
                <c:pt idx="1306">
                  <c:v>1395-05-27</c:v>
                </c:pt>
                <c:pt idx="1307">
                  <c:v>1395-05-30</c:v>
                </c:pt>
                <c:pt idx="1308">
                  <c:v>1395-05-31</c:v>
                </c:pt>
                <c:pt idx="1309">
                  <c:v>1395-06-01</c:v>
                </c:pt>
                <c:pt idx="1310">
                  <c:v>1395-06-02</c:v>
                </c:pt>
                <c:pt idx="1311">
                  <c:v>1395-06-03</c:v>
                </c:pt>
                <c:pt idx="1312">
                  <c:v>1395-06-06</c:v>
                </c:pt>
                <c:pt idx="1313">
                  <c:v>1395-06-07</c:v>
                </c:pt>
                <c:pt idx="1314">
                  <c:v>1395-06-08</c:v>
                </c:pt>
                <c:pt idx="1315">
                  <c:v>1395-06-09</c:v>
                </c:pt>
                <c:pt idx="1316">
                  <c:v>1395-06-10</c:v>
                </c:pt>
                <c:pt idx="1317">
                  <c:v>1395-06-13</c:v>
                </c:pt>
                <c:pt idx="1318">
                  <c:v>1395-06-14</c:v>
                </c:pt>
                <c:pt idx="1319">
                  <c:v>1395-06-15</c:v>
                </c:pt>
                <c:pt idx="1320">
                  <c:v>1395-06-16</c:v>
                </c:pt>
                <c:pt idx="1321">
                  <c:v>1395-06-17</c:v>
                </c:pt>
                <c:pt idx="1322">
                  <c:v>1395-06-20</c:v>
                </c:pt>
                <c:pt idx="1323">
                  <c:v>1395-06-21</c:v>
                </c:pt>
                <c:pt idx="1324">
                  <c:v>1395-06-23</c:v>
                </c:pt>
                <c:pt idx="1325">
                  <c:v>1395-06-24</c:v>
                </c:pt>
                <c:pt idx="1326">
                  <c:v>1395-06-27</c:v>
                </c:pt>
                <c:pt idx="1327">
                  <c:v>1395-06-28</c:v>
                </c:pt>
                <c:pt idx="1328">
                  <c:v>1395-06-29</c:v>
                </c:pt>
                <c:pt idx="1329">
                  <c:v>1395-06-31</c:v>
                </c:pt>
                <c:pt idx="1330">
                  <c:v>1395-07-03</c:v>
                </c:pt>
                <c:pt idx="1331">
                  <c:v>1395-07-04</c:v>
                </c:pt>
                <c:pt idx="1332">
                  <c:v>1395-07-05</c:v>
                </c:pt>
                <c:pt idx="1333">
                  <c:v>1395-07-06</c:v>
                </c:pt>
                <c:pt idx="1334">
                  <c:v>1395-07-07</c:v>
                </c:pt>
                <c:pt idx="1335">
                  <c:v>1395-07-10</c:v>
                </c:pt>
                <c:pt idx="1336">
                  <c:v>1395-07-11</c:v>
                </c:pt>
                <c:pt idx="1337">
                  <c:v>1395-07-12</c:v>
                </c:pt>
                <c:pt idx="1338">
                  <c:v>1395-07-13</c:v>
                </c:pt>
                <c:pt idx="1339">
                  <c:v>1395-07-14</c:v>
                </c:pt>
                <c:pt idx="1340">
                  <c:v>1395-07-17</c:v>
                </c:pt>
                <c:pt idx="1341">
                  <c:v>1395-07-18</c:v>
                </c:pt>
                <c:pt idx="1342">
                  <c:v>1395-07-19</c:v>
                </c:pt>
                <c:pt idx="1343">
                  <c:v>1395-07-24</c:v>
                </c:pt>
                <c:pt idx="1344">
                  <c:v>1395-07-25</c:v>
                </c:pt>
                <c:pt idx="1345">
                  <c:v>1395-07-26</c:v>
                </c:pt>
                <c:pt idx="1346">
                  <c:v>1395-07-27</c:v>
                </c:pt>
                <c:pt idx="1347">
                  <c:v>1395-07-28</c:v>
                </c:pt>
                <c:pt idx="1348">
                  <c:v>1395-08-01</c:v>
                </c:pt>
                <c:pt idx="1349">
                  <c:v>1395-08-02</c:v>
                </c:pt>
                <c:pt idx="1350">
                  <c:v>1395-08-03</c:v>
                </c:pt>
                <c:pt idx="1351">
                  <c:v>1395-08-04</c:v>
                </c:pt>
                <c:pt idx="1352">
                  <c:v>1395-08-05</c:v>
                </c:pt>
                <c:pt idx="1353">
                  <c:v>1395-08-08</c:v>
                </c:pt>
                <c:pt idx="1354">
                  <c:v>1395-08-09</c:v>
                </c:pt>
                <c:pt idx="1355">
                  <c:v>1395-08-10</c:v>
                </c:pt>
                <c:pt idx="1356">
                  <c:v>1395-08-11</c:v>
                </c:pt>
                <c:pt idx="1357">
                  <c:v>1395-08-12</c:v>
                </c:pt>
                <c:pt idx="1358">
                  <c:v>1395-08-15</c:v>
                </c:pt>
                <c:pt idx="1359">
                  <c:v>1395-08-16</c:v>
                </c:pt>
                <c:pt idx="1360">
                  <c:v>1395-08-17</c:v>
                </c:pt>
                <c:pt idx="1361">
                  <c:v>1395-08-18</c:v>
                </c:pt>
                <c:pt idx="1362">
                  <c:v>1395-08-19</c:v>
                </c:pt>
                <c:pt idx="1363">
                  <c:v>1395-08-22</c:v>
                </c:pt>
                <c:pt idx="1364">
                  <c:v>1395-08-23</c:v>
                </c:pt>
                <c:pt idx="1365">
                  <c:v>1395-08-24</c:v>
                </c:pt>
                <c:pt idx="1366">
                  <c:v>1395-08-25</c:v>
                </c:pt>
                <c:pt idx="1367">
                  <c:v>1395-08-26</c:v>
                </c:pt>
                <c:pt idx="1368">
                  <c:v>1395-08-29</c:v>
                </c:pt>
                <c:pt idx="1369">
                  <c:v>1395-09-01</c:v>
                </c:pt>
                <c:pt idx="1370">
                  <c:v>1395-09-02</c:v>
                </c:pt>
                <c:pt idx="1371">
                  <c:v>1395-09-03</c:v>
                </c:pt>
                <c:pt idx="1372">
                  <c:v>1395-09-06</c:v>
                </c:pt>
                <c:pt idx="1373">
                  <c:v>1395-09-07</c:v>
                </c:pt>
                <c:pt idx="1374">
                  <c:v>1395-09-09</c:v>
                </c:pt>
                <c:pt idx="1375">
                  <c:v>1395-09-13</c:v>
                </c:pt>
                <c:pt idx="1376">
                  <c:v>1395-09-14</c:v>
                </c:pt>
                <c:pt idx="1377">
                  <c:v>1395-09-15</c:v>
                </c:pt>
                <c:pt idx="1378">
                  <c:v>1395-09-16</c:v>
                </c:pt>
                <c:pt idx="1379">
                  <c:v>1395-09-17</c:v>
                </c:pt>
                <c:pt idx="1380">
                  <c:v>1395-09-20</c:v>
                </c:pt>
                <c:pt idx="1381">
                  <c:v>1395-09-21</c:v>
                </c:pt>
                <c:pt idx="1382">
                  <c:v>1395-09-22</c:v>
                </c:pt>
                <c:pt idx="1383">
                  <c:v>1395-09-23</c:v>
                </c:pt>
                <c:pt idx="1384">
                  <c:v>1395-09-24</c:v>
                </c:pt>
                <c:pt idx="1385">
                  <c:v>1395-09-28</c:v>
                </c:pt>
                <c:pt idx="1386">
                  <c:v>1395-09-29</c:v>
                </c:pt>
                <c:pt idx="1387">
                  <c:v>1395-09-30</c:v>
                </c:pt>
                <c:pt idx="1388">
                  <c:v>1395-10-01</c:v>
                </c:pt>
                <c:pt idx="1389">
                  <c:v>1395-10-04</c:v>
                </c:pt>
                <c:pt idx="1390">
                  <c:v>1395-10-05</c:v>
                </c:pt>
                <c:pt idx="1391">
                  <c:v>1395-10-06</c:v>
                </c:pt>
                <c:pt idx="1392">
                  <c:v>1395-10-07</c:v>
                </c:pt>
                <c:pt idx="1393">
                  <c:v>1395-10-08</c:v>
                </c:pt>
                <c:pt idx="1394">
                  <c:v>1395-10-11</c:v>
                </c:pt>
                <c:pt idx="1395">
                  <c:v>1395-10-12</c:v>
                </c:pt>
                <c:pt idx="1396">
                  <c:v>1395-10-13</c:v>
                </c:pt>
                <c:pt idx="1397">
                  <c:v>1395-10-14</c:v>
                </c:pt>
                <c:pt idx="1398">
                  <c:v>1395-10-15</c:v>
                </c:pt>
                <c:pt idx="1399">
                  <c:v>1395-10-18</c:v>
                </c:pt>
                <c:pt idx="1400">
                  <c:v>1395-10-19</c:v>
                </c:pt>
                <c:pt idx="1401">
                  <c:v>1395-10-20</c:v>
                </c:pt>
                <c:pt idx="1402">
                  <c:v>1395-10-22</c:v>
                </c:pt>
                <c:pt idx="1403">
                  <c:v>1395-10-25</c:v>
                </c:pt>
                <c:pt idx="1404">
                  <c:v>1395-10-26</c:v>
                </c:pt>
                <c:pt idx="1405">
                  <c:v>1395-10-27</c:v>
                </c:pt>
                <c:pt idx="1406">
                  <c:v>1395-10-28</c:v>
                </c:pt>
                <c:pt idx="1407">
                  <c:v>1395-10-29</c:v>
                </c:pt>
                <c:pt idx="1408">
                  <c:v>1395-11-02</c:v>
                </c:pt>
                <c:pt idx="1409">
                  <c:v>1395-11-03</c:v>
                </c:pt>
                <c:pt idx="1410">
                  <c:v>1395-11-04</c:v>
                </c:pt>
                <c:pt idx="1411">
                  <c:v>1395-11-05</c:v>
                </c:pt>
                <c:pt idx="1412">
                  <c:v>1395-11-06</c:v>
                </c:pt>
                <c:pt idx="1413">
                  <c:v>1395-11-09</c:v>
                </c:pt>
                <c:pt idx="1414">
                  <c:v>1395-11-10</c:v>
                </c:pt>
                <c:pt idx="1415">
                  <c:v>1395-11-11</c:v>
                </c:pt>
                <c:pt idx="1416">
                  <c:v>1395-11-12</c:v>
                </c:pt>
                <c:pt idx="1417">
                  <c:v>1395-11-13</c:v>
                </c:pt>
                <c:pt idx="1418">
                  <c:v>1395-11-16</c:v>
                </c:pt>
                <c:pt idx="1419">
                  <c:v>1395-11-17</c:v>
                </c:pt>
                <c:pt idx="1420">
                  <c:v>1395-11-18</c:v>
                </c:pt>
                <c:pt idx="1421">
                  <c:v>1395-11-19</c:v>
                </c:pt>
                <c:pt idx="1422">
                  <c:v>1395-11-20</c:v>
                </c:pt>
                <c:pt idx="1423">
                  <c:v>1395-11-23</c:v>
                </c:pt>
                <c:pt idx="1424">
                  <c:v>1395-11-24</c:v>
                </c:pt>
                <c:pt idx="1425">
                  <c:v>1395-11-25</c:v>
                </c:pt>
                <c:pt idx="1426">
                  <c:v>1395-11-26</c:v>
                </c:pt>
                <c:pt idx="1427">
                  <c:v>1395-11-27</c:v>
                </c:pt>
                <c:pt idx="1428">
                  <c:v>1395-11-30</c:v>
                </c:pt>
                <c:pt idx="1429">
                  <c:v>1395-12-01</c:v>
                </c:pt>
                <c:pt idx="1430">
                  <c:v>1395-12-02</c:v>
                </c:pt>
                <c:pt idx="1431">
                  <c:v>1395-12-03</c:v>
                </c:pt>
                <c:pt idx="1432">
                  <c:v>1395-12-04</c:v>
                </c:pt>
                <c:pt idx="1433">
                  <c:v>1395-12-07</c:v>
                </c:pt>
                <c:pt idx="1434">
                  <c:v>1395-12-08</c:v>
                </c:pt>
                <c:pt idx="1435">
                  <c:v>1395-12-09</c:v>
                </c:pt>
                <c:pt idx="1436">
                  <c:v>1395-12-10</c:v>
                </c:pt>
                <c:pt idx="1437">
                  <c:v>1395-12-11</c:v>
                </c:pt>
                <c:pt idx="1438">
                  <c:v>1395-12-14</c:v>
                </c:pt>
                <c:pt idx="1439">
                  <c:v>1395-12-15</c:v>
                </c:pt>
                <c:pt idx="1440">
                  <c:v>1395-12-16</c:v>
                </c:pt>
                <c:pt idx="1441">
                  <c:v>1395-12-17</c:v>
                </c:pt>
                <c:pt idx="1442">
                  <c:v>1395-12-18</c:v>
                </c:pt>
                <c:pt idx="1443">
                  <c:v>1395-12-21</c:v>
                </c:pt>
                <c:pt idx="1444">
                  <c:v>1395-12-22</c:v>
                </c:pt>
                <c:pt idx="1445">
                  <c:v>1395-12-23</c:v>
                </c:pt>
                <c:pt idx="1446">
                  <c:v>1395-12-24</c:v>
                </c:pt>
                <c:pt idx="1447">
                  <c:v>1395-12-25</c:v>
                </c:pt>
                <c:pt idx="1448">
                  <c:v>1395-12-28</c:v>
                </c:pt>
                <c:pt idx="1449">
                  <c:v>1396-01-05</c:v>
                </c:pt>
                <c:pt idx="1450">
                  <c:v>1396-01-06</c:v>
                </c:pt>
                <c:pt idx="1451">
                  <c:v>1396-01-07</c:v>
                </c:pt>
                <c:pt idx="1452">
                  <c:v>1396-01-08</c:v>
                </c:pt>
                <c:pt idx="1453">
                  <c:v>1396-01-09</c:v>
                </c:pt>
                <c:pt idx="1454">
                  <c:v>1396-01-14</c:v>
                </c:pt>
                <c:pt idx="1455">
                  <c:v>1396-01-15</c:v>
                </c:pt>
                <c:pt idx="1456">
                  <c:v>1396-01-16</c:v>
                </c:pt>
                <c:pt idx="1457">
                  <c:v>1396-01-19</c:v>
                </c:pt>
                <c:pt idx="1458">
                  <c:v>1396-01-20</c:v>
                </c:pt>
                <c:pt idx="1459">
                  <c:v>1396-01-21</c:v>
                </c:pt>
                <c:pt idx="1460">
                  <c:v>1396-01-23</c:v>
                </c:pt>
                <c:pt idx="1461">
                  <c:v>1396-01-26</c:v>
                </c:pt>
                <c:pt idx="1462">
                  <c:v>1396-01-27</c:v>
                </c:pt>
                <c:pt idx="1463">
                  <c:v>1396-01-28</c:v>
                </c:pt>
                <c:pt idx="1464">
                  <c:v>1396-01-29</c:v>
                </c:pt>
                <c:pt idx="1465">
                  <c:v>1396-01-30</c:v>
                </c:pt>
                <c:pt idx="1466">
                  <c:v>1396-02-02</c:v>
                </c:pt>
                <c:pt idx="1467">
                  <c:v>1396-02-03</c:v>
                </c:pt>
                <c:pt idx="1468">
                  <c:v>1396-02-04</c:v>
                </c:pt>
                <c:pt idx="1469">
                  <c:v>1396-02-06</c:v>
                </c:pt>
                <c:pt idx="1470">
                  <c:v>1396-02-09</c:v>
                </c:pt>
                <c:pt idx="1471">
                  <c:v>1396-02-10</c:v>
                </c:pt>
                <c:pt idx="1472">
                  <c:v>1396-02-11</c:v>
                </c:pt>
                <c:pt idx="1473">
                  <c:v>1396-02-12</c:v>
                </c:pt>
                <c:pt idx="1474">
                  <c:v>1396-02-13</c:v>
                </c:pt>
                <c:pt idx="1475">
                  <c:v>1396-02-16</c:v>
                </c:pt>
                <c:pt idx="1476">
                  <c:v>1396-02-17</c:v>
                </c:pt>
                <c:pt idx="1477">
                  <c:v>1396-02-18</c:v>
                </c:pt>
                <c:pt idx="1478">
                  <c:v>1396-02-19</c:v>
                </c:pt>
                <c:pt idx="1479">
                  <c:v>1396-02-20</c:v>
                </c:pt>
                <c:pt idx="1480">
                  <c:v>1396-02-23</c:v>
                </c:pt>
                <c:pt idx="1481">
                  <c:v>1396-02-24</c:v>
                </c:pt>
                <c:pt idx="1482">
                  <c:v>1396-02-25</c:v>
                </c:pt>
                <c:pt idx="1483">
                  <c:v>1396-02-26</c:v>
                </c:pt>
                <c:pt idx="1484">
                  <c:v>1396-02-27</c:v>
                </c:pt>
                <c:pt idx="1485">
                  <c:v>1396-02-30</c:v>
                </c:pt>
                <c:pt idx="1486">
                  <c:v>1396-02-31</c:v>
                </c:pt>
                <c:pt idx="1487">
                  <c:v>1396-03-01</c:v>
                </c:pt>
                <c:pt idx="1488">
                  <c:v>1396-03-02</c:v>
                </c:pt>
                <c:pt idx="1489">
                  <c:v>1396-03-03</c:v>
                </c:pt>
                <c:pt idx="1490">
                  <c:v>1396-03-06</c:v>
                </c:pt>
                <c:pt idx="1491">
                  <c:v>1396-03-07</c:v>
                </c:pt>
                <c:pt idx="1492">
                  <c:v>1396-03-08</c:v>
                </c:pt>
                <c:pt idx="1493">
                  <c:v>1396-03-09</c:v>
                </c:pt>
                <c:pt idx="1494">
                  <c:v>1396-03-10</c:v>
                </c:pt>
                <c:pt idx="1495">
                  <c:v>1396-03-13</c:v>
                </c:pt>
                <c:pt idx="1496">
                  <c:v>1396-03-16</c:v>
                </c:pt>
                <c:pt idx="1497">
                  <c:v>1396-03-17</c:v>
                </c:pt>
                <c:pt idx="1498">
                  <c:v>1396-03-20</c:v>
                </c:pt>
                <c:pt idx="1499">
                  <c:v>1396-03-21</c:v>
                </c:pt>
                <c:pt idx="1500">
                  <c:v>1396-03-22</c:v>
                </c:pt>
                <c:pt idx="1501">
                  <c:v>1396-03-23</c:v>
                </c:pt>
                <c:pt idx="1502">
                  <c:v>1396-03-24</c:v>
                </c:pt>
                <c:pt idx="1503">
                  <c:v>1396-03-27</c:v>
                </c:pt>
                <c:pt idx="1504">
                  <c:v>1396-03-28</c:v>
                </c:pt>
                <c:pt idx="1505">
                  <c:v>1396-03-29</c:v>
                </c:pt>
                <c:pt idx="1506">
                  <c:v>1396-03-30</c:v>
                </c:pt>
                <c:pt idx="1507">
                  <c:v>1396-03-31</c:v>
                </c:pt>
                <c:pt idx="1508">
                  <c:v>1396-04-03</c:v>
                </c:pt>
                <c:pt idx="1509">
                  <c:v>1396-04-04</c:v>
                </c:pt>
                <c:pt idx="1510">
                  <c:v>1396-04-07</c:v>
                </c:pt>
                <c:pt idx="1511">
                  <c:v>1396-04-10</c:v>
                </c:pt>
                <c:pt idx="1512">
                  <c:v>1396-04-11</c:v>
                </c:pt>
                <c:pt idx="1513">
                  <c:v>1396-04-12</c:v>
                </c:pt>
                <c:pt idx="1514">
                  <c:v>1396-04-13</c:v>
                </c:pt>
                <c:pt idx="1515">
                  <c:v>1396-04-14</c:v>
                </c:pt>
                <c:pt idx="1516">
                  <c:v>1396-04-17</c:v>
                </c:pt>
                <c:pt idx="1517">
                  <c:v>1396-04-18</c:v>
                </c:pt>
                <c:pt idx="1518">
                  <c:v>1396-04-19</c:v>
                </c:pt>
                <c:pt idx="1519">
                  <c:v>1396-04-20</c:v>
                </c:pt>
                <c:pt idx="1520">
                  <c:v>1396-04-21</c:v>
                </c:pt>
                <c:pt idx="1521">
                  <c:v>1396-04-24</c:v>
                </c:pt>
                <c:pt idx="1522">
                  <c:v>1396-04-25</c:v>
                </c:pt>
                <c:pt idx="1523">
                  <c:v>1396-04-26</c:v>
                </c:pt>
                <c:pt idx="1524">
                  <c:v>1396-04-27</c:v>
                </c:pt>
                <c:pt idx="1525">
                  <c:v>1396-04-31</c:v>
                </c:pt>
                <c:pt idx="1526">
                  <c:v>1396-05-01</c:v>
                </c:pt>
                <c:pt idx="1527">
                  <c:v>1396-05-02</c:v>
                </c:pt>
                <c:pt idx="1528">
                  <c:v>1396-05-03</c:v>
                </c:pt>
                <c:pt idx="1529">
                  <c:v>1396-05-04</c:v>
                </c:pt>
                <c:pt idx="1530">
                  <c:v>1396-05-07</c:v>
                </c:pt>
                <c:pt idx="1531">
                  <c:v>1396-05-08</c:v>
                </c:pt>
                <c:pt idx="1532">
                  <c:v>1396-05-09</c:v>
                </c:pt>
                <c:pt idx="1533">
                  <c:v>1396-05-10</c:v>
                </c:pt>
                <c:pt idx="1534">
                  <c:v>1396-05-11</c:v>
                </c:pt>
                <c:pt idx="1535">
                  <c:v>1396-05-15</c:v>
                </c:pt>
                <c:pt idx="1536">
                  <c:v>1396-05-16</c:v>
                </c:pt>
                <c:pt idx="1537">
                  <c:v>1396-05-17</c:v>
                </c:pt>
                <c:pt idx="1538">
                  <c:v>1396-05-18</c:v>
                </c:pt>
                <c:pt idx="1539">
                  <c:v>1396-05-21</c:v>
                </c:pt>
                <c:pt idx="1540">
                  <c:v>1396-05-22</c:v>
                </c:pt>
                <c:pt idx="1541">
                  <c:v>1396-05-23</c:v>
                </c:pt>
                <c:pt idx="1542">
                  <c:v>1396-05-24</c:v>
                </c:pt>
                <c:pt idx="1543">
                  <c:v>1396-05-25</c:v>
                </c:pt>
                <c:pt idx="1544">
                  <c:v>1396-05-28</c:v>
                </c:pt>
                <c:pt idx="1545">
                  <c:v>1396-05-29</c:v>
                </c:pt>
                <c:pt idx="1546">
                  <c:v>1396-05-30</c:v>
                </c:pt>
                <c:pt idx="1547">
                  <c:v>1396-05-31</c:v>
                </c:pt>
                <c:pt idx="1548">
                  <c:v>1396-06-01</c:v>
                </c:pt>
                <c:pt idx="1549">
                  <c:v>1396-06-04</c:v>
                </c:pt>
                <c:pt idx="1550">
                  <c:v>1396-06-05</c:v>
                </c:pt>
                <c:pt idx="1551">
                  <c:v>1396-06-06</c:v>
                </c:pt>
                <c:pt idx="1552">
                  <c:v>1396-06-07</c:v>
                </c:pt>
                <c:pt idx="1553">
                  <c:v>1396-06-08</c:v>
                </c:pt>
                <c:pt idx="1554">
                  <c:v>1396-06-11</c:v>
                </c:pt>
                <c:pt idx="1555">
                  <c:v>1396-06-12</c:v>
                </c:pt>
                <c:pt idx="1556">
                  <c:v>1396-06-13</c:v>
                </c:pt>
                <c:pt idx="1557">
                  <c:v>1396-06-14</c:v>
                </c:pt>
                <c:pt idx="1558">
                  <c:v>1396-06-15</c:v>
                </c:pt>
                <c:pt idx="1559">
                  <c:v>1396-06-19</c:v>
                </c:pt>
                <c:pt idx="1560">
                  <c:v>1396-06-20</c:v>
                </c:pt>
                <c:pt idx="1561">
                  <c:v>1396-06-21</c:v>
                </c:pt>
                <c:pt idx="1562">
                  <c:v>1396-06-22</c:v>
                </c:pt>
                <c:pt idx="1563">
                  <c:v>1396-06-25</c:v>
                </c:pt>
                <c:pt idx="1564">
                  <c:v>1396-06-26</c:v>
                </c:pt>
                <c:pt idx="1565">
                  <c:v>1396-06-27</c:v>
                </c:pt>
                <c:pt idx="1566">
                  <c:v>1396-06-28</c:v>
                </c:pt>
                <c:pt idx="1567">
                  <c:v>1396-06-29</c:v>
                </c:pt>
                <c:pt idx="1568">
                  <c:v>1396-07-01</c:v>
                </c:pt>
                <c:pt idx="1569">
                  <c:v>1396-07-02</c:v>
                </c:pt>
                <c:pt idx="1570">
                  <c:v>1396-07-03</c:v>
                </c:pt>
                <c:pt idx="1571">
                  <c:v>1396-07-04</c:v>
                </c:pt>
                <c:pt idx="1572">
                  <c:v>1396-07-05</c:v>
                </c:pt>
                <c:pt idx="1573">
                  <c:v>1396-07-10</c:v>
                </c:pt>
                <c:pt idx="1574">
                  <c:v>1396-07-11</c:v>
                </c:pt>
                <c:pt idx="1575">
                  <c:v>1396-07-12</c:v>
                </c:pt>
                <c:pt idx="1576">
                  <c:v>1396-07-15</c:v>
                </c:pt>
                <c:pt idx="1577">
                  <c:v>1396-07-16</c:v>
                </c:pt>
                <c:pt idx="1578">
                  <c:v>1396-07-17</c:v>
                </c:pt>
                <c:pt idx="1579">
                  <c:v>1396-07-18</c:v>
                </c:pt>
                <c:pt idx="1580">
                  <c:v>1396-07-19</c:v>
                </c:pt>
                <c:pt idx="1581">
                  <c:v>1396-07-22</c:v>
                </c:pt>
                <c:pt idx="1582">
                  <c:v>1396-07-23</c:v>
                </c:pt>
                <c:pt idx="1583">
                  <c:v>1396-07-24</c:v>
                </c:pt>
                <c:pt idx="1584">
                  <c:v>1396-07-25</c:v>
                </c:pt>
                <c:pt idx="1585">
                  <c:v>1396-07-26</c:v>
                </c:pt>
                <c:pt idx="1586">
                  <c:v>1396-07-29</c:v>
                </c:pt>
                <c:pt idx="1587">
                  <c:v>1396-07-30</c:v>
                </c:pt>
                <c:pt idx="1588">
                  <c:v>1396-08-01</c:v>
                </c:pt>
                <c:pt idx="1589">
                  <c:v>1396-08-02</c:v>
                </c:pt>
                <c:pt idx="1590">
                  <c:v>1396-08-03</c:v>
                </c:pt>
                <c:pt idx="1591">
                  <c:v>1396-08-06</c:v>
                </c:pt>
                <c:pt idx="1592">
                  <c:v>1396-08-07</c:v>
                </c:pt>
                <c:pt idx="1593">
                  <c:v>1396-08-08</c:v>
                </c:pt>
                <c:pt idx="1594">
                  <c:v>1396-08-09</c:v>
                </c:pt>
                <c:pt idx="1595">
                  <c:v>1396-08-10</c:v>
                </c:pt>
                <c:pt idx="1596">
                  <c:v>1396-08-13</c:v>
                </c:pt>
                <c:pt idx="1597">
                  <c:v>1396-08-14</c:v>
                </c:pt>
                <c:pt idx="1598">
                  <c:v>1396-08-15</c:v>
                </c:pt>
                <c:pt idx="1599">
                  <c:v>1396-08-16</c:v>
                </c:pt>
                <c:pt idx="1600">
                  <c:v>1396-08-17</c:v>
                </c:pt>
                <c:pt idx="1601">
                  <c:v>1396-08-20</c:v>
                </c:pt>
                <c:pt idx="1602">
                  <c:v>1396-08-21</c:v>
                </c:pt>
                <c:pt idx="1603">
                  <c:v>1396-08-22</c:v>
                </c:pt>
                <c:pt idx="1604">
                  <c:v>1396-08-23</c:v>
                </c:pt>
                <c:pt idx="1605">
                  <c:v>1396-08-24</c:v>
                </c:pt>
                <c:pt idx="1606">
                  <c:v>1396-08-27</c:v>
                </c:pt>
                <c:pt idx="1607">
                  <c:v>1396-08-29</c:v>
                </c:pt>
                <c:pt idx="1608">
                  <c:v>1396-08-30</c:v>
                </c:pt>
                <c:pt idx="1609">
                  <c:v>1396-09-01</c:v>
                </c:pt>
                <c:pt idx="1610">
                  <c:v>1396-09-04</c:v>
                </c:pt>
                <c:pt idx="1611">
                  <c:v>1396-09-05</c:v>
                </c:pt>
                <c:pt idx="1612">
                  <c:v>1396-09-07</c:v>
                </c:pt>
                <c:pt idx="1613">
                  <c:v>1396-09-08</c:v>
                </c:pt>
                <c:pt idx="1614">
                  <c:v>1396-09-11</c:v>
                </c:pt>
                <c:pt idx="1615">
                  <c:v>1396-09-12</c:v>
                </c:pt>
                <c:pt idx="1616">
                  <c:v>1396-09-13</c:v>
                </c:pt>
                <c:pt idx="1617">
                  <c:v>1396-09-14</c:v>
                </c:pt>
                <c:pt idx="1618">
                  <c:v>1396-09-18</c:v>
                </c:pt>
                <c:pt idx="1619">
                  <c:v>1396-09-19</c:v>
                </c:pt>
                <c:pt idx="1620">
                  <c:v>1396-09-20</c:v>
                </c:pt>
                <c:pt idx="1621">
                  <c:v>1396-09-21</c:v>
                </c:pt>
                <c:pt idx="1622">
                  <c:v>1396-09-22</c:v>
                </c:pt>
                <c:pt idx="1623">
                  <c:v>1396-09-25</c:v>
                </c:pt>
                <c:pt idx="1624">
                  <c:v>1396-09-26</c:v>
                </c:pt>
                <c:pt idx="1625">
                  <c:v>1396-09-27</c:v>
                </c:pt>
                <c:pt idx="1626">
                  <c:v>1396-09-28</c:v>
                </c:pt>
                <c:pt idx="1627">
                  <c:v>1396-09-29</c:v>
                </c:pt>
                <c:pt idx="1628">
                  <c:v>1396-10-02</c:v>
                </c:pt>
                <c:pt idx="1629">
                  <c:v>1396-10-03</c:v>
                </c:pt>
                <c:pt idx="1630">
                  <c:v>1396-10-04</c:v>
                </c:pt>
                <c:pt idx="1631">
                  <c:v>1396-10-05</c:v>
                </c:pt>
                <c:pt idx="1632">
                  <c:v>1396-10-06</c:v>
                </c:pt>
                <c:pt idx="1633">
                  <c:v>1396-10-09</c:v>
                </c:pt>
                <c:pt idx="1634">
                  <c:v>1396-10-10</c:v>
                </c:pt>
                <c:pt idx="1635">
                  <c:v>1396-10-11</c:v>
                </c:pt>
                <c:pt idx="1636">
                  <c:v>1396-10-12</c:v>
                </c:pt>
                <c:pt idx="1637">
                  <c:v>1396-10-13</c:v>
                </c:pt>
                <c:pt idx="1638">
                  <c:v>1396-10-16</c:v>
                </c:pt>
                <c:pt idx="1639">
                  <c:v>1396-10-17</c:v>
                </c:pt>
                <c:pt idx="1640">
                  <c:v>1396-10-18</c:v>
                </c:pt>
                <c:pt idx="1641">
                  <c:v>1396-10-19</c:v>
                </c:pt>
                <c:pt idx="1642">
                  <c:v>1396-10-20</c:v>
                </c:pt>
                <c:pt idx="1643">
                  <c:v>1396-10-23</c:v>
                </c:pt>
                <c:pt idx="1644">
                  <c:v>1396-10-24</c:v>
                </c:pt>
                <c:pt idx="1645">
                  <c:v>1396-10-25</c:v>
                </c:pt>
                <c:pt idx="1646">
                  <c:v>1396-10-26</c:v>
                </c:pt>
                <c:pt idx="1647">
                  <c:v>1396-10-27</c:v>
                </c:pt>
                <c:pt idx="1648">
                  <c:v>1396-10-30</c:v>
                </c:pt>
                <c:pt idx="1649">
                  <c:v>1396-11-01</c:v>
                </c:pt>
                <c:pt idx="1650">
                  <c:v>1396-11-02</c:v>
                </c:pt>
                <c:pt idx="1651">
                  <c:v>1396-11-03</c:v>
                </c:pt>
                <c:pt idx="1652">
                  <c:v>1396-11-04</c:v>
                </c:pt>
                <c:pt idx="1653">
                  <c:v>1396-11-07</c:v>
                </c:pt>
                <c:pt idx="1654">
                  <c:v>1396-11-08</c:v>
                </c:pt>
                <c:pt idx="1655">
                  <c:v>1396-11-09</c:v>
                </c:pt>
                <c:pt idx="1656">
                  <c:v>1396-11-10</c:v>
                </c:pt>
                <c:pt idx="1657">
                  <c:v>1396-11-11</c:v>
                </c:pt>
                <c:pt idx="1658">
                  <c:v>1396-11-14</c:v>
                </c:pt>
                <c:pt idx="1659">
                  <c:v>1396-11-15</c:v>
                </c:pt>
                <c:pt idx="1660">
                  <c:v>1396-11-16</c:v>
                </c:pt>
                <c:pt idx="1661">
                  <c:v>1396-11-17</c:v>
                </c:pt>
                <c:pt idx="1662">
                  <c:v>1396-11-18</c:v>
                </c:pt>
                <c:pt idx="1663">
                  <c:v>1396-11-21</c:v>
                </c:pt>
                <c:pt idx="1664">
                  <c:v>1396-11-23</c:v>
                </c:pt>
                <c:pt idx="1665">
                  <c:v>1396-11-24</c:v>
                </c:pt>
                <c:pt idx="1666">
                  <c:v>1396-11-25</c:v>
                </c:pt>
                <c:pt idx="1667">
                  <c:v>1396-11-28</c:v>
                </c:pt>
                <c:pt idx="1668">
                  <c:v>1396-11-29</c:v>
                </c:pt>
                <c:pt idx="1669">
                  <c:v>1396-11-30</c:v>
                </c:pt>
                <c:pt idx="1670">
                  <c:v>1396-12-02</c:v>
                </c:pt>
                <c:pt idx="1671">
                  <c:v>1396-12-05</c:v>
                </c:pt>
                <c:pt idx="1672">
                  <c:v>1396-12-06</c:v>
                </c:pt>
                <c:pt idx="1673">
                  <c:v>1396-12-07</c:v>
                </c:pt>
                <c:pt idx="1674">
                  <c:v>1396-12-08</c:v>
                </c:pt>
                <c:pt idx="1675">
                  <c:v>1396-12-09</c:v>
                </c:pt>
                <c:pt idx="1676">
                  <c:v>1396-12-12</c:v>
                </c:pt>
                <c:pt idx="1677">
                  <c:v>1396-12-13</c:v>
                </c:pt>
                <c:pt idx="1678">
                  <c:v>1396-12-14</c:v>
                </c:pt>
                <c:pt idx="1679">
                  <c:v>1396-12-15</c:v>
                </c:pt>
                <c:pt idx="1680">
                  <c:v>1396-12-16</c:v>
                </c:pt>
                <c:pt idx="1681">
                  <c:v>1396-12-19</c:v>
                </c:pt>
                <c:pt idx="1682">
                  <c:v>1396-12-20</c:v>
                </c:pt>
                <c:pt idx="1683">
                  <c:v>1396-12-21</c:v>
                </c:pt>
                <c:pt idx="1684">
                  <c:v>1396-12-22</c:v>
                </c:pt>
                <c:pt idx="1685">
                  <c:v>1396-12-23</c:v>
                </c:pt>
                <c:pt idx="1686">
                  <c:v>1396-12-26</c:v>
                </c:pt>
                <c:pt idx="1687">
                  <c:v>1396-12-27</c:v>
                </c:pt>
                <c:pt idx="1688">
                  <c:v>1396-12-28</c:v>
                </c:pt>
                <c:pt idx="1689">
                  <c:v>1397-01-05</c:v>
                </c:pt>
                <c:pt idx="1690">
                  <c:v>1397-01-06</c:v>
                </c:pt>
                <c:pt idx="1691">
                  <c:v>1397-01-07</c:v>
                </c:pt>
                <c:pt idx="1692">
                  <c:v>1397-01-08</c:v>
                </c:pt>
                <c:pt idx="1693">
                  <c:v>1397-01-14</c:v>
                </c:pt>
                <c:pt idx="1694">
                  <c:v>1397-01-15</c:v>
                </c:pt>
                <c:pt idx="1695">
                  <c:v>1397-01-18</c:v>
                </c:pt>
                <c:pt idx="1696">
                  <c:v>1397-01-19</c:v>
                </c:pt>
                <c:pt idx="1697">
                  <c:v>1397-01-20</c:v>
                </c:pt>
                <c:pt idx="1698">
                  <c:v>1397-01-21</c:v>
                </c:pt>
                <c:pt idx="1699">
                  <c:v>1397-01-22</c:v>
                </c:pt>
                <c:pt idx="1700">
                  <c:v>1397-01-26</c:v>
                </c:pt>
                <c:pt idx="1701">
                  <c:v>1397-01-27</c:v>
                </c:pt>
                <c:pt idx="1702">
                  <c:v>1397-01-28</c:v>
                </c:pt>
                <c:pt idx="1703">
                  <c:v>1397-01-29</c:v>
                </c:pt>
                <c:pt idx="1704">
                  <c:v>1397-02-01</c:v>
                </c:pt>
                <c:pt idx="1705">
                  <c:v>1397-02-02</c:v>
                </c:pt>
                <c:pt idx="1706">
                  <c:v>1397-02-03</c:v>
                </c:pt>
                <c:pt idx="1707">
                  <c:v>1397-02-04</c:v>
                </c:pt>
                <c:pt idx="1708">
                  <c:v>1397-02-05</c:v>
                </c:pt>
                <c:pt idx="1709">
                  <c:v>1397-02-08</c:v>
                </c:pt>
                <c:pt idx="1710">
                  <c:v>1397-02-09</c:v>
                </c:pt>
                <c:pt idx="1711">
                  <c:v>1397-02-10</c:v>
                </c:pt>
                <c:pt idx="1712">
                  <c:v>1397-02-11</c:v>
                </c:pt>
                <c:pt idx="1713">
                  <c:v>1397-02-15</c:v>
                </c:pt>
                <c:pt idx="1714">
                  <c:v>1397-02-16</c:v>
                </c:pt>
                <c:pt idx="1715">
                  <c:v>1397-02-17</c:v>
                </c:pt>
                <c:pt idx="1716">
                  <c:v>1397-02-18</c:v>
                </c:pt>
                <c:pt idx="1717">
                  <c:v>1397-02-19</c:v>
                </c:pt>
                <c:pt idx="1718">
                  <c:v>1397-02-22</c:v>
                </c:pt>
                <c:pt idx="1719">
                  <c:v>1397-02-23</c:v>
                </c:pt>
                <c:pt idx="1720">
                  <c:v>1397-02-24</c:v>
                </c:pt>
                <c:pt idx="1721">
                  <c:v>1397-02-25</c:v>
                </c:pt>
                <c:pt idx="1722">
                  <c:v>1397-02-26</c:v>
                </c:pt>
                <c:pt idx="1723">
                  <c:v>1397-02-29</c:v>
                </c:pt>
                <c:pt idx="1724">
                  <c:v>1397-02-30</c:v>
                </c:pt>
                <c:pt idx="1725">
                  <c:v>1397-02-31</c:v>
                </c:pt>
                <c:pt idx="1726">
                  <c:v>1397-03-01</c:v>
                </c:pt>
                <c:pt idx="1727">
                  <c:v>1397-03-02</c:v>
                </c:pt>
                <c:pt idx="1728">
                  <c:v>1397-03-05</c:v>
                </c:pt>
                <c:pt idx="1729">
                  <c:v>1397-03-06</c:v>
                </c:pt>
                <c:pt idx="1730">
                  <c:v>1397-03-07</c:v>
                </c:pt>
                <c:pt idx="1731">
                  <c:v>1397-03-08</c:v>
                </c:pt>
                <c:pt idx="1732">
                  <c:v>1397-03-09</c:v>
                </c:pt>
                <c:pt idx="1733">
                  <c:v>1397-03-12</c:v>
                </c:pt>
                <c:pt idx="1734">
                  <c:v>1397-03-13</c:v>
                </c:pt>
                <c:pt idx="1735">
                  <c:v>1397-03-19</c:v>
                </c:pt>
                <c:pt idx="1736">
                  <c:v>1397-03-20</c:v>
                </c:pt>
                <c:pt idx="1737">
                  <c:v>1397-03-21</c:v>
                </c:pt>
                <c:pt idx="1738">
                  <c:v>1397-03-22</c:v>
                </c:pt>
                <c:pt idx="1739">
                  <c:v>1397-03-23</c:v>
                </c:pt>
                <c:pt idx="1740">
                  <c:v>1397-03-27</c:v>
                </c:pt>
                <c:pt idx="1741">
                  <c:v>1397-03-28</c:v>
                </c:pt>
                <c:pt idx="1742">
                  <c:v>1397-03-29</c:v>
                </c:pt>
                <c:pt idx="1743">
                  <c:v>1397-03-30</c:v>
                </c:pt>
                <c:pt idx="1744">
                  <c:v>1397-04-02</c:v>
                </c:pt>
                <c:pt idx="1745">
                  <c:v>1397-04-03</c:v>
                </c:pt>
                <c:pt idx="1746">
                  <c:v>1397-04-04</c:v>
                </c:pt>
                <c:pt idx="1747">
                  <c:v>1397-04-05</c:v>
                </c:pt>
                <c:pt idx="1748">
                  <c:v>1397-04-06</c:v>
                </c:pt>
                <c:pt idx="1749">
                  <c:v>1397-04-09</c:v>
                </c:pt>
                <c:pt idx="1750">
                  <c:v>1397-04-10</c:v>
                </c:pt>
                <c:pt idx="1751">
                  <c:v>1397-04-11</c:v>
                </c:pt>
                <c:pt idx="1752">
                  <c:v>1397-04-12</c:v>
                </c:pt>
                <c:pt idx="1753">
                  <c:v>1397-04-13</c:v>
                </c:pt>
                <c:pt idx="1754">
                  <c:v>1397-04-16</c:v>
                </c:pt>
                <c:pt idx="1755">
                  <c:v>1397-04-17</c:v>
                </c:pt>
                <c:pt idx="1756">
                  <c:v>1397-04-19</c:v>
                </c:pt>
                <c:pt idx="1757">
                  <c:v>1397-04-20</c:v>
                </c:pt>
                <c:pt idx="1758">
                  <c:v>1397-04-23</c:v>
                </c:pt>
                <c:pt idx="1759">
                  <c:v>1397-04-24</c:v>
                </c:pt>
                <c:pt idx="1760">
                  <c:v>1397-04-25</c:v>
                </c:pt>
                <c:pt idx="1761">
                  <c:v>1397-04-26</c:v>
                </c:pt>
                <c:pt idx="1762">
                  <c:v>1397-04-27</c:v>
                </c:pt>
                <c:pt idx="1763">
                  <c:v>1397-04-30</c:v>
                </c:pt>
                <c:pt idx="1764">
                  <c:v>1397-04-31</c:v>
                </c:pt>
                <c:pt idx="1765">
                  <c:v>1397-05-01</c:v>
                </c:pt>
                <c:pt idx="1766">
                  <c:v>1397-05-02</c:v>
                </c:pt>
                <c:pt idx="1767">
                  <c:v>1397-05-03</c:v>
                </c:pt>
                <c:pt idx="1768">
                  <c:v>1397-05-06</c:v>
                </c:pt>
                <c:pt idx="1769">
                  <c:v>1397-05-07</c:v>
                </c:pt>
                <c:pt idx="1770">
                  <c:v>1397-05-08</c:v>
                </c:pt>
                <c:pt idx="1771">
                  <c:v>1397-05-09</c:v>
                </c:pt>
                <c:pt idx="1772">
                  <c:v>1397-05-10</c:v>
                </c:pt>
                <c:pt idx="1773">
                  <c:v>1397-05-13</c:v>
                </c:pt>
                <c:pt idx="1774">
                  <c:v>1397-05-14</c:v>
                </c:pt>
                <c:pt idx="1775">
                  <c:v>1397-05-15</c:v>
                </c:pt>
                <c:pt idx="1776">
                  <c:v>1397-05-16</c:v>
                </c:pt>
                <c:pt idx="1777">
                  <c:v>1397-05-17</c:v>
                </c:pt>
                <c:pt idx="1778">
                  <c:v>1397-05-20</c:v>
                </c:pt>
                <c:pt idx="1779">
                  <c:v>1397-05-21</c:v>
                </c:pt>
                <c:pt idx="1780">
                  <c:v>1397-05-22</c:v>
                </c:pt>
                <c:pt idx="1781">
                  <c:v>1397-05-23</c:v>
                </c:pt>
                <c:pt idx="1782">
                  <c:v>1397-05-24</c:v>
                </c:pt>
                <c:pt idx="1783">
                  <c:v>1397-05-27</c:v>
                </c:pt>
                <c:pt idx="1784">
                  <c:v>1397-05-28</c:v>
                </c:pt>
                <c:pt idx="1785">
                  <c:v>1397-05-29</c:v>
                </c:pt>
                <c:pt idx="1786">
                  <c:v>1397-05-30</c:v>
                </c:pt>
                <c:pt idx="1787">
                  <c:v>1397-06-03</c:v>
                </c:pt>
                <c:pt idx="1788">
                  <c:v>1397-06-04</c:v>
                </c:pt>
                <c:pt idx="1789">
                  <c:v>1397-06-05</c:v>
                </c:pt>
                <c:pt idx="1790">
                  <c:v>1397-06-06</c:v>
                </c:pt>
                <c:pt idx="1791">
                  <c:v>1397-06-07</c:v>
                </c:pt>
                <c:pt idx="1792">
                  <c:v>1397-06-10</c:v>
                </c:pt>
                <c:pt idx="1793">
                  <c:v>1397-06-11</c:v>
                </c:pt>
                <c:pt idx="1794">
                  <c:v>1397-06-12</c:v>
                </c:pt>
                <c:pt idx="1795">
                  <c:v>1397-06-13</c:v>
                </c:pt>
                <c:pt idx="1796">
                  <c:v>1397-06-14</c:v>
                </c:pt>
                <c:pt idx="1797">
                  <c:v>1397-06-17</c:v>
                </c:pt>
                <c:pt idx="1798">
                  <c:v>1397-06-18</c:v>
                </c:pt>
                <c:pt idx="1799">
                  <c:v>1397-06-19</c:v>
                </c:pt>
                <c:pt idx="1800">
                  <c:v>1397-06-20</c:v>
                </c:pt>
                <c:pt idx="1801">
                  <c:v>1397-06-21</c:v>
                </c:pt>
                <c:pt idx="1802">
                  <c:v>1397-06-24</c:v>
                </c:pt>
                <c:pt idx="1803">
                  <c:v>1397-06-25</c:v>
                </c:pt>
                <c:pt idx="1804">
                  <c:v>1397-06-26</c:v>
                </c:pt>
                <c:pt idx="1805">
                  <c:v>1397-06-27</c:v>
                </c:pt>
                <c:pt idx="1806">
                  <c:v>1397-06-31</c:v>
                </c:pt>
                <c:pt idx="1807">
                  <c:v>1397-07-01</c:v>
                </c:pt>
                <c:pt idx="1808">
                  <c:v>1397-07-02</c:v>
                </c:pt>
                <c:pt idx="1809">
                  <c:v>1397-07-03</c:v>
                </c:pt>
                <c:pt idx="1810">
                  <c:v>1397-07-04</c:v>
                </c:pt>
                <c:pt idx="1811">
                  <c:v>1397-07-07</c:v>
                </c:pt>
                <c:pt idx="1812">
                  <c:v>1397-07-08</c:v>
                </c:pt>
                <c:pt idx="1813">
                  <c:v>1397-07-09</c:v>
                </c:pt>
                <c:pt idx="1814">
                  <c:v>1397-07-10</c:v>
                </c:pt>
                <c:pt idx="1815">
                  <c:v>1397-07-11</c:v>
                </c:pt>
                <c:pt idx="1816">
                  <c:v>1397-07-14</c:v>
                </c:pt>
                <c:pt idx="1817">
                  <c:v>1397-07-15</c:v>
                </c:pt>
                <c:pt idx="1818">
                  <c:v>1397-07-16</c:v>
                </c:pt>
                <c:pt idx="1819">
                  <c:v>1397-07-17</c:v>
                </c:pt>
                <c:pt idx="1820">
                  <c:v>1397-07-18</c:v>
                </c:pt>
                <c:pt idx="1821">
                  <c:v>1397-07-21</c:v>
                </c:pt>
                <c:pt idx="1822">
                  <c:v>1397-07-22</c:v>
                </c:pt>
                <c:pt idx="1823">
                  <c:v>1397-07-23</c:v>
                </c:pt>
                <c:pt idx="1824">
                  <c:v>1397-07-24</c:v>
                </c:pt>
                <c:pt idx="1825">
                  <c:v>1397-07-25</c:v>
                </c:pt>
                <c:pt idx="1826">
                  <c:v>1397-07-28</c:v>
                </c:pt>
                <c:pt idx="1827">
                  <c:v>1397-07-29</c:v>
                </c:pt>
                <c:pt idx="1828">
                  <c:v>1397-07-30</c:v>
                </c:pt>
                <c:pt idx="1829">
                  <c:v>1397-08-01</c:v>
                </c:pt>
                <c:pt idx="1830">
                  <c:v>1397-08-02</c:v>
                </c:pt>
                <c:pt idx="1831">
                  <c:v>1397-08-05</c:v>
                </c:pt>
                <c:pt idx="1832">
                  <c:v>1397-08-06</c:v>
                </c:pt>
                <c:pt idx="1833">
                  <c:v>1397-08-07</c:v>
                </c:pt>
                <c:pt idx="1834">
                  <c:v>1397-08-09</c:v>
                </c:pt>
                <c:pt idx="1835">
                  <c:v>1397-08-12</c:v>
                </c:pt>
                <c:pt idx="1836">
                  <c:v>1397-08-13</c:v>
                </c:pt>
                <c:pt idx="1837">
                  <c:v>1397-08-14</c:v>
                </c:pt>
                <c:pt idx="1838">
                  <c:v>1397-08-15</c:v>
                </c:pt>
                <c:pt idx="1839">
                  <c:v>1397-08-19</c:v>
                </c:pt>
                <c:pt idx="1840">
                  <c:v>1397-08-20</c:v>
                </c:pt>
                <c:pt idx="1841">
                  <c:v>1397-08-21</c:v>
                </c:pt>
                <c:pt idx="1842">
                  <c:v>1397-08-22</c:v>
                </c:pt>
                <c:pt idx="1843">
                  <c:v>1397-08-23</c:v>
                </c:pt>
                <c:pt idx="1844">
                  <c:v>1397-08-26</c:v>
                </c:pt>
                <c:pt idx="1845">
                  <c:v>1397-08-27</c:v>
                </c:pt>
                <c:pt idx="1846">
                  <c:v>1397-08-28</c:v>
                </c:pt>
                <c:pt idx="1847">
                  <c:v>1397-08-29</c:v>
                </c:pt>
                <c:pt idx="1848">
                  <c:v>1397-08-30</c:v>
                </c:pt>
                <c:pt idx="1849">
                  <c:v>1397-09-03</c:v>
                </c:pt>
                <c:pt idx="1850">
                  <c:v>1397-09-05</c:v>
                </c:pt>
                <c:pt idx="1851">
                  <c:v>1397-09-06</c:v>
                </c:pt>
                <c:pt idx="1852">
                  <c:v>1397-09-07</c:v>
                </c:pt>
                <c:pt idx="1853">
                  <c:v>1397-09-10</c:v>
                </c:pt>
                <c:pt idx="1854">
                  <c:v>1397-09-11</c:v>
                </c:pt>
                <c:pt idx="1855">
                  <c:v>1397-09-12</c:v>
                </c:pt>
                <c:pt idx="1856">
                  <c:v>1397-09-13</c:v>
                </c:pt>
                <c:pt idx="1857">
                  <c:v>1397-09-14</c:v>
                </c:pt>
                <c:pt idx="1858">
                  <c:v>1397-09-17</c:v>
                </c:pt>
                <c:pt idx="1859">
                  <c:v>1397-09-18</c:v>
                </c:pt>
                <c:pt idx="1860">
                  <c:v>1397-09-19</c:v>
                </c:pt>
                <c:pt idx="1861">
                  <c:v>1397-09-20</c:v>
                </c:pt>
                <c:pt idx="1862">
                  <c:v>1397-09-21</c:v>
                </c:pt>
                <c:pt idx="1863">
                  <c:v>1397-09-24</c:v>
                </c:pt>
                <c:pt idx="1864">
                  <c:v>1397-09-25</c:v>
                </c:pt>
                <c:pt idx="1865">
                  <c:v>1397-09-26</c:v>
                </c:pt>
                <c:pt idx="1866">
                  <c:v>1397-09-27</c:v>
                </c:pt>
                <c:pt idx="1867">
                  <c:v>1397-09-28</c:v>
                </c:pt>
                <c:pt idx="1868">
                  <c:v>1397-10-01</c:v>
                </c:pt>
                <c:pt idx="1869">
                  <c:v>1397-10-02</c:v>
                </c:pt>
                <c:pt idx="1870">
                  <c:v>1397-10-03</c:v>
                </c:pt>
                <c:pt idx="1871">
                  <c:v>1397-10-04</c:v>
                </c:pt>
                <c:pt idx="1872">
                  <c:v>1397-10-05</c:v>
                </c:pt>
                <c:pt idx="1873">
                  <c:v>1397-10-08</c:v>
                </c:pt>
                <c:pt idx="1874">
                  <c:v>1397-10-09</c:v>
                </c:pt>
                <c:pt idx="1875">
                  <c:v>1397-10-10</c:v>
                </c:pt>
                <c:pt idx="1876">
                  <c:v>1397-10-11</c:v>
                </c:pt>
                <c:pt idx="1877">
                  <c:v>1397-10-12</c:v>
                </c:pt>
                <c:pt idx="1878">
                  <c:v>1397-10-15</c:v>
                </c:pt>
                <c:pt idx="1879">
                  <c:v>1397-10-16</c:v>
                </c:pt>
                <c:pt idx="1880">
                  <c:v>1397-10-17</c:v>
                </c:pt>
                <c:pt idx="1881">
                  <c:v>1397-10-18</c:v>
                </c:pt>
                <c:pt idx="1882">
                  <c:v>1397-10-19</c:v>
                </c:pt>
                <c:pt idx="1883">
                  <c:v>1397-10-22</c:v>
                </c:pt>
                <c:pt idx="1884">
                  <c:v>1397-10-23</c:v>
                </c:pt>
                <c:pt idx="1885">
                  <c:v>1397-10-24</c:v>
                </c:pt>
                <c:pt idx="1886">
                  <c:v>1397-10-25</c:v>
                </c:pt>
                <c:pt idx="1887">
                  <c:v>1397-10-26</c:v>
                </c:pt>
                <c:pt idx="1888">
                  <c:v>1397-10-29</c:v>
                </c:pt>
                <c:pt idx="1889">
                  <c:v>1397-10-30</c:v>
                </c:pt>
                <c:pt idx="1890">
                  <c:v>1397-11-01</c:v>
                </c:pt>
                <c:pt idx="1891">
                  <c:v>1397-11-02</c:v>
                </c:pt>
                <c:pt idx="1892">
                  <c:v>1397-11-03</c:v>
                </c:pt>
                <c:pt idx="1893">
                  <c:v>1397-11-06</c:v>
                </c:pt>
                <c:pt idx="1894">
                  <c:v>1397-11-07</c:v>
                </c:pt>
                <c:pt idx="1895">
                  <c:v>1397-11-08</c:v>
                </c:pt>
                <c:pt idx="1896">
                  <c:v>1397-11-09</c:v>
                </c:pt>
                <c:pt idx="1897">
                  <c:v>1397-11-10</c:v>
                </c:pt>
                <c:pt idx="1898">
                  <c:v>1397-11-13</c:v>
                </c:pt>
                <c:pt idx="1899">
                  <c:v>1397-11-14</c:v>
                </c:pt>
                <c:pt idx="1900">
                  <c:v>1397-11-15</c:v>
                </c:pt>
                <c:pt idx="1901">
                  <c:v>1397-11-16</c:v>
                </c:pt>
                <c:pt idx="1902">
                  <c:v>1397-11-17</c:v>
                </c:pt>
                <c:pt idx="1903">
                  <c:v>1397-11-21</c:v>
                </c:pt>
                <c:pt idx="1904">
                  <c:v>1397-11-23</c:v>
                </c:pt>
                <c:pt idx="1905">
                  <c:v>1397-11-24</c:v>
                </c:pt>
                <c:pt idx="1906">
                  <c:v>1397-11-27</c:v>
                </c:pt>
                <c:pt idx="1907">
                  <c:v>1397-11-28</c:v>
                </c:pt>
                <c:pt idx="1908">
                  <c:v>1397-11-29</c:v>
                </c:pt>
                <c:pt idx="1909">
                  <c:v>1397-11-30</c:v>
                </c:pt>
                <c:pt idx="1910">
                  <c:v>1397-12-01</c:v>
                </c:pt>
                <c:pt idx="1911">
                  <c:v>1397-12-04</c:v>
                </c:pt>
                <c:pt idx="1912">
                  <c:v>1397-12-05</c:v>
                </c:pt>
                <c:pt idx="1913">
                  <c:v>1397-12-06</c:v>
                </c:pt>
                <c:pt idx="1914">
                  <c:v>1397-12-07</c:v>
                </c:pt>
                <c:pt idx="1915">
                  <c:v>1397-12-08</c:v>
                </c:pt>
                <c:pt idx="1916">
                  <c:v>1397-12-11</c:v>
                </c:pt>
                <c:pt idx="1917">
                  <c:v>1397-12-12</c:v>
                </c:pt>
                <c:pt idx="1918">
                  <c:v>1397-12-13</c:v>
                </c:pt>
                <c:pt idx="1919">
                  <c:v>1397-12-14</c:v>
                </c:pt>
                <c:pt idx="1920">
                  <c:v>1397-12-15</c:v>
                </c:pt>
                <c:pt idx="1921">
                  <c:v>1397-12-18</c:v>
                </c:pt>
                <c:pt idx="1922">
                  <c:v>1397-12-19</c:v>
                </c:pt>
                <c:pt idx="1923">
                  <c:v>1397-12-20</c:v>
                </c:pt>
                <c:pt idx="1924">
                  <c:v>1397-12-21</c:v>
                </c:pt>
                <c:pt idx="1925">
                  <c:v>1397-12-22</c:v>
                </c:pt>
                <c:pt idx="1926">
                  <c:v>1397-12-25</c:v>
                </c:pt>
                <c:pt idx="1927">
                  <c:v>1397-12-26</c:v>
                </c:pt>
                <c:pt idx="1928">
                  <c:v>1397-12-27</c:v>
                </c:pt>
                <c:pt idx="1929">
                  <c:v>1397-12-28</c:v>
                </c:pt>
                <c:pt idx="1930">
                  <c:v>1398-01-05</c:v>
                </c:pt>
                <c:pt idx="1931">
                  <c:v>1398-01-06</c:v>
                </c:pt>
                <c:pt idx="1932">
                  <c:v>1398-01-07</c:v>
                </c:pt>
                <c:pt idx="1933">
                  <c:v>1398-01-10</c:v>
                </c:pt>
                <c:pt idx="1934">
                  <c:v>1398-01-11</c:v>
                </c:pt>
                <c:pt idx="1935">
                  <c:v>1398-01-17</c:v>
                </c:pt>
                <c:pt idx="1936">
                  <c:v>1398-01-18</c:v>
                </c:pt>
                <c:pt idx="1937">
                  <c:v>1398-01-19</c:v>
                </c:pt>
                <c:pt idx="1938">
                  <c:v>1398-01-20</c:v>
                </c:pt>
                <c:pt idx="1939">
                  <c:v>1398-01-21</c:v>
                </c:pt>
                <c:pt idx="1940">
                  <c:v>1398-01-24</c:v>
                </c:pt>
                <c:pt idx="1941">
                  <c:v>1398-01-25</c:v>
                </c:pt>
                <c:pt idx="1942">
                  <c:v>1398-01-26</c:v>
                </c:pt>
                <c:pt idx="1943">
                  <c:v>1398-01-27</c:v>
                </c:pt>
                <c:pt idx="1944">
                  <c:v>1398-01-28</c:v>
                </c:pt>
                <c:pt idx="1945">
                  <c:v>1398-01-31</c:v>
                </c:pt>
                <c:pt idx="1946">
                  <c:v>1398-02-02</c:v>
                </c:pt>
                <c:pt idx="1947">
                  <c:v>1398-02-03</c:v>
                </c:pt>
                <c:pt idx="1948">
                  <c:v>1398-02-04</c:v>
                </c:pt>
                <c:pt idx="1949">
                  <c:v>1398-02-07</c:v>
                </c:pt>
                <c:pt idx="1950">
                  <c:v>1398-02-08</c:v>
                </c:pt>
                <c:pt idx="1951">
                  <c:v>1398-02-09</c:v>
                </c:pt>
                <c:pt idx="1952">
                  <c:v>1398-02-10</c:v>
                </c:pt>
                <c:pt idx="1953">
                  <c:v>1398-02-11</c:v>
                </c:pt>
                <c:pt idx="1954">
                  <c:v>1398-02-14</c:v>
                </c:pt>
                <c:pt idx="1955">
                  <c:v>1398-02-15</c:v>
                </c:pt>
                <c:pt idx="1956">
                  <c:v>1398-02-16</c:v>
                </c:pt>
                <c:pt idx="1957">
                  <c:v>1398-02-17</c:v>
                </c:pt>
                <c:pt idx="1958">
                  <c:v>1398-02-18</c:v>
                </c:pt>
                <c:pt idx="1959">
                  <c:v>1398-02-21</c:v>
                </c:pt>
                <c:pt idx="1960">
                  <c:v>1398-02-22</c:v>
                </c:pt>
                <c:pt idx="1961">
                  <c:v>1398-02-23</c:v>
                </c:pt>
                <c:pt idx="1962">
                  <c:v>1398-02-24</c:v>
                </c:pt>
                <c:pt idx="1963">
                  <c:v>1398-02-25</c:v>
                </c:pt>
                <c:pt idx="1964">
                  <c:v>1398-02-28</c:v>
                </c:pt>
                <c:pt idx="1965">
                  <c:v>1398-02-29</c:v>
                </c:pt>
                <c:pt idx="1966">
                  <c:v>1398-02-30</c:v>
                </c:pt>
                <c:pt idx="1967">
                  <c:v>1398-02-31</c:v>
                </c:pt>
                <c:pt idx="1968">
                  <c:v>1398-03-01</c:v>
                </c:pt>
                <c:pt idx="1969">
                  <c:v>1398-03-04</c:v>
                </c:pt>
                <c:pt idx="1970">
                  <c:v>1398-03-05</c:v>
                </c:pt>
                <c:pt idx="1971">
                  <c:v>1398-03-07</c:v>
                </c:pt>
                <c:pt idx="1972">
                  <c:v>1398-03-08</c:v>
                </c:pt>
                <c:pt idx="1973">
                  <c:v>1398-03-11</c:v>
                </c:pt>
                <c:pt idx="1974">
                  <c:v>1398-03-12</c:v>
                </c:pt>
                <c:pt idx="1975">
                  <c:v>1398-03-13</c:v>
                </c:pt>
                <c:pt idx="1976">
                  <c:v>1398-03-18</c:v>
                </c:pt>
                <c:pt idx="1977">
                  <c:v>1398-03-19</c:v>
                </c:pt>
                <c:pt idx="1978">
                  <c:v>1398-03-20</c:v>
                </c:pt>
                <c:pt idx="1979">
                  <c:v>1398-03-21</c:v>
                </c:pt>
                <c:pt idx="1980">
                  <c:v>1398-03-22</c:v>
                </c:pt>
                <c:pt idx="1981">
                  <c:v>1398-03-25</c:v>
                </c:pt>
                <c:pt idx="1982">
                  <c:v>1398-03-26</c:v>
                </c:pt>
                <c:pt idx="1983">
                  <c:v>1398-03-27</c:v>
                </c:pt>
                <c:pt idx="1984">
                  <c:v>1398-03-28</c:v>
                </c:pt>
                <c:pt idx="1985">
                  <c:v>1398-03-29</c:v>
                </c:pt>
                <c:pt idx="1986">
                  <c:v>1398-04-01</c:v>
                </c:pt>
                <c:pt idx="1987">
                  <c:v>1398-04-02</c:v>
                </c:pt>
                <c:pt idx="1988">
                  <c:v>1398-04-03</c:v>
                </c:pt>
                <c:pt idx="1989">
                  <c:v>1398-04-04</c:v>
                </c:pt>
                <c:pt idx="1990">
                  <c:v>1398-04-05</c:v>
                </c:pt>
                <c:pt idx="1991">
                  <c:v>1398-04-09</c:v>
                </c:pt>
                <c:pt idx="1992">
                  <c:v>1398-04-10</c:v>
                </c:pt>
                <c:pt idx="1993">
                  <c:v>1398-04-11</c:v>
                </c:pt>
                <c:pt idx="1994">
                  <c:v>1398-04-12</c:v>
                </c:pt>
                <c:pt idx="1995">
                  <c:v>1398-04-15</c:v>
                </c:pt>
                <c:pt idx="1996">
                  <c:v>1398-04-16</c:v>
                </c:pt>
                <c:pt idx="1997">
                  <c:v>1398-04-17</c:v>
                </c:pt>
                <c:pt idx="1998">
                  <c:v>1398-04-18</c:v>
                </c:pt>
                <c:pt idx="1999">
                  <c:v>1398-04-19</c:v>
                </c:pt>
                <c:pt idx="2000">
                  <c:v>1398-04-22</c:v>
                </c:pt>
                <c:pt idx="2001">
                  <c:v>1398-04-23</c:v>
                </c:pt>
                <c:pt idx="2002">
                  <c:v>1398-04-24</c:v>
                </c:pt>
                <c:pt idx="2003">
                  <c:v>1398-04-25</c:v>
                </c:pt>
                <c:pt idx="2004">
                  <c:v>1398-04-26</c:v>
                </c:pt>
                <c:pt idx="2005">
                  <c:v>1398-04-29</c:v>
                </c:pt>
                <c:pt idx="2006">
                  <c:v>1398-04-30</c:v>
                </c:pt>
                <c:pt idx="2007">
                  <c:v>1398-04-31</c:v>
                </c:pt>
                <c:pt idx="2008">
                  <c:v>1398-05-01</c:v>
                </c:pt>
                <c:pt idx="2009">
                  <c:v>1398-05-02</c:v>
                </c:pt>
                <c:pt idx="2010">
                  <c:v>1398-05-05</c:v>
                </c:pt>
                <c:pt idx="2011">
                  <c:v>1398-05-06</c:v>
                </c:pt>
                <c:pt idx="2012">
                  <c:v>1398-05-07</c:v>
                </c:pt>
                <c:pt idx="2013">
                  <c:v>1398-05-08</c:v>
                </c:pt>
                <c:pt idx="2014">
                  <c:v>1398-05-09</c:v>
                </c:pt>
                <c:pt idx="2015">
                  <c:v>1398-05-12</c:v>
                </c:pt>
                <c:pt idx="2016">
                  <c:v>1398-05-13</c:v>
                </c:pt>
                <c:pt idx="2017">
                  <c:v>1398-05-14</c:v>
                </c:pt>
                <c:pt idx="2018">
                  <c:v>1398-05-15</c:v>
                </c:pt>
                <c:pt idx="2019">
                  <c:v>1398-05-16</c:v>
                </c:pt>
                <c:pt idx="2020">
                  <c:v>1398-05-19</c:v>
                </c:pt>
                <c:pt idx="2021">
                  <c:v>1398-05-20</c:v>
                </c:pt>
                <c:pt idx="2022">
                  <c:v>1398-05-22</c:v>
                </c:pt>
                <c:pt idx="2023">
                  <c:v>1398-05-23</c:v>
                </c:pt>
                <c:pt idx="2024">
                  <c:v>1398-05-26</c:v>
                </c:pt>
                <c:pt idx="2025">
                  <c:v>1398-05-27</c:v>
                </c:pt>
                <c:pt idx="2026">
                  <c:v>1398-05-28</c:v>
                </c:pt>
                <c:pt idx="2027">
                  <c:v>1398-05-30</c:v>
                </c:pt>
                <c:pt idx="2028">
                  <c:v>1398-06-02</c:v>
                </c:pt>
                <c:pt idx="2029">
                  <c:v>1398-06-03</c:v>
                </c:pt>
                <c:pt idx="2030">
                  <c:v>1398-06-04</c:v>
                </c:pt>
                <c:pt idx="2031">
                  <c:v>1398-06-05</c:v>
                </c:pt>
                <c:pt idx="2032">
                  <c:v>1398-06-06</c:v>
                </c:pt>
                <c:pt idx="2033">
                  <c:v>1398-06-09</c:v>
                </c:pt>
                <c:pt idx="2034">
                  <c:v>1398-06-10</c:v>
                </c:pt>
                <c:pt idx="2035">
                  <c:v>1398-06-11</c:v>
                </c:pt>
                <c:pt idx="2036">
                  <c:v>1398-06-12</c:v>
                </c:pt>
                <c:pt idx="2037">
                  <c:v>1398-06-13</c:v>
                </c:pt>
                <c:pt idx="2038">
                  <c:v>1398-06-16</c:v>
                </c:pt>
                <c:pt idx="2039">
                  <c:v>1398-06-17</c:v>
                </c:pt>
                <c:pt idx="2040">
                  <c:v>1398-06-20</c:v>
                </c:pt>
                <c:pt idx="2041">
                  <c:v>1398-06-23</c:v>
                </c:pt>
                <c:pt idx="2042">
                  <c:v>1398-06-24</c:v>
                </c:pt>
                <c:pt idx="2043">
                  <c:v>1398-06-25</c:v>
                </c:pt>
                <c:pt idx="2044">
                  <c:v>1398-06-26</c:v>
                </c:pt>
                <c:pt idx="2045">
                  <c:v>1398-06-27</c:v>
                </c:pt>
                <c:pt idx="2046">
                  <c:v>1398-06-30</c:v>
                </c:pt>
                <c:pt idx="2047">
                  <c:v>1398-06-31</c:v>
                </c:pt>
                <c:pt idx="2048">
                  <c:v>1398-07-01</c:v>
                </c:pt>
                <c:pt idx="2049">
                  <c:v>1398-07-02</c:v>
                </c:pt>
                <c:pt idx="2050">
                  <c:v>1398-07-03</c:v>
                </c:pt>
                <c:pt idx="2051">
                  <c:v>1398-07-06</c:v>
                </c:pt>
                <c:pt idx="2052">
                  <c:v>1398-07-07</c:v>
                </c:pt>
                <c:pt idx="2053">
                  <c:v>1398-07-08</c:v>
                </c:pt>
                <c:pt idx="2054">
                  <c:v>1398-07-09</c:v>
                </c:pt>
                <c:pt idx="2055">
                  <c:v>1398-07-10</c:v>
                </c:pt>
                <c:pt idx="2056">
                  <c:v>1398-07-13</c:v>
                </c:pt>
                <c:pt idx="2057">
                  <c:v>1398-07-14</c:v>
                </c:pt>
                <c:pt idx="2058">
                  <c:v>1398-07-15</c:v>
                </c:pt>
                <c:pt idx="2059">
                  <c:v>1398-07-16</c:v>
                </c:pt>
                <c:pt idx="2060">
                  <c:v>1398-07-17</c:v>
                </c:pt>
                <c:pt idx="2061">
                  <c:v>1398-07-20</c:v>
                </c:pt>
                <c:pt idx="2062">
                  <c:v>1398-07-21</c:v>
                </c:pt>
                <c:pt idx="2063">
                  <c:v>1398-07-22</c:v>
                </c:pt>
                <c:pt idx="2064">
                  <c:v>1398-07-23</c:v>
                </c:pt>
                <c:pt idx="2065">
                  <c:v>1398-07-24</c:v>
                </c:pt>
                <c:pt idx="2066">
                  <c:v>1398-07-28</c:v>
                </c:pt>
                <c:pt idx="2067">
                  <c:v>1398-07-29</c:v>
                </c:pt>
                <c:pt idx="2068">
                  <c:v>1398-07-30</c:v>
                </c:pt>
                <c:pt idx="2069">
                  <c:v>1398-08-01</c:v>
                </c:pt>
                <c:pt idx="2070">
                  <c:v>1398-08-04</c:v>
                </c:pt>
                <c:pt idx="2071">
                  <c:v>1398-08-06</c:v>
                </c:pt>
                <c:pt idx="2072">
                  <c:v>1398-08-08</c:v>
                </c:pt>
                <c:pt idx="2073">
                  <c:v>1398-08-11</c:v>
                </c:pt>
                <c:pt idx="2074">
                  <c:v>1398-08-12</c:v>
                </c:pt>
                <c:pt idx="2075">
                  <c:v>1398-08-13</c:v>
                </c:pt>
                <c:pt idx="2076">
                  <c:v>1398-08-14</c:v>
                </c:pt>
                <c:pt idx="2077">
                  <c:v>1398-08-18</c:v>
                </c:pt>
                <c:pt idx="2078">
                  <c:v>1398-08-19</c:v>
                </c:pt>
                <c:pt idx="2079">
                  <c:v>1398-08-20</c:v>
                </c:pt>
                <c:pt idx="2080">
                  <c:v>1398-08-21</c:v>
                </c:pt>
                <c:pt idx="2081">
                  <c:v>1398-08-22</c:v>
                </c:pt>
                <c:pt idx="2082">
                  <c:v>1398-08-25</c:v>
                </c:pt>
                <c:pt idx="2083">
                  <c:v>1398-08-26</c:v>
                </c:pt>
                <c:pt idx="2084">
                  <c:v>1398-08-27</c:v>
                </c:pt>
                <c:pt idx="2085">
                  <c:v>1398-08-28</c:v>
                </c:pt>
                <c:pt idx="2086">
                  <c:v>1398-08-29</c:v>
                </c:pt>
                <c:pt idx="2087">
                  <c:v>1398-09-02</c:v>
                </c:pt>
                <c:pt idx="2088">
                  <c:v>1398-09-03</c:v>
                </c:pt>
                <c:pt idx="2089">
                  <c:v>1398-09-04</c:v>
                </c:pt>
                <c:pt idx="2090">
                  <c:v>1398-09-05</c:v>
                </c:pt>
                <c:pt idx="2091">
                  <c:v>1398-09-06</c:v>
                </c:pt>
                <c:pt idx="2092">
                  <c:v>1398-09-09</c:v>
                </c:pt>
                <c:pt idx="2093">
                  <c:v>1398-09-10</c:v>
                </c:pt>
                <c:pt idx="2094">
                  <c:v>1398-09-11</c:v>
                </c:pt>
                <c:pt idx="2095">
                  <c:v>1398-09-12</c:v>
                </c:pt>
                <c:pt idx="2096">
                  <c:v>1398-09-13</c:v>
                </c:pt>
                <c:pt idx="2097">
                  <c:v>1398-09-16</c:v>
                </c:pt>
                <c:pt idx="2098">
                  <c:v>1398-09-17</c:v>
                </c:pt>
                <c:pt idx="2099">
                  <c:v>1398-09-18</c:v>
                </c:pt>
                <c:pt idx="2100">
                  <c:v>1398-09-19</c:v>
                </c:pt>
                <c:pt idx="2101">
                  <c:v>1398-09-20</c:v>
                </c:pt>
                <c:pt idx="2102">
                  <c:v>1398-09-23</c:v>
                </c:pt>
                <c:pt idx="2103">
                  <c:v>1398-09-24</c:v>
                </c:pt>
                <c:pt idx="2104">
                  <c:v>1398-09-25</c:v>
                </c:pt>
                <c:pt idx="2105">
                  <c:v>1398-09-26</c:v>
                </c:pt>
                <c:pt idx="2106">
                  <c:v>1398-09-27</c:v>
                </c:pt>
                <c:pt idx="2107">
                  <c:v>1398-09-30</c:v>
                </c:pt>
                <c:pt idx="2108">
                  <c:v>1398-10-01</c:v>
                </c:pt>
                <c:pt idx="2109">
                  <c:v>1398-10-02</c:v>
                </c:pt>
                <c:pt idx="2110">
                  <c:v>1398-10-03</c:v>
                </c:pt>
                <c:pt idx="2111">
                  <c:v>1398-10-04</c:v>
                </c:pt>
                <c:pt idx="2112">
                  <c:v>1398-10-07</c:v>
                </c:pt>
                <c:pt idx="2113">
                  <c:v>1398-10-08</c:v>
                </c:pt>
                <c:pt idx="2114">
                  <c:v>1398-10-09</c:v>
                </c:pt>
                <c:pt idx="2115">
                  <c:v>1398-10-10</c:v>
                </c:pt>
                <c:pt idx="2116">
                  <c:v>1398-10-11</c:v>
                </c:pt>
                <c:pt idx="2117">
                  <c:v>1398-10-14</c:v>
                </c:pt>
                <c:pt idx="2118">
                  <c:v>1398-10-15</c:v>
                </c:pt>
                <c:pt idx="2119">
                  <c:v>1398-10-17</c:v>
                </c:pt>
                <c:pt idx="2120">
                  <c:v>1398-10-18</c:v>
                </c:pt>
                <c:pt idx="2121">
                  <c:v>1398-10-21</c:v>
                </c:pt>
                <c:pt idx="2122">
                  <c:v>1398-10-22</c:v>
                </c:pt>
                <c:pt idx="2123">
                  <c:v>1398-10-23</c:v>
                </c:pt>
                <c:pt idx="2124">
                  <c:v>1398-10-24</c:v>
                </c:pt>
                <c:pt idx="2125">
                  <c:v>1398-10-25</c:v>
                </c:pt>
                <c:pt idx="2126">
                  <c:v>1398-10-28</c:v>
                </c:pt>
                <c:pt idx="2127">
                  <c:v>1398-10-29</c:v>
                </c:pt>
                <c:pt idx="2128">
                  <c:v>1398-10-30</c:v>
                </c:pt>
                <c:pt idx="2129">
                  <c:v>1398-11-01</c:v>
                </c:pt>
                <c:pt idx="2130">
                  <c:v>1398-11-02</c:v>
                </c:pt>
                <c:pt idx="2131">
                  <c:v>1398-11-05</c:v>
                </c:pt>
                <c:pt idx="2132">
                  <c:v>1398-11-06</c:v>
                </c:pt>
                <c:pt idx="2133">
                  <c:v>1398-11-07</c:v>
                </c:pt>
                <c:pt idx="2134">
                  <c:v>1398-11-08</c:v>
                </c:pt>
                <c:pt idx="2135">
                  <c:v>1398-11-12</c:v>
                </c:pt>
                <c:pt idx="2136">
                  <c:v>1398-11-13</c:v>
                </c:pt>
                <c:pt idx="2137">
                  <c:v>1398-11-14</c:v>
                </c:pt>
                <c:pt idx="2138">
                  <c:v>1398-11-15</c:v>
                </c:pt>
                <c:pt idx="2139">
                  <c:v>1398-11-16</c:v>
                </c:pt>
                <c:pt idx="2140">
                  <c:v>1398-11-19</c:v>
                </c:pt>
                <c:pt idx="2141">
                  <c:v>1398-11-20</c:v>
                </c:pt>
                <c:pt idx="2142">
                  <c:v>1398-11-21</c:v>
                </c:pt>
                <c:pt idx="2143">
                  <c:v>1398-11-23</c:v>
                </c:pt>
                <c:pt idx="2144">
                  <c:v>1398-11-26</c:v>
                </c:pt>
                <c:pt idx="2145">
                  <c:v>1398-11-27</c:v>
                </c:pt>
                <c:pt idx="2146">
                  <c:v>1398-11-28</c:v>
                </c:pt>
                <c:pt idx="2147">
                  <c:v>1398-11-29</c:v>
                </c:pt>
                <c:pt idx="2148">
                  <c:v>1398-11-30</c:v>
                </c:pt>
                <c:pt idx="2149">
                  <c:v>1398-12-03</c:v>
                </c:pt>
                <c:pt idx="2150">
                  <c:v>1398-12-04</c:v>
                </c:pt>
                <c:pt idx="2151">
                  <c:v>1398-12-05</c:v>
                </c:pt>
                <c:pt idx="2152">
                  <c:v>1398-12-06</c:v>
                </c:pt>
                <c:pt idx="2153">
                  <c:v>1398-12-07</c:v>
                </c:pt>
                <c:pt idx="2154">
                  <c:v>1398-12-10</c:v>
                </c:pt>
                <c:pt idx="2155">
                  <c:v>1398-12-11</c:v>
                </c:pt>
                <c:pt idx="2156">
                  <c:v>1398-12-12</c:v>
                </c:pt>
                <c:pt idx="2157">
                  <c:v>1398-12-13</c:v>
                </c:pt>
                <c:pt idx="2158">
                  <c:v>1398-12-14</c:v>
                </c:pt>
                <c:pt idx="2159">
                  <c:v>1398-12-17</c:v>
                </c:pt>
                <c:pt idx="2160">
                  <c:v>1398-12-19</c:v>
                </c:pt>
                <c:pt idx="2161">
                  <c:v>1398-12-20</c:v>
                </c:pt>
                <c:pt idx="2162">
                  <c:v>1398-12-21</c:v>
                </c:pt>
                <c:pt idx="2163">
                  <c:v>1398-12-24</c:v>
                </c:pt>
                <c:pt idx="2164">
                  <c:v>1398-12-25</c:v>
                </c:pt>
                <c:pt idx="2165">
                  <c:v>1398-12-26</c:v>
                </c:pt>
                <c:pt idx="2166">
                  <c:v>1398-12-27</c:v>
                </c:pt>
                <c:pt idx="2167">
                  <c:v>1398-12-28</c:v>
                </c:pt>
                <c:pt idx="2168">
                  <c:v>1399-01-05</c:v>
                </c:pt>
                <c:pt idx="2169">
                  <c:v>1399-01-06</c:v>
                </c:pt>
                <c:pt idx="2170">
                  <c:v>1399-01-09</c:v>
                </c:pt>
                <c:pt idx="2171">
                  <c:v>1399-01-10</c:v>
                </c:pt>
                <c:pt idx="2172">
                  <c:v>1399-01-11</c:v>
                </c:pt>
                <c:pt idx="2173">
                  <c:v>1399-01-16</c:v>
                </c:pt>
                <c:pt idx="2174">
                  <c:v>1399-01-17</c:v>
                </c:pt>
                <c:pt idx="2175">
                  <c:v>1399-01-18</c:v>
                </c:pt>
                <c:pt idx="2176">
                  <c:v>1399-01-19</c:v>
                </c:pt>
                <c:pt idx="2177">
                  <c:v>1399-01-20</c:v>
                </c:pt>
                <c:pt idx="2178">
                  <c:v>1399-01-23</c:v>
                </c:pt>
                <c:pt idx="2179">
                  <c:v>1399-01-24</c:v>
                </c:pt>
                <c:pt idx="2180">
                  <c:v>1399-01-25</c:v>
                </c:pt>
                <c:pt idx="2181">
                  <c:v>1399-01-26</c:v>
                </c:pt>
                <c:pt idx="2182">
                  <c:v>1399-01-27</c:v>
                </c:pt>
                <c:pt idx="2183">
                  <c:v>1399-01-30</c:v>
                </c:pt>
                <c:pt idx="2184">
                  <c:v>1399-01-31</c:v>
                </c:pt>
                <c:pt idx="2185">
                  <c:v>1399-02-01</c:v>
                </c:pt>
                <c:pt idx="2186">
                  <c:v>1399-02-02</c:v>
                </c:pt>
                <c:pt idx="2187">
                  <c:v>1399-02-03</c:v>
                </c:pt>
                <c:pt idx="2188">
                  <c:v>1399-02-06</c:v>
                </c:pt>
                <c:pt idx="2189">
                  <c:v>1399-02-07</c:v>
                </c:pt>
                <c:pt idx="2190">
                  <c:v>1399-02-08</c:v>
                </c:pt>
                <c:pt idx="2191">
                  <c:v>1399-02-09</c:v>
                </c:pt>
                <c:pt idx="2192">
                  <c:v>1399-02-10</c:v>
                </c:pt>
                <c:pt idx="2193">
                  <c:v>1399-02-13</c:v>
                </c:pt>
                <c:pt idx="2194">
                  <c:v>1399-02-14</c:v>
                </c:pt>
                <c:pt idx="2195">
                  <c:v>1399-02-15</c:v>
                </c:pt>
                <c:pt idx="2196">
                  <c:v>1399-02-16</c:v>
                </c:pt>
                <c:pt idx="2197">
                  <c:v>1399-02-17</c:v>
                </c:pt>
                <c:pt idx="2198">
                  <c:v>1399-02-20</c:v>
                </c:pt>
                <c:pt idx="2199">
                  <c:v>1399-02-21</c:v>
                </c:pt>
                <c:pt idx="2200">
                  <c:v>1399-02-22</c:v>
                </c:pt>
                <c:pt idx="2201">
                  <c:v>1399-02-23</c:v>
                </c:pt>
                <c:pt idx="2202">
                  <c:v>1399-02-24</c:v>
                </c:pt>
                <c:pt idx="2203">
                  <c:v>1399-02-27</c:v>
                </c:pt>
                <c:pt idx="2204">
                  <c:v>1399-02-28</c:v>
                </c:pt>
                <c:pt idx="2205">
                  <c:v>1399-02-29</c:v>
                </c:pt>
                <c:pt idx="2206">
                  <c:v>1399-02-30</c:v>
                </c:pt>
                <c:pt idx="2207">
                  <c:v>1399-02-31</c:v>
                </c:pt>
                <c:pt idx="2208">
                  <c:v>1399-03-03</c:v>
                </c:pt>
                <c:pt idx="2209">
                  <c:v>1399-03-06</c:v>
                </c:pt>
                <c:pt idx="2210">
                  <c:v>1399-03-07</c:v>
                </c:pt>
                <c:pt idx="2211">
                  <c:v>1399-03-10</c:v>
                </c:pt>
                <c:pt idx="2212">
                  <c:v>1399-03-11</c:v>
                </c:pt>
                <c:pt idx="2213">
                  <c:v>1399-03-12</c:v>
                </c:pt>
                <c:pt idx="2214">
                  <c:v>1399-03-13</c:v>
                </c:pt>
                <c:pt idx="2215">
                  <c:v>1399-03-17</c:v>
                </c:pt>
                <c:pt idx="2216">
                  <c:v>1399-03-18</c:v>
                </c:pt>
                <c:pt idx="2217">
                  <c:v>1399-03-19</c:v>
                </c:pt>
                <c:pt idx="2218">
                  <c:v>1399-03-20</c:v>
                </c:pt>
                <c:pt idx="2219">
                  <c:v>1399-03-21</c:v>
                </c:pt>
                <c:pt idx="2220">
                  <c:v>1399-03-24</c:v>
                </c:pt>
                <c:pt idx="2221">
                  <c:v>1399-03-25</c:v>
                </c:pt>
                <c:pt idx="2222">
                  <c:v>1399-03-26</c:v>
                </c:pt>
                <c:pt idx="2223">
                  <c:v>1399-03-27</c:v>
                </c:pt>
                <c:pt idx="2224">
                  <c:v>1399-03-31</c:v>
                </c:pt>
                <c:pt idx="2225">
                  <c:v>1399-04-01</c:v>
                </c:pt>
                <c:pt idx="2226">
                  <c:v>1399-04-02</c:v>
                </c:pt>
                <c:pt idx="2227">
                  <c:v>1399-04-03</c:v>
                </c:pt>
                <c:pt idx="2228">
                  <c:v>1399-04-04</c:v>
                </c:pt>
                <c:pt idx="2229">
                  <c:v>1399-04-07</c:v>
                </c:pt>
                <c:pt idx="2230">
                  <c:v>1399-04-08</c:v>
                </c:pt>
                <c:pt idx="2231">
                  <c:v>1399-04-09</c:v>
                </c:pt>
                <c:pt idx="2232">
                  <c:v>1399-04-10</c:v>
                </c:pt>
                <c:pt idx="2233">
                  <c:v>1399-04-11</c:v>
                </c:pt>
                <c:pt idx="2234">
                  <c:v>1399-04-14</c:v>
                </c:pt>
                <c:pt idx="2235">
                  <c:v>1399-04-15</c:v>
                </c:pt>
                <c:pt idx="2236">
                  <c:v>1399-04-16</c:v>
                </c:pt>
                <c:pt idx="2237">
                  <c:v>1399-04-17</c:v>
                </c:pt>
                <c:pt idx="2238">
                  <c:v>1399-04-18</c:v>
                </c:pt>
                <c:pt idx="2239">
                  <c:v>1399-04-21</c:v>
                </c:pt>
                <c:pt idx="2240">
                  <c:v>1399-04-22</c:v>
                </c:pt>
                <c:pt idx="2241">
                  <c:v>1399-04-23</c:v>
                </c:pt>
                <c:pt idx="2242">
                  <c:v>1399-04-24</c:v>
                </c:pt>
                <c:pt idx="2243">
                  <c:v>1399-04-25</c:v>
                </c:pt>
                <c:pt idx="2244">
                  <c:v>1399-04-28</c:v>
                </c:pt>
                <c:pt idx="2245">
                  <c:v>1399-04-29</c:v>
                </c:pt>
                <c:pt idx="2246">
                  <c:v>1399-04-30</c:v>
                </c:pt>
                <c:pt idx="2247">
                  <c:v>1399-04-31</c:v>
                </c:pt>
                <c:pt idx="2248">
                  <c:v>1399-05-01</c:v>
                </c:pt>
                <c:pt idx="2249">
                  <c:v>1399-05-04</c:v>
                </c:pt>
                <c:pt idx="2250">
                  <c:v>1399-05-05</c:v>
                </c:pt>
                <c:pt idx="2251">
                  <c:v>1399-05-06</c:v>
                </c:pt>
                <c:pt idx="2252">
                  <c:v>1399-05-07</c:v>
                </c:pt>
                <c:pt idx="2253">
                  <c:v>1399-05-08</c:v>
                </c:pt>
                <c:pt idx="2254">
                  <c:v>1399-05-11</c:v>
                </c:pt>
                <c:pt idx="2255">
                  <c:v>1399-05-12</c:v>
                </c:pt>
                <c:pt idx="2256">
                  <c:v>1399-05-13</c:v>
                </c:pt>
                <c:pt idx="2257">
                  <c:v>1399-05-14</c:v>
                </c:pt>
                <c:pt idx="2258">
                  <c:v>1399-05-15</c:v>
                </c:pt>
                <c:pt idx="2259">
                  <c:v>1399-05-19</c:v>
                </c:pt>
                <c:pt idx="2260">
                  <c:v>1399-05-20</c:v>
                </c:pt>
                <c:pt idx="2261">
                  <c:v>1399-05-21</c:v>
                </c:pt>
                <c:pt idx="2262">
                  <c:v>1399-05-22</c:v>
                </c:pt>
                <c:pt idx="2263">
                  <c:v>1399-05-25</c:v>
                </c:pt>
                <c:pt idx="2264">
                  <c:v>1399-05-26</c:v>
                </c:pt>
                <c:pt idx="2265">
                  <c:v>1399-05-27</c:v>
                </c:pt>
                <c:pt idx="2266">
                  <c:v>1399-05-28</c:v>
                </c:pt>
                <c:pt idx="2267">
                  <c:v>1399-05-29</c:v>
                </c:pt>
                <c:pt idx="2268">
                  <c:v>1399-06-01</c:v>
                </c:pt>
                <c:pt idx="2269">
                  <c:v>1399-06-02</c:v>
                </c:pt>
                <c:pt idx="2270">
                  <c:v>1399-06-03</c:v>
                </c:pt>
                <c:pt idx="2271">
                  <c:v>1399-06-04</c:v>
                </c:pt>
                <c:pt idx="2272">
                  <c:v>1399-06-05</c:v>
                </c:pt>
                <c:pt idx="2273">
                  <c:v>1399-06-10</c:v>
                </c:pt>
                <c:pt idx="2274">
                  <c:v>1399-06-11</c:v>
                </c:pt>
                <c:pt idx="2275">
                  <c:v>1399-06-12</c:v>
                </c:pt>
                <c:pt idx="2276">
                  <c:v>1399-06-15</c:v>
                </c:pt>
                <c:pt idx="2277">
                  <c:v>1399-06-16</c:v>
                </c:pt>
                <c:pt idx="2278">
                  <c:v>1399-06-17</c:v>
                </c:pt>
                <c:pt idx="2279">
                  <c:v>1399-06-18</c:v>
                </c:pt>
                <c:pt idx="2280">
                  <c:v>1399-06-19</c:v>
                </c:pt>
                <c:pt idx="2281">
                  <c:v>1399-06-22</c:v>
                </c:pt>
                <c:pt idx="2282">
                  <c:v>1399-06-23</c:v>
                </c:pt>
                <c:pt idx="2283">
                  <c:v>1399-06-24</c:v>
                </c:pt>
                <c:pt idx="2284">
                  <c:v>1399-06-25</c:v>
                </c:pt>
                <c:pt idx="2285">
                  <c:v>1399-06-26</c:v>
                </c:pt>
                <c:pt idx="2286">
                  <c:v>1399-06-29</c:v>
                </c:pt>
                <c:pt idx="2287">
                  <c:v>1399-06-30</c:v>
                </c:pt>
                <c:pt idx="2288">
                  <c:v>1399-06-31</c:v>
                </c:pt>
                <c:pt idx="2289">
                  <c:v>1399-07-01</c:v>
                </c:pt>
                <c:pt idx="2290">
                  <c:v>1399-07-02</c:v>
                </c:pt>
                <c:pt idx="2291">
                  <c:v>1399-07-05</c:v>
                </c:pt>
                <c:pt idx="2292">
                  <c:v>1399-07-06</c:v>
                </c:pt>
                <c:pt idx="2293">
                  <c:v>1399-07-07</c:v>
                </c:pt>
                <c:pt idx="2294">
                  <c:v>1399-07-08</c:v>
                </c:pt>
                <c:pt idx="2295">
                  <c:v>1399-07-09</c:v>
                </c:pt>
                <c:pt idx="2296">
                  <c:v>1399-07-12</c:v>
                </c:pt>
                <c:pt idx="2297">
                  <c:v>1399-07-13</c:v>
                </c:pt>
                <c:pt idx="2298">
                  <c:v>1399-07-14</c:v>
                </c:pt>
                <c:pt idx="2299">
                  <c:v>1399-07-15</c:v>
                </c:pt>
                <c:pt idx="2300">
                  <c:v>1399-07-16</c:v>
                </c:pt>
                <c:pt idx="2301">
                  <c:v>1399-07-19</c:v>
                </c:pt>
                <c:pt idx="2302">
                  <c:v>1399-07-20</c:v>
                </c:pt>
                <c:pt idx="2303">
                  <c:v>1399-07-21</c:v>
                </c:pt>
                <c:pt idx="2304">
                  <c:v>1399-07-22</c:v>
                </c:pt>
                <c:pt idx="2305">
                  <c:v>1399-07-23</c:v>
                </c:pt>
                <c:pt idx="2306">
                  <c:v>1399-07-27</c:v>
                </c:pt>
                <c:pt idx="2307">
                  <c:v>1399-07-28</c:v>
                </c:pt>
                <c:pt idx="2308">
                  <c:v>1399-07-29</c:v>
                </c:pt>
                <c:pt idx="2309">
                  <c:v>1399-07-30</c:v>
                </c:pt>
                <c:pt idx="2310">
                  <c:v>1399-08-03</c:v>
                </c:pt>
                <c:pt idx="2311">
                  <c:v>1399-08-05</c:v>
                </c:pt>
                <c:pt idx="2312">
                  <c:v>1399-08-06</c:v>
                </c:pt>
                <c:pt idx="2313">
                  <c:v>1399-08-07</c:v>
                </c:pt>
                <c:pt idx="2314">
                  <c:v>1399-08-10</c:v>
                </c:pt>
                <c:pt idx="2315">
                  <c:v>1399-08-11</c:v>
                </c:pt>
                <c:pt idx="2316">
                  <c:v>1399-08-12</c:v>
                </c:pt>
                <c:pt idx="2317">
                  <c:v>1399-08-14</c:v>
                </c:pt>
                <c:pt idx="2318">
                  <c:v>1399-08-17</c:v>
                </c:pt>
                <c:pt idx="2319">
                  <c:v>1399-08-18</c:v>
                </c:pt>
                <c:pt idx="2320">
                  <c:v>1399-08-19</c:v>
                </c:pt>
                <c:pt idx="2321">
                  <c:v>1399-08-20</c:v>
                </c:pt>
                <c:pt idx="2322">
                  <c:v>1399-08-21</c:v>
                </c:pt>
                <c:pt idx="2323">
                  <c:v>1399-08-24</c:v>
                </c:pt>
                <c:pt idx="2324">
                  <c:v>1399-08-25</c:v>
                </c:pt>
                <c:pt idx="2325">
                  <c:v>1399-08-26</c:v>
                </c:pt>
                <c:pt idx="2326">
                  <c:v>1399-08-27</c:v>
                </c:pt>
                <c:pt idx="2327">
                  <c:v>1399-08-28</c:v>
                </c:pt>
                <c:pt idx="2328">
                  <c:v>1399-09-01</c:v>
                </c:pt>
                <c:pt idx="2329">
                  <c:v>1399-09-02</c:v>
                </c:pt>
                <c:pt idx="2330">
                  <c:v>1399-09-03</c:v>
                </c:pt>
                <c:pt idx="2331">
                  <c:v>1399-09-04</c:v>
                </c:pt>
                <c:pt idx="2332">
                  <c:v>1399-09-05</c:v>
                </c:pt>
                <c:pt idx="2333">
                  <c:v>1399-09-08</c:v>
                </c:pt>
                <c:pt idx="2334">
                  <c:v>1399-09-09</c:v>
                </c:pt>
                <c:pt idx="2335">
                  <c:v>1399-09-10</c:v>
                </c:pt>
                <c:pt idx="2336">
                  <c:v>1399-09-11</c:v>
                </c:pt>
                <c:pt idx="2337">
                  <c:v>1399-09-12</c:v>
                </c:pt>
                <c:pt idx="2338">
                  <c:v>1399-09-15</c:v>
                </c:pt>
                <c:pt idx="2339">
                  <c:v>1399-09-16</c:v>
                </c:pt>
                <c:pt idx="2340">
                  <c:v>1399-09-17</c:v>
                </c:pt>
                <c:pt idx="2341">
                  <c:v>1399-09-18</c:v>
                </c:pt>
                <c:pt idx="2342">
                  <c:v>1399-09-19</c:v>
                </c:pt>
                <c:pt idx="2343">
                  <c:v>1399-09-22</c:v>
                </c:pt>
                <c:pt idx="2344">
                  <c:v>1399-09-23</c:v>
                </c:pt>
                <c:pt idx="2345">
                  <c:v>1399-09-24</c:v>
                </c:pt>
                <c:pt idx="2346">
                  <c:v>1399-09-25</c:v>
                </c:pt>
                <c:pt idx="2347">
                  <c:v>1399-09-26</c:v>
                </c:pt>
                <c:pt idx="2348">
                  <c:v>1399-09-29</c:v>
                </c:pt>
                <c:pt idx="2349">
                  <c:v>1399-09-30</c:v>
                </c:pt>
                <c:pt idx="2350">
                  <c:v>1399-10-01</c:v>
                </c:pt>
                <c:pt idx="2351">
                  <c:v>1399-10-02</c:v>
                </c:pt>
                <c:pt idx="2352">
                  <c:v>1399-10-03</c:v>
                </c:pt>
                <c:pt idx="2353">
                  <c:v>1399-10-06</c:v>
                </c:pt>
                <c:pt idx="2354">
                  <c:v>1399-10-07</c:v>
                </c:pt>
                <c:pt idx="2355">
                  <c:v>1399-10-08</c:v>
                </c:pt>
                <c:pt idx="2356">
                  <c:v>1399-10-09</c:v>
                </c:pt>
                <c:pt idx="2357">
                  <c:v>1399-10-10</c:v>
                </c:pt>
                <c:pt idx="2358">
                  <c:v>1399-10-13</c:v>
                </c:pt>
                <c:pt idx="2359">
                  <c:v>1399-10-14</c:v>
                </c:pt>
                <c:pt idx="2360">
                  <c:v>1399-10-15</c:v>
                </c:pt>
                <c:pt idx="2361">
                  <c:v>1399-10-16</c:v>
                </c:pt>
                <c:pt idx="2362">
                  <c:v>1399-10-17</c:v>
                </c:pt>
                <c:pt idx="2363">
                  <c:v>1399-10-20</c:v>
                </c:pt>
                <c:pt idx="2364">
                  <c:v>1399-10-21</c:v>
                </c:pt>
                <c:pt idx="2365">
                  <c:v>1399-10-22</c:v>
                </c:pt>
                <c:pt idx="2366">
                  <c:v>1399-10-23</c:v>
                </c:pt>
                <c:pt idx="2367">
                  <c:v>1399-10-24</c:v>
                </c:pt>
                <c:pt idx="2368">
                  <c:v>1399-10-27</c:v>
                </c:pt>
                <c:pt idx="2369">
                  <c:v>1399-10-29</c:v>
                </c:pt>
                <c:pt idx="2370">
                  <c:v>1399-10-30</c:v>
                </c:pt>
                <c:pt idx="2371">
                  <c:v>1399-11-01</c:v>
                </c:pt>
                <c:pt idx="2372">
                  <c:v>1399-11-04</c:v>
                </c:pt>
                <c:pt idx="2373">
                  <c:v>1399-11-05</c:v>
                </c:pt>
                <c:pt idx="2374">
                  <c:v>1399-11-06</c:v>
                </c:pt>
                <c:pt idx="2375">
                  <c:v>1399-11-07</c:v>
                </c:pt>
                <c:pt idx="2376">
                  <c:v>1399-11-08</c:v>
                </c:pt>
                <c:pt idx="2377">
                  <c:v>1399-11-11</c:v>
                </c:pt>
                <c:pt idx="2378">
                  <c:v>1399-11-12</c:v>
                </c:pt>
                <c:pt idx="2379">
                  <c:v>1399-11-13</c:v>
                </c:pt>
                <c:pt idx="2380">
                  <c:v>1399-11-14</c:v>
                </c:pt>
                <c:pt idx="2381">
                  <c:v>1399-11-15</c:v>
                </c:pt>
                <c:pt idx="2382">
                  <c:v>1399-11-18</c:v>
                </c:pt>
                <c:pt idx="2383">
                  <c:v>1399-11-19</c:v>
                </c:pt>
                <c:pt idx="2384">
                  <c:v>1399-11-20</c:v>
                </c:pt>
                <c:pt idx="2385">
                  <c:v>1399-11-21</c:v>
                </c:pt>
                <c:pt idx="2386">
                  <c:v>1399-11-25</c:v>
                </c:pt>
                <c:pt idx="2387">
                  <c:v>1399-11-26</c:v>
                </c:pt>
                <c:pt idx="2388">
                  <c:v>1399-11-27</c:v>
                </c:pt>
                <c:pt idx="2389">
                  <c:v>1399-11-28</c:v>
                </c:pt>
                <c:pt idx="2390">
                  <c:v>1399-11-29</c:v>
                </c:pt>
                <c:pt idx="2391">
                  <c:v>1399-12-02</c:v>
                </c:pt>
                <c:pt idx="2392">
                  <c:v>1399-12-03</c:v>
                </c:pt>
                <c:pt idx="2393">
                  <c:v>1399-12-04</c:v>
                </c:pt>
                <c:pt idx="2394">
                  <c:v>1399-12-05</c:v>
                </c:pt>
                <c:pt idx="2395">
                  <c:v>1399-12-06</c:v>
                </c:pt>
                <c:pt idx="2396">
                  <c:v>1399-12-09</c:v>
                </c:pt>
                <c:pt idx="2397">
                  <c:v>1399-12-10</c:v>
                </c:pt>
                <c:pt idx="2398">
                  <c:v>1399-12-11</c:v>
                </c:pt>
                <c:pt idx="2399">
                  <c:v>1399-12-12</c:v>
                </c:pt>
                <c:pt idx="2400">
                  <c:v>1399-12-13</c:v>
                </c:pt>
                <c:pt idx="2401">
                  <c:v>1399-12-16</c:v>
                </c:pt>
                <c:pt idx="2402">
                  <c:v>1399-12-17</c:v>
                </c:pt>
                <c:pt idx="2403">
                  <c:v>1399-12-18</c:v>
                </c:pt>
                <c:pt idx="2404">
                  <c:v>1399-12-19</c:v>
                </c:pt>
                <c:pt idx="2405">
                  <c:v>1399-12-20</c:v>
                </c:pt>
                <c:pt idx="2406">
                  <c:v>1399-12-23</c:v>
                </c:pt>
                <c:pt idx="2407">
                  <c:v>1399-12-24</c:v>
                </c:pt>
                <c:pt idx="2408">
                  <c:v>1399-12-25</c:v>
                </c:pt>
                <c:pt idx="2409">
                  <c:v>1399-12-26</c:v>
                </c:pt>
                <c:pt idx="2410">
                  <c:v>1399-12-27</c:v>
                </c:pt>
                <c:pt idx="2411">
                  <c:v>1400-01-07</c:v>
                </c:pt>
                <c:pt idx="2412">
                  <c:v>1400-01-08</c:v>
                </c:pt>
                <c:pt idx="2413">
                  <c:v>1400-01-10</c:v>
                </c:pt>
                <c:pt idx="2414">
                  <c:v>1400-01-11</c:v>
                </c:pt>
                <c:pt idx="2415">
                  <c:v>1400-01-14</c:v>
                </c:pt>
                <c:pt idx="2416">
                  <c:v>1400-01-15</c:v>
                </c:pt>
                <c:pt idx="2417">
                  <c:v>1400-01-16</c:v>
                </c:pt>
                <c:pt idx="2418">
                  <c:v>1400-01-17</c:v>
                </c:pt>
                <c:pt idx="2419">
                  <c:v>1400-01-18</c:v>
                </c:pt>
                <c:pt idx="2420">
                  <c:v>1400-01-21</c:v>
                </c:pt>
                <c:pt idx="2421">
                  <c:v>1400-01-22</c:v>
                </c:pt>
                <c:pt idx="2422">
                  <c:v>1400-01-23</c:v>
                </c:pt>
                <c:pt idx="2423">
                  <c:v>1400-01-24</c:v>
                </c:pt>
                <c:pt idx="2424">
                  <c:v>1400-01-25</c:v>
                </c:pt>
                <c:pt idx="2425">
                  <c:v>1400-01-28</c:v>
                </c:pt>
                <c:pt idx="2426">
                  <c:v>1400-01-29</c:v>
                </c:pt>
                <c:pt idx="2427">
                  <c:v>1400-01-30</c:v>
                </c:pt>
                <c:pt idx="2428">
                  <c:v>1400-01-31</c:v>
                </c:pt>
                <c:pt idx="2429">
                  <c:v>1400-02-01</c:v>
                </c:pt>
                <c:pt idx="2430">
                  <c:v>1400-02-04</c:v>
                </c:pt>
                <c:pt idx="2431">
                  <c:v>1400-02-05</c:v>
                </c:pt>
                <c:pt idx="2432">
                  <c:v>1400-02-06</c:v>
                </c:pt>
                <c:pt idx="2433">
                  <c:v>1400-02-07</c:v>
                </c:pt>
                <c:pt idx="2434">
                  <c:v>1400-02-08</c:v>
                </c:pt>
                <c:pt idx="2435">
                  <c:v>1400-02-11</c:v>
                </c:pt>
                <c:pt idx="2436">
                  <c:v>1400-02-12</c:v>
                </c:pt>
                <c:pt idx="2437">
                  <c:v>1400-02-13</c:v>
                </c:pt>
                <c:pt idx="2438">
                  <c:v>1400-02-15</c:v>
                </c:pt>
                <c:pt idx="2439">
                  <c:v>1400-02-18</c:v>
                </c:pt>
                <c:pt idx="2440">
                  <c:v>1400-02-19</c:v>
                </c:pt>
                <c:pt idx="2441">
                  <c:v>1400-02-20</c:v>
                </c:pt>
                <c:pt idx="2442">
                  <c:v>1400-02-21</c:v>
                </c:pt>
                <c:pt idx="2443">
                  <c:v>1400-02-22</c:v>
                </c:pt>
                <c:pt idx="2444">
                  <c:v>1400-02-25</c:v>
                </c:pt>
                <c:pt idx="2445">
                  <c:v>1400-02-26</c:v>
                </c:pt>
                <c:pt idx="2446">
                  <c:v>1400-02-27</c:v>
                </c:pt>
                <c:pt idx="2447">
                  <c:v>1400-02-28</c:v>
                </c:pt>
                <c:pt idx="2448">
                  <c:v>1400-02-29</c:v>
                </c:pt>
                <c:pt idx="2449">
                  <c:v>1400-03-01</c:v>
                </c:pt>
                <c:pt idx="2450">
                  <c:v>1400-03-02</c:v>
                </c:pt>
                <c:pt idx="2451">
                  <c:v>1400-03-03</c:v>
                </c:pt>
                <c:pt idx="2452">
                  <c:v>1400-03-04</c:v>
                </c:pt>
                <c:pt idx="2453">
                  <c:v>1400-03-05</c:v>
                </c:pt>
                <c:pt idx="2454">
                  <c:v>1400-03-08</c:v>
                </c:pt>
                <c:pt idx="2455">
                  <c:v>1400-03-09</c:v>
                </c:pt>
                <c:pt idx="2456">
                  <c:v>1400-03-10</c:v>
                </c:pt>
                <c:pt idx="2457">
                  <c:v>1400-03-11</c:v>
                </c:pt>
                <c:pt idx="2458">
                  <c:v>1400-03-12</c:v>
                </c:pt>
                <c:pt idx="2459">
                  <c:v>1400-03-17</c:v>
                </c:pt>
                <c:pt idx="2460">
                  <c:v>1400-03-18</c:v>
                </c:pt>
                <c:pt idx="2461">
                  <c:v>1400-03-19</c:v>
                </c:pt>
                <c:pt idx="2462">
                  <c:v>1400-03-22</c:v>
                </c:pt>
                <c:pt idx="2463">
                  <c:v>1400-03-23</c:v>
                </c:pt>
                <c:pt idx="2464">
                  <c:v>1400-03-24</c:v>
                </c:pt>
                <c:pt idx="2465">
                  <c:v>1400-03-25</c:v>
                </c:pt>
                <c:pt idx="2466">
                  <c:v>1400-03-26</c:v>
                </c:pt>
                <c:pt idx="2467">
                  <c:v>1400-03-29</c:v>
                </c:pt>
                <c:pt idx="2468">
                  <c:v>1400-03-30</c:v>
                </c:pt>
                <c:pt idx="2469">
                  <c:v>1400-03-31</c:v>
                </c:pt>
                <c:pt idx="2470">
                  <c:v>1400-04-01</c:v>
                </c:pt>
                <c:pt idx="2471">
                  <c:v>1400-04-02</c:v>
                </c:pt>
                <c:pt idx="2472">
                  <c:v>1400-04-05</c:v>
                </c:pt>
                <c:pt idx="2473">
                  <c:v>1400-04-06</c:v>
                </c:pt>
                <c:pt idx="2474">
                  <c:v>1400-04-07</c:v>
                </c:pt>
                <c:pt idx="2475">
                  <c:v>1400-04-08</c:v>
                </c:pt>
                <c:pt idx="2476">
                  <c:v>1400-04-09</c:v>
                </c:pt>
                <c:pt idx="2477">
                  <c:v>1400-04-12</c:v>
                </c:pt>
                <c:pt idx="2478">
                  <c:v>1400-04-13</c:v>
                </c:pt>
                <c:pt idx="2479">
                  <c:v>1400-04-14</c:v>
                </c:pt>
                <c:pt idx="2480">
                  <c:v>1400-04-15</c:v>
                </c:pt>
                <c:pt idx="2481">
                  <c:v>1400-04-16</c:v>
                </c:pt>
                <c:pt idx="2482">
                  <c:v>1400-04-19</c:v>
                </c:pt>
                <c:pt idx="2483">
                  <c:v>1400-04-20</c:v>
                </c:pt>
                <c:pt idx="2484">
                  <c:v>1400-04-21</c:v>
                </c:pt>
                <c:pt idx="2485">
                  <c:v>1400-04-22</c:v>
                </c:pt>
                <c:pt idx="2486">
                  <c:v>1400-04-23</c:v>
                </c:pt>
                <c:pt idx="2487">
                  <c:v>1400-04-26</c:v>
                </c:pt>
                <c:pt idx="2488">
                  <c:v>1400-04-27</c:v>
                </c:pt>
                <c:pt idx="2489">
                  <c:v>1400-04-28</c:v>
                </c:pt>
                <c:pt idx="2490">
                  <c:v>1400-05-04</c:v>
                </c:pt>
                <c:pt idx="2491">
                  <c:v>1400-05-05</c:v>
                </c:pt>
                <c:pt idx="2492">
                  <c:v>1400-05-06</c:v>
                </c:pt>
                <c:pt idx="2493">
                  <c:v>1400-05-09</c:v>
                </c:pt>
                <c:pt idx="2494">
                  <c:v>1400-05-10</c:v>
                </c:pt>
                <c:pt idx="2495">
                  <c:v>1400-05-11</c:v>
                </c:pt>
                <c:pt idx="2496">
                  <c:v>1400-05-12</c:v>
                </c:pt>
                <c:pt idx="2497">
                  <c:v>1400-05-13</c:v>
                </c:pt>
                <c:pt idx="2498">
                  <c:v>1400-05-16</c:v>
                </c:pt>
                <c:pt idx="2499">
                  <c:v>1400-05-17</c:v>
                </c:pt>
                <c:pt idx="2500">
                  <c:v>1400-05-18</c:v>
                </c:pt>
                <c:pt idx="2501">
                  <c:v>1400-05-19</c:v>
                </c:pt>
                <c:pt idx="2502">
                  <c:v>1400-05-20</c:v>
                </c:pt>
                <c:pt idx="2503">
                  <c:v>1400-05-23</c:v>
                </c:pt>
                <c:pt idx="2504">
                  <c:v>1400-05-24</c:v>
                </c:pt>
                <c:pt idx="2505">
                  <c:v>1400-05-31</c:v>
                </c:pt>
                <c:pt idx="2506">
                  <c:v>1400-06-01</c:v>
                </c:pt>
                <c:pt idx="2507">
                  <c:v>1400-06-02</c:v>
                </c:pt>
                <c:pt idx="2508">
                  <c:v>1400-06-03</c:v>
                </c:pt>
                <c:pt idx="2509">
                  <c:v>1400-06-06</c:v>
                </c:pt>
                <c:pt idx="2510">
                  <c:v>1400-06-07</c:v>
                </c:pt>
                <c:pt idx="2511">
                  <c:v>1400-06-08</c:v>
                </c:pt>
                <c:pt idx="2512">
                  <c:v>1400-06-09</c:v>
                </c:pt>
                <c:pt idx="2513">
                  <c:v>1400-06-10</c:v>
                </c:pt>
                <c:pt idx="2514">
                  <c:v>1400-06-13</c:v>
                </c:pt>
                <c:pt idx="2515">
                  <c:v>1400-06-14</c:v>
                </c:pt>
                <c:pt idx="2516">
                  <c:v>1400-06-15</c:v>
                </c:pt>
                <c:pt idx="2517">
                  <c:v>1400-06-16</c:v>
                </c:pt>
                <c:pt idx="2518">
                  <c:v>1400-06-17</c:v>
                </c:pt>
                <c:pt idx="2519">
                  <c:v>1400-06-20</c:v>
                </c:pt>
                <c:pt idx="2520">
                  <c:v>1400-06-21</c:v>
                </c:pt>
                <c:pt idx="2521">
                  <c:v>1400-06-22</c:v>
                </c:pt>
                <c:pt idx="2522">
                  <c:v>1400-06-23</c:v>
                </c:pt>
                <c:pt idx="2523">
                  <c:v>1400-06-24</c:v>
                </c:pt>
                <c:pt idx="2524">
                  <c:v>1400-06-27</c:v>
                </c:pt>
                <c:pt idx="2525">
                  <c:v>1400-06-28</c:v>
                </c:pt>
                <c:pt idx="2526">
                  <c:v>1400-06-29</c:v>
                </c:pt>
                <c:pt idx="2527">
                  <c:v>1400-06-30</c:v>
                </c:pt>
                <c:pt idx="2528">
                  <c:v>1400-06-31</c:v>
                </c:pt>
                <c:pt idx="2529">
                  <c:v>1400-07-03</c:v>
                </c:pt>
                <c:pt idx="2530">
                  <c:v>1400-07-04</c:v>
                </c:pt>
                <c:pt idx="2531">
                  <c:v>1400-07-06</c:v>
                </c:pt>
                <c:pt idx="2532">
                  <c:v>1400-07-07</c:v>
                </c:pt>
                <c:pt idx="2533">
                  <c:v>1400-07-10</c:v>
                </c:pt>
                <c:pt idx="2534">
                  <c:v>1400-07-11</c:v>
                </c:pt>
                <c:pt idx="2535">
                  <c:v>1400-07-12</c:v>
                </c:pt>
                <c:pt idx="2536">
                  <c:v>1400-07-14</c:v>
                </c:pt>
                <c:pt idx="2537">
                  <c:v>1400-07-17</c:v>
                </c:pt>
                <c:pt idx="2538">
                  <c:v>1400-07-18</c:v>
                </c:pt>
                <c:pt idx="2539">
                  <c:v>1400-07-19</c:v>
                </c:pt>
                <c:pt idx="2540">
                  <c:v>1400-07-20</c:v>
                </c:pt>
                <c:pt idx="2541">
                  <c:v>1400-07-21</c:v>
                </c:pt>
                <c:pt idx="2542">
                  <c:v>1400-07-24</c:v>
                </c:pt>
                <c:pt idx="2543">
                  <c:v>1400-07-25</c:v>
                </c:pt>
                <c:pt idx="2544">
                  <c:v>1400-07-26</c:v>
                </c:pt>
                <c:pt idx="2545">
                  <c:v>1400-07-27</c:v>
                </c:pt>
                <c:pt idx="2546">
                  <c:v>1400-07-28</c:v>
                </c:pt>
                <c:pt idx="2547">
                  <c:v>1400-08-01</c:v>
                </c:pt>
                <c:pt idx="2548">
                  <c:v>1400-08-03</c:v>
                </c:pt>
                <c:pt idx="2549">
                  <c:v>1400-08-04</c:v>
                </c:pt>
                <c:pt idx="2550">
                  <c:v>1400-08-05</c:v>
                </c:pt>
                <c:pt idx="2551">
                  <c:v>1400-08-08</c:v>
                </c:pt>
                <c:pt idx="2552">
                  <c:v>1400-08-09</c:v>
                </c:pt>
                <c:pt idx="2553">
                  <c:v>1400-08-10</c:v>
                </c:pt>
                <c:pt idx="2554">
                  <c:v>1400-08-11</c:v>
                </c:pt>
                <c:pt idx="2555">
                  <c:v>1400-08-12</c:v>
                </c:pt>
                <c:pt idx="2556">
                  <c:v>1400-08-15</c:v>
                </c:pt>
                <c:pt idx="2557">
                  <c:v>1400-08-16</c:v>
                </c:pt>
                <c:pt idx="2558">
                  <c:v>1400-08-17</c:v>
                </c:pt>
                <c:pt idx="2559">
                  <c:v>1400-08-18</c:v>
                </c:pt>
                <c:pt idx="2560">
                  <c:v>1400-08-19</c:v>
                </c:pt>
                <c:pt idx="2561">
                  <c:v>1400-08-22</c:v>
                </c:pt>
                <c:pt idx="2562">
                  <c:v>1400-08-23</c:v>
                </c:pt>
                <c:pt idx="2563">
                  <c:v>1400-08-24</c:v>
                </c:pt>
                <c:pt idx="2564">
                  <c:v>1400-08-25</c:v>
                </c:pt>
                <c:pt idx="2565">
                  <c:v>1400-08-26</c:v>
                </c:pt>
                <c:pt idx="2566">
                  <c:v>1400-08-29</c:v>
                </c:pt>
                <c:pt idx="2567">
                  <c:v>1400-08-30</c:v>
                </c:pt>
                <c:pt idx="2568">
                  <c:v>1400-09-01</c:v>
                </c:pt>
                <c:pt idx="2569">
                  <c:v>1400-09-02</c:v>
                </c:pt>
                <c:pt idx="2570">
                  <c:v>1400-09-03</c:v>
                </c:pt>
                <c:pt idx="2571">
                  <c:v>1400-09-06</c:v>
                </c:pt>
                <c:pt idx="2572">
                  <c:v>1400-09-07</c:v>
                </c:pt>
                <c:pt idx="2573">
                  <c:v>1400-09-08</c:v>
                </c:pt>
                <c:pt idx="2574">
                  <c:v>1400-09-09</c:v>
                </c:pt>
                <c:pt idx="2575">
                  <c:v>1400-09-10</c:v>
                </c:pt>
                <c:pt idx="2576">
                  <c:v>1400-09-13</c:v>
                </c:pt>
                <c:pt idx="2577">
                  <c:v>1400-09-14</c:v>
                </c:pt>
                <c:pt idx="2578">
                  <c:v>1400-09-15</c:v>
                </c:pt>
                <c:pt idx="2579">
                  <c:v>1400-09-16</c:v>
                </c:pt>
                <c:pt idx="2580">
                  <c:v>1400-09-17</c:v>
                </c:pt>
                <c:pt idx="2581">
                  <c:v>1400-09-20</c:v>
                </c:pt>
                <c:pt idx="2582">
                  <c:v>1400-09-21</c:v>
                </c:pt>
                <c:pt idx="2583">
                  <c:v>1400-09-22</c:v>
                </c:pt>
                <c:pt idx="2584">
                  <c:v>1400-09-23</c:v>
                </c:pt>
                <c:pt idx="2585">
                  <c:v>1400-09-24</c:v>
                </c:pt>
                <c:pt idx="2586">
                  <c:v>1400-09-27</c:v>
                </c:pt>
                <c:pt idx="2587">
                  <c:v>1400-09-28</c:v>
                </c:pt>
                <c:pt idx="2588">
                  <c:v>1400-09-29</c:v>
                </c:pt>
                <c:pt idx="2589">
                  <c:v>1400-09-30</c:v>
                </c:pt>
                <c:pt idx="2590">
                  <c:v>1400-10-01</c:v>
                </c:pt>
                <c:pt idx="2591">
                  <c:v>1400-10-04</c:v>
                </c:pt>
                <c:pt idx="2592">
                  <c:v>1400-10-05</c:v>
                </c:pt>
                <c:pt idx="2593">
                  <c:v>1400-10-06</c:v>
                </c:pt>
                <c:pt idx="2594">
                  <c:v>1400-10-07</c:v>
                </c:pt>
                <c:pt idx="2595">
                  <c:v>1400-10-08</c:v>
                </c:pt>
                <c:pt idx="2596">
                  <c:v>1400-10-11</c:v>
                </c:pt>
                <c:pt idx="2597">
                  <c:v>1400-10-12</c:v>
                </c:pt>
                <c:pt idx="2598">
                  <c:v>1400-10-13</c:v>
                </c:pt>
                <c:pt idx="2599">
                  <c:v>1400-10-14</c:v>
                </c:pt>
                <c:pt idx="2600">
                  <c:v>1400-10-15</c:v>
                </c:pt>
                <c:pt idx="2601">
                  <c:v>1400-10-18</c:v>
                </c:pt>
                <c:pt idx="2602">
                  <c:v>1400-10-19</c:v>
                </c:pt>
                <c:pt idx="2603">
                  <c:v>1400-10-20</c:v>
                </c:pt>
                <c:pt idx="2604">
                  <c:v>1400-10-21</c:v>
                </c:pt>
                <c:pt idx="2605">
                  <c:v>1400-10-22</c:v>
                </c:pt>
                <c:pt idx="2606">
                  <c:v>1400-10-25</c:v>
                </c:pt>
                <c:pt idx="2607">
                  <c:v>1400-10-26</c:v>
                </c:pt>
                <c:pt idx="2608">
                  <c:v>1400-10-27</c:v>
                </c:pt>
                <c:pt idx="2609">
                  <c:v>1400-10-28</c:v>
                </c:pt>
                <c:pt idx="2610">
                  <c:v>1400-10-29</c:v>
                </c:pt>
                <c:pt idx="2611">
                  <c:v>1400-11-02</c:v>
                </c:pt>
                <c:pt idx="2612">
                  <c:v>1400-11-03</c:v>
                </c:pt>
                <c:pt idx="2613">
                  <c:v>1400-11-04</c:v>
                </c:pt>
                <c:pt idx="2614">
                  <c:v>1400-11-05</c:v>
                </c:pt>
                <c:pt idx="2615">
                  <c:v>1400-11-06</c:v>
                </c:pt>
                <c:pt idx="2616">
                  <c:v>1400-11-09</c:v>
                </c:pt>
                <c:pt idx="2617">
                  <c:v>1400-11-10</c:v>
                </c:pt>
                <c:pt idx="2618">
                  <c:v>1400-11-11</c:v>
                </c:pt>
                <c:pt idx="2619">
                  <c:v>1400-11-12</c:v>
                </c:pt>
                <c:pt idx="2620">
                  <c:v>1400-11-13</c:v>
                </c:pt>
                <c:pt idx="2621">
                  <c:v>1400-11-16</c:v>
                </c:pt>
                <c:pt idx="2622">
                  <c:v>1400-11-17</c:v>
                </c:pt>
                <c:pt idx="2623">
                  <c:v>1400-11-18</c:v>
                </c:pt>
                <c:pt idx="2624">
                  <c:v>1400-11-19</c:v>
                </c:pt>
                <c:pt idx="2625">
                  <c:v>1400-11-20</c:v>
                </c:pt>
                <c:pt idx="2626">
                  <c:v>1400-11-23</c:v>
                </c:pt>
                <c:pt idx="2627">
                  <c:v>1400-11-24</c:v>
                </c:pt>
                <c:pt idx="2628">
                  <c:v>1400-11-25</c:v>
                </c:pt>
                <c:pt idx="2629">
                  <c:v>1400-11-27</c:v>
                </c:pt>
                <c:pt idx="2630">
                  <c:v>1400-11-30</c:v>
                </c:pt>
                <c:pt idx="2631">
                  <c:v>1400-12-01</c:v>
                </c:pt>
                <c:pt idx="2632">
                  <c:v>1400-12-02</c:v>
                </c:pt>
                <c:pt idx="2633">
                  <c:v>1400-12-03</c:v>
                </c:pt>
                <c:pt idx="2634">
                  <c:v>1400-12-04</c:v>
                </c:pt>
                <c:pt idx="2635">
                  <c:v>1400-12-07</c:v>
                </c:pt>
                <c:pt idx="2636">
                  <c:v>1400-12-08</c:v>
                </c:pt>
                <c:pt idx="2637">
                  <c:v>1400-12-09</c:v>
                </c:pt>
                <c:pt idx="2638">
                  <c:v>1400-12-11</c:v>
                </c:pt>
                <c:pt idx="2639">
                  <c:v>1400-12-14</c:v>
                </c:pt>
                <c:pt idx="2640">
                  <c:v>1400-12-15</c:v>
                </c:pt>
                <c:pt idx="2641">
                  <c:v>1400-12-16</c:v>
                </c:pt>
                <c:pt idx="2642">
                  <c:v>1400-12-17</c:v>
                </c:pt>
                <c:pt idx="2643">
                  <c:v>1400-12-18</c:v>
                </c:pt>
                <c:pt idx="2644">
                  <c:v>1400-12-21</c:v>
                </c:pt>
                <c:pt idx="2645">
                  <c:v>1400-12-22</c:v>
                </c:pt>
                <c:pt idx="2646">
                  <c:v>1400-12-23</c:v>
                </c:pt>
                <c:pt idx="2647">
                  <c:v>1400-12-24</c:v>
                </c:pt>
                <c:pt idx="2648">
                  <c:v>1400-12-25</c:v>
                </c:pt>
                <c:pt idx="2649">
                  <c:v>1400-12-28</c:v>
                </c:pt>
                <c:pt idx="2650">
                  <c:v>1401-01-06</c:v>
                </c:pt>
                <c:pt idx="2651">
                  <c:v>1401-01-07</c:v>
                </c:pt>
                <c:pt idx="2652">
                  <c:v>1401-01-08</c:v>
                </c:pt>
                <c:pt idx="2653">
                  <c:v>1401-01-09</c:v>
                </c:pt>
                <c:pt idx="2654">
                  <c:v>1401-01-10</c:v>
                </c:pt>
                <c:pt idx="2655">
                  <c:v>1401-01-14</c:v>
                </c:pt>
                <c:pt idx="2656">
                  <c:v>1401-01-15</c:v>
                </c:pt>
                <c:pt idx="2657">
                  <c:v>1401-01-16</c:v>
                </c:pt>
                <c:pt idx="2658">
                  <c:v>1401-01-17</c:v>
                </c:pt>
                <c:pt idx="2659">
                  <c:v>1401-01-20</c:v>
                </c:pt>
                <c:pt idx="2660">
                  <c:v>1401-01-21</c:v>
                </c:pt>
                <c:pt idx="2661">
                  <c:v>1401-01-22</c:v>
                </c:pt>
                <c:pt idx="2662">
                  <c:v>1401-01-23</c:v>
                </c:pt>
                <c:pt idx="2663">
                  <c:v>1401-01-24</c:v>
                </c:pt>
                <c:pt idx="2664">
                  <c:v>1401-01-27</c:v>
                </c:pt>
                <c:pt idx="2665">
                  <c:v>1401-01-28</c:v>
                </c:pt>
                <c:pt idx="2666">
                  <c:v>1401-01-29</c:v>
                </c:pt>
                <c:pt idx="2667">
                  <c:v>1401-01-30</c:v>
                </c:pt>
                <c:pt idx="2668">
                  <c:v>1401-01-31</c:v>
                </c:pt>
                <c:pt idx="2669">
                  <c:v>1401-02-04</c:v>
                </c:pt>
                <c:pt idx="2670">
                  <c:v>1401-02-05</c:v>
                </c:pt>
                <c:pt idx="2671">
                  <c:v>1401-02-06</c:v>
                </c:pt>
                <c:pt idx="2672">
                  <c:v>1401-02-07</c:v>
                </c:pt>
                <c:pt idx="2673">
                  <c:v>1401-02-10</c:v>
                </c:pt>
                <c:pt idx="2674">
                  <c:v>1401-02-11</c:v>
                </c:pt>
                <c:pt idx="2675">
                  <c:v>1401-02-12</c:v>
                </c:pt>
                <c:pt idx="2676">
                  <c:v>1401-02-17</c:v>
                </c:pt>
                <c:pt idx="2677">
                  <c:v>1401-02-18</c:v>
                </c:pt>
                <c:pt idx="2678">
                  <c:v>1401-02-19</c:v>
                </c:pt>
                <c:pt idx="2679">
                  <c:v>1401-02-20</c:v>
                </c:pt>
                <c:pt idx="2680">
                  <c:v>1401-02-21</c:v>
                </c:pt>
                <c:pt idx="2681">
                  <c:v>1401-02-24</c:v>
                </c:pt>
                <c:pt idx="2682">
                  <c:v>1401-02-25</c:v>
                </c:pt>
                <c:pt idx="2683">
                  <c:v>1401-02-26</c:v>
                </c:pt>
                <c:pt idx="2684">
                  <c:v>1401-02-27</c:v>
                </c:pt>
                <c:pt idx="2685">
                  <c:v>1401-02-28</c:v>
                </c:pt>
                <c:pt idx="2686">
                  <c:v>1401-02-31</c:v>
                </c:pt>
                <c:pt idx="2687">
                  <c:v>1401-03-01</c:v>
                </c:pt>
                <c:pt idx="2688">
                  <c:v>1401-03-02</c:v>
                </c:pt>
                <c:pt idx="2689">
                  <c:v>1401-03-03</c:v>
                </c:pt>
                <c:pt idx="2690">
                  <c:v>1401-03-04</c:v>
                </c:pt>
                <c:pt idx="2691">
                  <c:v>1401-03-07</c:v>
                </c:pt>
                <c:pt idx="2692">
                  <c:v>1401-03-08</c:v>
                </c:pt>
                <c:pt idx="2693">
                  <c:v>1401-03-09</c:v>
                </c:pt>
                <c:pt idx="2694">
                  <c:v>1401-03-10</c:v>
                </c:pt>
                <c:pt idx="2695">
                  <c:v>1401-03-11</c:v>
                </c:pt>
                <c:pt idx="2696">
                  <c:v>1401-03-16</c:v>
                </c:pt>
                <c:pt idx="2697">
                  <c:v>1401-03-17</c:v>
                </c:pt>
                <c:pt idx="2698">
                  <c:v>1401-03-18</c:v>
                </c:pt>
                <c:pt idx="2699">
                  <c:v>1401-03-21</c:v>
                </c:pt>
                <c:pt idx="2700">
                  <c:v>1401-03-22</c:v>
                </c:pt>
                <c:pt idx="2701">
                  <c:v>1401-03-23</c:v>
                </c:pt>
                <c:pt idx="2702">
                  <c:v>1401-03-24</c:v>
                </c:pt>
                <c:pt idx="2703">
                  <c:v>1401-03-25</c:v>
                </c:pt>
                <c:pt idx="2704">
                  <c:v>1401-03-28</c:v>
                </c:pt>
                <c:pt idx="2705">
                  <c:v>1401-03-29</c:v>
                </c:pt>
                <c:pt idx="2706">
                  <c:v>1401-03-30</c:v>
                </c:pt>
                <c:pt idx="2707">
                  <c:v>1401-03-31</c:v>
                </c:pt>
                <c:pt idx="2708">
                  <c:v>1401-04-01</c:v>
                </c:pt>
                <c:pt idx="2709">
                  <c:v>1401-04-04</c:v>
                </c:pt>
                <c:pt idx="2710">
                  <c:v>1401-04-05</c:v>
                </c:pt>
                <c:pt idx="2711">
                  <c:v>1401-04-06</c:v>
                </c:pt>
                <c:pt idx="2712">
                  <c:v>1401-04-07</c:v>
                </c:pt>
                <c:pt idx="2713">
                  <c:v>1401-04-08</c:v>
                </c:pt>
                <c:pt idx="2714">
                  <c:v>1401-04-11</c:v>
                </c:pt>
                <c:pt idx="2715">
                  <c:v>1401-04-12</c:v>
                </c:pt>
                <c:pt idx="2716">
                  <c:v>1401-04-13</c:v>
                </c:pt>
                <c:pt idx="2717">
                  <c:v>1401-04-14</c:v>
                </c:pt>
                <c:pt idx="2718">
                  <c:v>1401-04-15</c:v>
                </c:pt>
                <c:pt idx="2719">
                  <c:v>1401-04-18</c:v>
                </c:pt>
                <c:pt idx="2720">
                  <c:v>1401-04-20</c:v>
                </c:pt>
                <c:pt idx="2721">
                  <c:v>1401-04-21</c:v>
                </c:pt>
                <c:pt idx="2722">
                  <c:v>1401-04-22</c:v>
                </c:pt>
                <c:pt idx="2723">
                  <c:v>1401-04-25</c:v>
                </c:pt>
                <c:pt idx="2724">
                  <c:v>1401-04-26</c:v>
                </c:pt>
                <c:pt idx="2725">
                  <c:v>1401-04-28</c:v>
                </c:pt>
                <c:pt idx="2726">
                  <c:v>1401-04-29</c:v>
                </c:pt>
                <c:pt idx="2727">
                  <c:v>1401-05-01</c:v>
                </c:pt>
                <c:pt idx="2728">
                  <c:v>1401-05-02</c:v>
                </c:pt>
                <c:pt idx="2729">
                  <c:v>1401-05-03</c:v>
                </c:pt>
                <c:pt idx="2730">
                  <c:v>1401-05-04</c:v>
                </c:pt>
                <c:pt idx="2731">
                  <c:v>1401-05-05</c:v>
                </c:pt>
                <c:pt idx="2732">
                  <c:v>1401-05-08</c:v>
                </c:pt>
                <c:pt idx="2733">
                  <c:v>1401-05-09</c:v>
                </c:pt>
                <c:pt idx="2734">
                  <c:v>1401-05-10</c:v>
                </c:pt>
                <c:pt idx="2735">
                  <c:v>1401-05-11</c:v>
                </c:pt>
                <c:pt idx="2736">
                  <c:v>1401-05-12</c:v>
                </c:pt>
                <c:pt idx="2737">
                  <c:v>1401-05-15</c:v>
                </c:pt>
                <c:pt idx="2738">
                  <c:v>1401-05-18</c:v>
                </c:pt>
                <c:pt idx="2739">
                  <c:v>1401-05-19</c:v>
                </c:pt>
                <c:pt idx="2740">
                  <c:v>1401-05-22</c:v>
                </c:pt>
                <c:pt idx="2741">
                  <c:v>1401-05-23</c:v>
                </c:pt>
                <c:pt idx="2742">
                  <c:v>1401-05-24</c:v>
                </c:pt>
                <c:pt idx="2743">
                  <c:v>1401-05-25</c:v>
                </c:pt>
                <c:pt idx="2744">
                  <c:v>1401-05-26</c:v>
                </c:pt>
                <c:pt idx="2745">
                  <c:v>1401-05-29</c:v>
                </c:pt>
                <c:pt idx="2746">
                  <c:v>1401-05-30</c:v>
                </c:pt>
                <c:pt idx="2747">
                  <c:v>1401-05-31</c:v>
                </c:pt>
                <c:pt idx="2748">
                  <c:v>1401-06-01</c:v>
                </c:pt>
                <c:pt idx="2749">
                  <c:v>1401-06-02</c:v>
                </c:pt>
                <c:pt idx="2750">
                  <c:v>1401-06-05</c:v>
                </c:pt>
                <c:pt idx="2751">
                  <c:v>1401-06-06</c:v>
                </c:pt>
                <c:pt idx="2752">
                  <c:v>1401-06-07</c:v>
                </c:pt>
                <c:pt idx="2753">
                  <c:v>1401-06-08</c:v>
                </c:pt>
                <c:pt idx="2754">
                  <c:v>1401-06-09</c:v>
                </c:pt>
                <c:pt idx="2755">
                  <c:v>1401-06-12</c:v>
                </c:pt>
                <c:pt idx="2756">
                  <c:v>1401-06-13</c:v>
                </c:pt>
                <c:pt idx="2757">
                  <c:v>1401-06-14</c:v>
                </c:pt>
                <c:pt idx="2758">
                  <c:v>1401-06-15</c:v>
                </c:pt>
                <c:pt idx="2759">
                  <c:v>1401-06-16</c:v>
                </c:pt>
                <c:pt idx="2760">
                  <c:v>1401-06-19</c:v>
                </c:pt>
                <c:pt idx="2761">
                  <c:v>1401-06-20</c:v>
                </c:pt>
                <c:pt idx="2762">
                  <c:v>1401-06-21</c:v>
                </c:pt>
                <c:pt idx="2763">
                  <c:v>1401-06-22</c:v>
                </c:pt>
                <c:pt idx="2764">
                  <c:v>1401-06-23</c:v>
                </c:pt>
                <c:pt idx="2765">
                  <c:v>1401-06-27</c:v>
                </c:pt>
                <c:pt idx="2766">
                  <c:v>1401-06-28</c:v>
                </c:pt>
                <c:pt idx="2767">
                  <c:v>1401-06-29</c:v>
                </c:pt>
                <c:pt idx="2768">
                  <c:v>1401-06-30</c:v>
                </c:pt>
                <c:pt idx="2769">
                  <c:v>1401-07-02</c:v>
                </c:pt>
                <c:pt idx="2770">
                  <c:v>1401-07-04</c:v>
                </c:pt>
                <c:pt idx="2771">
                  <c:v>1401-07-06</c:v>
                </c:pt>
                <c:pt idx="2772">
                  <c:v>1401-07-09</c:v>
                </c:pt>
                <c:pt idx="2773">
                  <c:v>1401-07-10</c:v>
                </c:pt>
                <c:pt idx="2774">
                  <c:v>1401-07-11</c:v>
                </c:pt>
                <c:pt idx="2775">
                  <c:v>1401-07-12</c:v>
                </c:pt>
                <c:pt idx="2776">
                  <c:v>1401-07-16</c:v>
                </c:pt>
                <c:pt idx="2777">
                  <c:v>1401-07-17</c:v>
                </c:pt>
                <c:pt idx="2778">
                  <c:v>1401-07-18</c:v>
                </c:pt>
                <c:pt idx="2779">
                  <c:v>1401-07-19</c:v>
                </c:pt>
                <c:pt idx="2780">
                  <c:v>1401-07-20</c:v>
                </c:pt>
                <c:pt idx="2781">
                  <c:v>1401-07-23</c:v>
                </c:pt>
                <c:pt idx="2782">
                  <c:v>1401-07-24</c:v>
                </c:pt>
                <c:pt idx="2783">
                  <c:v>1401-07-25</c:v>
                </c:pt>
                <c:pt idx="2784">
                  <c:v>1401-07-26</c:v>
                </c:pt>
                <c:pt idx="2785">
                  <c:v>1401-07-27</c:v>
                </c:pt>
                <c:pt idx="2786">
                  <c:v>1401-07-30</c:v>
                </c:pt>
                <c:pt idx="2787">
                  <c:v>1401-08-01</c:v>
                </c:pt>
                <c:pt idx="2788">
                  <c:v>1401-08-02</c:v>
                </c:pt>
                <c:pt idx="2789">
                  <c:v>1401-08-03</c:v>
                </c:pt>
                <c:pt idx="2790">
                  <c:v>1401-08-04</c:v>
                </c:pt>
                <c:pt idx="2791">
                  <c:v>1401-08-07</c:v>
                </c:pt>
                <c:pt idx="2792">
                  <c:v>1401-08-08</c:v>
                </c:pt>
                <c:pt idx="2793">
                  <c:v>1401-08-09</c:v>
                </c:pt>
                <c:pt idx="2794">
                  <c:v>1401-08-10</c:v>
                </c:pt>
                <c:pt idx="2795">
                  <c:v>1401-08-11</c:v>
                </c:pt>
                <c:pt idx="2796">
                  <c:v>1401-08-14</c:v>
                </c:pt>
                <c:pt idx="2797">
                  <c:v>1401-08-15</c:v>
                </c:pt>
                <c:pt idx="2798">
                  <c:v>1401-08-16</c:v>
                </c:pt>
                <c:pt idx="2799">
                  <c:v>1401-08-17</c:v>
                </c:pt>
                <c:pt idx="2800">
                  <c:v>1401-08-18</c:v>
                </c:pt>
                <c:pt idx="2801">
                  <c:v>1401-08-21</c:v>
                </c:pt>
                <c:pt idx="2802">
                  <c:v>1401-08-22</c:v>
                </c:pt>
                <c:pt idx="2803">
                  <c:v>1401-08-23</c:v>
                </c:pt>
                <c:pt idx="2804">
                  <c:v>1401-08-24</c:v>
                </c:pt>
                <c:pt idx="2805">
                  <c:v>1401-08-25</c:v>
                </c:pt>
                <c:pt idx="2806">
                  <c:v>1401-08-28</c:v>
                </c:pt>
                <c:pt idx="2807">
                  <c:v>1401-08-29</c:v>
                </c:pt>
                <c:pt idx="2808">
                  <c:v>1401-08-30</c:v>
                </c:pt>
                <c:pt idx="2809">
                  <c:v>1401-09-01</c:v>
                </c:pt>
                <c:pt idx="2810">
                  <c:v>1401-09-02</c:v>
                </c:pt>
                <c:pt idx="2811">
                  <c:v>1401-09-05</c:v>
                </c:pt>
                <c:pt idx="2812">
                  <c:v>1401-09-06</c:v>
                </c:pt>
                <c:pt idx="2813">
                  <c:v>1401-09-07</c:v>
                </c:pt>
                <c:pt idx="2814">
                  <c:v>1401-09-08</c:v>
                </c:pt>
                <c:pt idx="2815">
                  <c:v>1401-09-09</c:v>
                </c:pt>
                <c:pt idx="2816">
                  <c:v>1401-09-12</c:v>
                </c:pt>
                <c:pt idx="2817">
                  <c:v>1401-09-13</c:v>
                </c:pt>
                <c:pt idx="2818">
                  <c:v>1401-09-14</c:v>
                </c:pt>
                <c:pt idx="2819">
                  <c:v>1401-09-15</c:v>
                </c:pt>
                <c:pt idx="2820">
                  <c:v>1401-09-16</c:v>
                </c:pt>
                <c:pt idx="2821">
                  <c:v>1401-09-19</c:v>
                </c:pt>
                <c:pt idx="2822">
                  <c:v>1401-09-20</c:v>
                </c:pt>
                <c:pt idx="2823">
                  <c:v>1401-09-21</c:v>
                </c:pt>
                <c:pt idx="2824">
                  <c:v>1401-09-22</c:v>
                </c:pt>
                <c:pt idx="2825">
                  <c:v>1401-09-23</c:v>
                </c:pt>
                <c:pt idx="2826">
                  <c:v>1401-09-26</c:v>
                </c:pt>
                <c:pt idx="2827">
                  <c:v>1401-09-27</c:v>
                </c:pt>
                <c:pt idx="2828">
                  <c:v>1401-09-28</c:v>
                </c:pt>
                <c:pt idx="2829">
                  <c:v>1401-09-29</c:v>
                </c:pt>
                <c:pt idx="2830">
                  <c:v>1401-09-30</c:v>
                </c:pt>
                <c:pt idx="2831">
                  <c:v>1401-10-03</c:v>
                </c:pt>
                <c:pt idx="2832">
                  <c:v>1401-10-04</c:v>
                </c:pt>
                <c:pt idx="2833">
                  <c:v>1401-10-05</c:v>
                </c:pt>
                <c:pt idx="2834">
                  <c:v>1401-10-07</c:v>
                </c:pt>
                <c:pt idx="2835">
                  <c:v>1401-10-10</c:v>
                </c:pt>
                <c:pt idx="2836">
                  <c:v>1401-10-11</c:v>
                </c:pt>
                <c:pt idx="2837">
                  <c:v>1401-10-12</c:v>
                </c:pt>
                <c:pt idx="2838">
                  <c:v>1401-10-13</c:v>
                </c:pt>
                <c:pt idx="2839">
                  <c:v>1401-10-14</c:v>
                </c:pt>
                <c:pt idx="2840">
                  <c:v>1401-10-17</c:v>
                </c:pt>
                <c:pt idx="2841">
                  <c:v>1401-10-18</c:v>
                </c:pt>
                <c:pt idx="2842">
                  <c:v>1401-10-19</c:v>
                </c:pt>
                <c:pt idx="2843">
                  <c:v>1401-10-20</c:v>
                </c:pt>
                <c:pt idx="2844">
                  <c:v>1401-10-21</c:v>
                </c:pt>
                <c:pt idx="2845">
                  <c:v>1401-10-24</c:v>
                </c:pt>
                <c:pt idx="2846">
                  <c:v>1401-10-26</c:v>
                </c:pt>
                <c:pt idx="2847">
                  <c:v>1401-10-27</c:v>
                </c:pt>
                <c:pt idx="2848">
                  <c:v>1401-10-28</c:v>
                </c:pt>
                <c:pt idx="2849">
                  <c:v>1401-11-01</c:v>
                </c:pt>
                <c:pt idx="2850">
                  <c:v>1401-11-02</c:v>
                </c:pt>
                <c:pt idx="2851">
                  <c:v>1401-11-03</c:v>
                </c:pt>
                <c:pt idx="2852">
                  <c:v>1401-11-04</c:v>
                </c:pt>
                <c:pt idx="2853">
                  <c:v>1401-11-05</c:v>
                </c:pt>
                <c:pt idx="2854">
                  <c:v>1401-11-08</c:v>
                </c:pt>
                <c:pt idx="2855">
                  <c:v>1401-11-09</c:v>
                </c:pt>
                <c:pt idx="2856">
                  <c:v>1401-11-10</c:v>
                </c:pt>
                <c:pt idx="2857">
                  <c:v>1401-11-11</c:v>
                </c:pt>
                <c:pt idx="2858">
                  <c:v>1401-11-12</c:v>
                </c:pt>
                <c:pt idx="2859">
                  <c:v>1401-11-16</c:v>
                </c:pt>
                <c:pt idx="2860">
                  <c:v>1401-11-17</c:v>
                </c:pt>
                <c:pt idx="2861">
                  <c:v>1401-11-18</c:v>
                </c:pt>
                <c:pt idx="2862">
                  <c:v>1401-11-19</c:v>
                </c:pt>
                <c:pt idx="2863">
                  <c:v>1401-11-23</c:v>
                </c:pt>
                <c:pt idx="2864">
                  <c:v>1401-11-24</c:v>
                </c:pt>
                <c:pt idx="2865">
                  <c:v>1401-11-25</c:v>
                </c:pt>
                <c:pt idx="2866">
                  <c:v>1401-11-26</c:v>
                </c:pt>
                <c:pt idx="2867">
                  <c:v>1401-11-30</c:v>
                </c:pt>
                <c:pt idx="2868">
                  <c:v>1401-12-01</c:v>
                </c:pt>
                <c:pt idx="2869">
                  <c:v>1401-12-02</c:v>
                </c:pt>
                <c:pt idx="2870">
                  <c:v>1401-12-03</c:v>
                </c:pt>
                <c:pt idx="2871">
                  <c:v>1401-12-06</c:v>
                </c:pt>
                <c:pt idx="2872">
                  <c:v>1401-12-07</c:v>
                </c:pt>
                <c:pt idx="2873">
                  <c:v>1401-12-08</c:v>
                </c:pt>
                <c:pt idx="2874">
                  <c:v>1401-12-09</c:v>
                </c:pt>
                <c:pt idx="2875">
                  <c:v>1401-12-10</c:v>
                </c:pt>
                <c:pt idx="2876">
                  <c:v>1401-12-13</c:v>
                </c:pt>
                <c:pt idx="2877">
                  <c:v>1401-12-14</c:v>
                </c:pt>
                <c:pt idx="2878">
                  <c:v>1401-12-15</c:v>
                </c:pt>
                <c:pt idx="2879">
                  <c:v>1401-12-16</c:v>
                </c:pt>
                <c:pt idx="2880">
                  <c:v>1401-12-20</c:v>
                </c:pt>
                <c:pt idx="2881">
                  <c:v>1401-12-21</c:v>
                </c:pt>
                <c:pt idx="2882">
                  <c:v>1401-12-22</c:v>
                </c:pt>
                <c:pt idx="2883">
                  <c:v>1401-12-23</c:v>
                </c:pt>
                <c:pt idx="2884">
                  <c:v>1401-12-24</c:v>
                </c:pt>
                <c:pt idx="2885">
                  <c:v>1401-12-27</c:v>
                </c:pt>
                <c:pt idx="2886">
                  <c:v>1401-12-28</c:v>
                </c:pt>
                <c:pt idx="2887">
                  <c:v>1402-01-05</c:v>
                </c:pt>
                <c:pt idx="2888">
                  <c:v>1402-01-06</c:v>
                </c:pt>
                <c:pt idx="2889">
                  <c:v>1402-01-07</c:v>
                </c:pt>
                <c:pt idx="2890">
                  <c:v>1402-01-08</c:v>
                </c:pt>
                <c:pt idx="2891">
                  <c:v>1402-01-09</c:v>
                </c:pt>
                <c:pt idx="2892">
                  <c:v>1402-01-14</c:v>
                </c:pt>
                <c:pt idx="2893">
                  <c:v>1402-01-15</c:v>
                </c:pt>
                <c:pt idx="2894">
                  <c:v>1402-01-16</c:v>
                </c:pt>
                <c:pt idx="2895">
                  <c:v>1402-01-19</c:v>
                </c:pt>
                <c:pt idx="2896">
                  <c:v>1402-01-20</c:v>
                </c:pt>
                <c:pt idx="2897">
                  <c:v>1402-01-21</c:v>
                </c:pt>
                <c:pt idx="2898">
                  <c:v>1402-01-22</c:v>
                </c:pt>
                <c:pt idx="2899">
                  <c:v>1402-01-26</c:v>
                </c:pt>
                <c:pt idx="2900">
                  <c:v>1402-01-27</c:v>
                </c:pt>
                <c:pt idx="2901">
                  <c:v>1402-01-28</c:v>
                </c:pt>
                <c:pt idx="2902">
                  <c:v>1402-01-29</c:v>
                </c:pt>
                <c:pt idx="2903">
                  <c:v>1402-01-30</c:v>
                </c:pt>
                <c:pt idx="2904">
                  <c:v>1402-02-04</c:v>
                </c:pt>
                <c:pt idx="2905">
                  <c:v>1402-02-05</c:v>
                </c:pt>
                <c:pt idx="2906">
                  <c:v>1402-02-06</c:v>
                </c:pt>
                <c:pt idx="2907">
                  <c:v>1402-02-09</c:v>
                </c:pt>
                <c:pt idx="2908">
                  <c:v>1402-02-10</c:v>
                </c:pt>
                <c:pt idx="2909">
                  <c:v>1402-02-11</c:v>
                </c:pt>
                <c:pt idx="2910">
                  <c:v>1402-02-12</c:v>
                </c:pt>
                <c:pt idx="2911">
                  <c:v>1402-02-13</c:v>
                </c:pt>
                <c:pt idx="2912">
                  <c:v>1402-02-16</c:v>
                </c:pt>
                <c:pt idx="2913">
                  <c:v>1402-02-17</c:v>
                </c:pt>
                <c:pt idx="2914">
                  <c:v>1402-02-18</c:v>
                </c:pt>
                <c:pt idx="2915">
                  <c:v>1402-02-19</c:v>
                </c:pt>
                <c:pt idx="2916">
                  <c:v>1402-02-20</c:v>
                </c:pt>
                <c:pt idx="2917">
                  <c:v>1402-02-23</c:v>
                </c:pt>
                <c:pt idx="2918">
                  <c:v>1402-02-24</c:v>
                </c:pt>
                <c:pt idx="2919">
                  <c:v>1402-02-25</c:v>
                </c:pt>
                <c:pt idx="2920">
                  <c:v>1402-02-27</c:v>
                </c:pt>
                <c:pt idx="2921">
                  <c:v>1402-02-30</c:v>
                </c:pt>
                <c:pt idx="2922">
                  <c:v>1402-02-31</c:v>
                </c:pt>
                <c:pt idx="2923">
                  <c:v>1402-03-01</c:v>
                </c:pt>
                <c:pt idx="2924">
                  <c:v>1402-03-02</c:v>
                </c:pt>
                <c:pt idx="2925">
                  <c:v>1402-03-03</c:v>
                </c:pt>
                <c:pt idx="2926">
                  <c:v>1402-03-06</c:v>
                </c:pt>
                <c:pt idx="2927">
                  <c:v>1402-03-07</c:v>
                </c:pt>
                <c:pt idx="2928">
                  <c:v>1402-03-08</c:v>
                </c:pt>
                <c:pt idx="2929">
                  <c:v>1402-03-09</c:v>
                </c:pt>
                <c:pt idx="2930">
                  <c:v>1402-03-10</c:v>
                </c:pt>
                <c:pt idx="2931">
                  <c:v>1402-03-13</c:v>
                </c:pt>
                <c:pt idx="2932">
                  <c:v>1402-03-16</c:v>
                </c:pt>
                <c:pt idx="2933">
                  <c:v>1402-03-17</c:v>
                </c:pt>
                <c:pt idx="2934">
                  <c:v>1402-03-20</c:v>
                </c:pt>
                <c:pt idx="2935">
                  <c:v>1402-03-21</c:v>
                </c:pt>
                <c:pt idx="2936">
                  <c:v>1402-03-22</c:v>
                </c:pt>
                <c:pt idx="2937">
                  <c:v>1402-03-23</c:v>
                </c:pt>
                <c:pt idx="2938">
                  <c:v>1402-03-24</c:v>
                </c:pt>
                <c:pt idx="2939">
                  <c:v>1402-03-27</c:v>
                </c:pt>
                <c:pt idx="2940">
                  <c:v>1402-03-28</c:v>
                </c:pt>
                <c:pt idx="2941">
                  <c:v>1402-03-29</c:v>
                </c:pt>
                <c:pt idx="2942">
                  <c:v>1402-03-30</c:v>
                </c:pt>
                <c:pt idx="2943">
                  <c:v>1402-03-31</c:v>
                </c:pt>
                <c:pt idx="2944">
                  <c:v>1402-04-03</c:v>
                </c:pt>
                <c:pt idx="2945">
                  <c:v>1402-04-04</c:v>
                </c:pt>
                <c:pt idx="2946">
                  <c:v>1402-04-05</c:v>
                </c:pt>
                <c:pt idx="2947">
                  <c:v>1402-04-06</c:v>
                </c:pt>
                <c:pt idx="2948">
                  <c:v>1402-04-07</c:v>
                </c:pt>
                <c:pt idx="2949">
                  <c:v>1402-04-10</c:v>
                </c:pt>
                <c:pt idx="2950">
                  <c:v>1402-04-11</c:v>
                </c:pt>
                <c:pt idx="2951">
                  <c:v>1402-04-12</c:v>
                </c:pt>
                <c:pt idx="2952">
                  <c:v>1402-04-13</c:v>
                </c:pt>
                <c:pt idx="2953">
                  <c:v>1402-04-14</c:v>
                </c:pt>
                <c:pt idx="2954">
                  <c:v>1402-04-17</c:v>
                </c:pt>
                <c:pt idx="2955">
                  <c:v>1402-04-18</c:v>
                </c:pt>
                <c:pt idx="2956">
                  <c:v>1402-04-19</c:v>
                </c:pt>
                <c:pt idx="2957">
                  <c:v>1402-04-20</c:v>
                </c:pt>
                <c:pt idx="2958">
                  <c:v>1402-04-21</c:v>
                </c:pt>
                <c:pt idx="2959">
                  <c:v>1402-04-24</c:v>
                </c:pt>
                <c:pt idx="2960">
                  <c:v>1402-04-25</c:v>
                </c:pt>
                <c:pt idx="2961">
                  <c:v>1402-04-26</c:v>
                </c:pt>
                <c:pt idx="2962">
                  <c:v>1402-04-27</c:v>
                </c:pt>
                <c:pt idx="2963">
                  <c:v>1402-04-28</c:v>
                </c:pt>
                <c:pt idx="2964">
                  <c:v>1402-04-31</c:v>
                </c:pt>
                <c:pt idx="2965">
                  <c:v>1402-05-01</c:v>
                </c:pt>
                <c:pt idx="2966">
                  <c:v>1402-05-02</c:v>
                </c:pt>
                <c:pt idx="2967">
                  <c:v>1402-05-03</c:v>
                </c:pt>
                <c:pt idx="2968">
                  <c:v>1402-05-04</c:v>
                </c:pt>
                <c:pt idx="2969">
                  <c:v>1402-05-07</c:v>
                </c:pt>
                <c:pt idx="2970">
                  <c:v>1402-05-08</c:v>
                </c:pt>
                <c:pt idx="2971">
                  <c:v>1402-05-09</c:v>
                </c:pt>
                <c:pt idx="2972">
                  <c:v>1402-05-10</c:v>
                </c:pt>
                <c:pt idx="2973">
                  <c:v>1402-05-14</c:v>
                </c:pt>
                <c:pt idx="2974">
                  <c:v>1402-05-15</c:v>
                </c:pt>
                <c:pt idx="2975">
                  <c:v>1402-05-16</c:v>
                </c:pt>
                <c:pt idx="2976">
                  <c:v>1402-05-17</c:v>
                </c:pt>
                <c:pt idx="2977">
                  <c:v>1402-05-18</c:v>
                </c:pt>
                <c:pt idx="2978">
                  <c:v>1402-05-21</c:v>
                </c:pt>
                <c:pt idx="2979">
                  <c:v>1402-05-22</c:v>
                </c:pt>
                <c:pt idx="2980">
                  <c:v>1402-05-23</c:v>
                </c:pt>
                <c:pt idx="2981">
                  <c:v>1402-05-24</c:v>
                </c:pt>
                <c:pt idx="2982">
                  <c:v>1402-05-25</c:v>
                </c:pt>
                <c:pt idx="2983">
                  <c:v>1402-05-28</c:v>
                </c:pt>
                <c:pt idx="2984">
                  <c:v>1402-05-29</c:v>
                </c:pt>
                <c:pt idx="2985">
                  <c:v>1402-05-30</c:v>
                </c:pt>
                <c:pt idx="2986">
                  <c:v>1402-05-31</c:v>
                </c:pt>
                <c:pt idx="2987">
                  <c:v>1402-06-01</c:v>
                </c:pt>
                <c:pt idx="2988">
                  <c:v>1402-06-04</c:v>
                </c:pt>
                <c:pt idx="2989">
                  <c:v>1402-06-05</c:v>
                </c:pt>
                <c:pt idx="2990">
                  <c:v>1402-06-06</c:v>
                </c:pt>
                <c:pt idx="2991">
                  <c:v>1402-06-07</c:v>
                </c:pt>
                <c:pt idx="2992">
                  <c:v>1402-06-08</c:v>
                </c:pt>
                <c:pt idx="2993">
                  <c:v>1402-06-11</c:v>
                </c:pt>
                <c:pt idx="2994">
                  <c:v>1402-06-12</c:v>
                </c:pt>
                <c:pt idx="2995">
                  <c:v>1402-06-13</c:v>
                </c:pt>
                <c:pt idx="2996">
                  <c:v>1402-06-14</c:v>
                </c:pt>
                <c:pt idx="2997">
                  <c:v>1402-06-18</c:v>
                </c:pt>
                <c:pt idx="2998">
                  <c:v>1402-06-19</c:v>
                </c:pt>
                <c:pt idx="2999">
                  <c:v>1402-06-20</c:v>
                </c:pt>
                <c:pt idx="3000">
                  <c:v>1402-06-21</c:v>
                </c:pt>
                <c:pt idx="3001">
                  <c:v>1402-06-22</c:v>
                </c:pt>
                <c:pt idx="3002">
                  <c:v>1402-06-26</c:v>
                </c:pt>
                <c:pt idx="3003">
                  <c:v>1402-06-27</c:v>
                </c:pt>
                <c:pt idx="3004">
                  <c:v>1402-06-28</c:v>
                </c:pt>
                <c:pt idx="3005">
                  <c:v>1402-06-29</c:v>
                </c:pt>
                <c:pt idx="3006">
                  <c:v>1402-07-01</c:v>
                </c:pt>
                <c:pt idx="3007">
                  <c:v>1402-07-03</c:v>
                </c:pt>
                <c:pt idx="3008">
                  <c:v>1402-07-04</c:v>
                </c:pt>
                <c:pt idx="3009">
                  <c:v>1402-07-05</c:v>
                </c:pt>
                <c:pt idx="3010">
                  <c:v>1402-07-08</c:v>
                </c:pt>
                <c:pt idx="3011">
                  <c:v>1402-07-09</c:v>
                </c:pt>
                <c:pt idx="3012">
                  <c:v>1402-07-10</c:v>
                </c:pt>
                <c:pt idx="3013">
                  <c:v>1402-07-12</c:v>
                </c:pt>
                <c:pt idx="3014">
                  <c:v>1402-07-15</c:v>
                </c:pt>
                <c:pt idx="3015">
                  <c:v>1402-07-16</c:v>
                </c:pt>
                <c:pt idx="3016">
                  <c:v>1402-07-17</c:v>
                </c:pt>
                <c:pt idx="3017">
                  <c:v>1402-07-18</c:v>
                </c:pt>
                <c:pt idx="3018">
                  <c:v>1402-07-19</c:v>
                </c:pt>
                <c:pt idx="3019">
                  <c:v>1402-07-22</c:v>
                </c:pt>
                <c:pt idx="3020">
                  <c:v>1402-07-23</c:v>
                </c:pt>
                <c:pt idx="3021">
                  <c:v>1402-07-24</c:v>
                </c:pt>
                <c:pt idx="3022">
                  <c:v>1402-07-25</c:v>
                </c:pt>
                <c:pt idx="3023">
                  <c:v>1402-07-26</c:v>
                </c:pt>
                <c:pt idx="3024">
                  <c:v>1402-07-29</c:v>
                </c:pt>
                <c:pt idx="3025">
                  <c:v>1402-07-30</c:v>
                </c:pt>
                <c:pt idx="3026">
                  <c:v>1402-08-01</c:v>
                </c:pt>
                <c:pt idx="3027">
                  <c:v>1402-08-02</c:v>
                </c:pt>
                <c:pt idx="3028">
                  <c:v>1402-08-03</c:v>
                </c:pt>
                <c:pt idx="3029">
                  <c:v>1402-08-06</c:v>
                </c:pt>
                <c:pt idx="3030">
                  <c:v>1402-08-07</c:v>
                </c:pt>
                <c:pt idx="3031">
                  <c:v>1402-08-08</c:v>
                </c:pt>
                <c:pt idx="3032">
                  <c:v>1402-08-09</c:v>
                </c:pt>
                <c:pt idx="3033">
                  <c:v>1402-08-10</c:v>
                </c:pt>
                <c:pt idx="3034">
                  <c:v>1402-08-13</c:v>
                </c:pt>
                <c:pt idx="3035">
                  <c:v>1402-08-14</c:v>
                </c:pt>
                <c:pt idx="3036">
                  <c:v>1402-08-15</c:v>
                </c:pt>
                <c:pt idx="3037">
                  <c:v>1402-08-16</c:v>
                </c:pt>
                <c:pt idx="3038">
                  <c:v>1402-08-17</c:v>
                </c:pt>
                <c:pt idx="3039">
                  <c:v>1402-08-20</c:v>
                </c:pt>
                <c:pt idx="3040">
                  <c:v>1402-08-21</c:v>
                </c:pt>
                <c:pt idx="3041">
                  <c:v>1402-08-22</c:v>
                </c:pt>
                <c:pt idx="3042">
                  <c:v>1402-08-23</c:v>
                </c:pt>
                <c:pt idx="3043">
                  <c:v>1402-08-24</c:v>
                </c:pt>
                <c:pt idx="3044">
                  <c:v>1402-08-27</c:v>
                </c:pt>
                <c:pt idx="3045">
                  <c:v>1402-08-28</c:v>
                </c:pt>
                <c:pt idx="3046">
                  <c:v>1402-08-29</c:v>
                </c:pt>
                <c:pt idx="3047">
                  <c:v>1402-08-30</c:v>
                </c:pt>
                <c:pt idx="3048">
                  <c:v>1402-09-01</c:v>
                </c:pt>
                <c:pt idx="3049">
                  <c:v>1402-09-04</c:v>
                </c:pt>
                <c:pt idx="3050">
                  <c:v>1402-09-05</c:v>
                </c:pt>
                <c:pt idx="3051">
                  <c:v>1402-09-06</c:v>
                </c:pt>
                <c:pt idx="3052">
                  <c:v>1402-09-07</c:v>
                </c:pt>
                <c:pt idx="3053">
                  <c:v>1402-09-08</c:v>
                </c:pt>
                <c:pt idx="3054">
                  <c:v>1402-09-11</c:v>
                </c:pt>
                <c:pt idx="3055">
                  <c:v>1402-09-12</c:v>
                </c:pt>
                <c:pt idx="3056">
                  <c:v>1402-09-13</c:v>
                </c:pt>
                <c:pt idx="3057">
                  <c:v>1402-09-14</c:v>
                </c:pt>
                <c:pt idx="3058">
                  <c:v>1402-09-15</c:v>
                </c:pt>
                <c:pt idx="3059">
                  <c:v>1402-09-18</c:v>
                </c:pt>
                <c:pt idx="3060">
                  <c:v>1402-09-19</c:v>
                </c:pt>
                <c:pt idx="3061">
                  <c:v>1402-09-20</c:v>
                </c:pt>
                <c:pt idx="3062">
                  <c:v>1402-09-21</c:v>
                </c:pt>
                <c:pt idx="3063">
                  <c:v>1402-09-22</c:v>
                </c:pt>
                <c:pt idx="3064">
                  <c:v>1402-09-25</c:v>
                </c:pt>
                <c:pt idx="3065">
                  <c:v>1402-09-27</c:v>
                </c:pt>
                <c:pt idx="3066">
                  <c:v>1402-09-28</c:v>
                </c:pt>
                <c:pt idx="3067">
                  <c:v>1402-09-29</c:v>
                </c:pt>
                <c:pt idx="3068">
                  <c:v>1402-10-03</c:v>
                </c:pt>
                <c:pt idx="3069">
                  <c:v>1402-10-04</c:v>
                </c:pt>
                <c:pt idx="3070">
                  <c:v>1402-10-05</c:v>
                </c:pt>
                <c:pt idx="3071">
                  <c:v>1402-10-06</c:v>
                </c:pt>
                <c:pt idx="3072">
                  <c:v>1402-10-09</c:v>
                </c:pt>
                <c:pt idx="3073">
                  <c:v>1402-10-10</c:v>
                </c:pt>
                <c:pt idx="3074">
                  <c:v>1402-10-11</c:v>
                </c:pt>
                <c:pt idx="3075">
                  <c:v>1402-10-12</c:v>
                </c:pt>
                <c:pt idx="3076">
                  <c:v>1402-10-13</c:v>
                </c:pt>
                <c:pt idx="3077">
                  <c:v>1402-10-16</c:v>
                </c:pt>
                <c:pt idx="3078">
                  <c:v>1402-10-17</c:v>
                </c:pt>
                <c:pt idx="3079">
                  <c:v>1402-10-18</c:v>
                </c:pt>
                <c:pt idx="3080">
                  <c:v>1402-10-19</c:v>
                </c:pt>
                <c:pt idx="3081">
                  <c:v>1402-10-20</c:v>
                </c:pt>
                <c:pt idx="3082">
                  <c:v>1402-10-23</c:v>
                </c:pt>
                <c:pt idx="3083">
                  <c:v>1402-10-24</c:v>
                </c:pt>
                <c:pt idx="3084">
                  <c:v>1402-10-25</c:v>
                </c:pt>
                <c:pt idx="3085">
                  <c:v>1402-10-26</c:v>
                </c:pt>
                <c:pt idx="3086">
                  <c:v>1402-10-27</c:v>
                </c:pt>
                <c:pt idx="3087">
                  <c:v>1402-10-30</c:v>
                </c:pt>
                <c:pt idx="3088">
                  <c:v>1402-11-01</c:v>
                </c:pt>
                <c:pt idx="3089">
                  <c:v>1402-11-02</c:v>
                </c:pt>
                <c:pt idx="3090">
                  <c:v>1402-11-03</c:v>
                </c:pt>
                <c:pt idx="3091">
                  <c:v>1402-11-04</c:v>
                </c:pt>
                <c:pt idx="3092">
                  <c:v>1402-11-07</c:v>
                </c:pt>
                <c:pt idx="3093">
                  <c:v>1402-11-08</c:v>
                </c:pt>
                <c:pt idx="3094">
                  <c:v>1402-11-09</c:v>
                </c:pt>
                <c:pt idx="3095">
                  <c:v>1402-11-10</c:v>
                </c:pt>
                <c:pt idx="3096">
                  <c:v>1402-11-11</c:v>
                </c:pt>
                <c:pt idx="3097">
                  <c:v>1402-11-14</c:v>
                </c:pt>
                <c:pt idx="3098">
                  <c:v>1402-11-15</c:v>
                </c:pt>
                <c:pt idx="3099">
                  <c:v>1402-11-16</c:v>
                </c:pt>
                <c:pt idx="3100">
                  <c:v>1402-11-17</c:v>
                </c:pt>
                <c:pt idx="3101">
                  <c:v>1402-11-18</c:v>
                </c:pt>
                <c:pt idx="3102">
                  <c:v>1402-11-21</c:v>
                </c:pt>
                <c:pt idx="3103">
                  <c:v>1402-11-23</c:v>
                </c:pt>
                <c:pt idx="3104">
                  <c:v>1402-11-24</c:v>
                </c:pt>
                <c:pt idx="3105">
                  <c:v>1402-11-25</c:v>
                </c:pt>
                <c:pt idx="3106">
                  <c:v>1402-11-28</c:v>
                </c:pt>
                <c:pt idx="3107">
                  <c:v>1402-11-29</c:v>
                </c:pt>
                <c:pt idx="3108">
                  <c:v>1402-11-30</c:v>
                </c:pt>
                <c:pt idx="3109">
                  <c:v>1402-12-01</c:v>
                </c:pt>
                <c:pt idx="3110">
                  <c:v>1402-12-02</c:v>
                </c:pt>
                <c:pt idx="3111">
                  <c:v>1402-12-05</c:v>
                </c:pt>
                <c:pt idx="3112">
                  <c:v>1402-12-07</c:v>
                </c:pt>
                <c:pt idx="3113">
                  <c:v>1402-12-08</c:v>
                </c:pt>
                <c:pt idx="3114">
                  <c:v>1402-12-09</c:v>
                </c:pt>
                <c:pt idx="3115">
                  <c:v>1402-12-12</c:v>
                </c:pt>
                <c:pt idx="3116">
                  <c:v>1402-12-13</c:v>
                </c:pt>
                <c:pt idx="3117">
                  <c:v>1402-12-14</c:v>
                </c:pt>
                <c:pt idx="3118">
                  <c:v>1402-12-15</c:v>
                </c:pt>
                <c:pt idx="3119">
                  <c:v>1402-12-16</c:v>
                </c:pt>
                <c:pt idx="3120">
                  <c:v>1402-12-19</c:v>
                </c:pt>
                <c:pt idx="3121">
                  <c:v>1402-12-20</c:v>
                </c:pt>
                <c:pt idx="3122">
                  <c:v>1402-12-21</c:v>
                </c:pt>
                <c:pt idx="3123">
                  <c:v>1402-12-22</c:v>
                </c:pt>
                <c:pt idx="3124">
                  <c:v>1402-12-23</c:v>
                </c:pt>
                <c:pt idx="3125">
                  <c:v>1402-12-26</c:v>
                </c:pt>
                <c:pt idx="3126">
                  <c:v>1402-12-27</c:v>
                </c:pt>
                <c:pt idx="3127">
                  <c:v>1402-12-28</c:v>
                </c:pt>
                <c:pt idx="3128">
                  <c:v>1403-01-05</c:v>
                </c:pt>
                <c:pt idx="3129">
                  <c:v>1403-01-06</c:v>
                </c:pt>
                <c:pt idx="3130">
                  <c:v>1403-01-07</c:v>
                </c:pt>
                <c:pt idx="3131">
                  <c:v>1403-01-08</c:v>
                </c:pt>
                <c:pt idx="3132">
                  <c:v>1403-01-11</c:v>
                </c:pt>
                <c:pt idx="3133">
                  <c:v>1403-01-14</c:v>
                </c:pt>
                <c:pt idx="3134">
                  <c:v>1403-01-15</c:v>
                </c:pt>
                <c:pt idx="3135">
                  <c:v>1403-01-18</c:v>
                </c:pt>
                <c:pt idx="3136">
                  <c:v>1403-01-19</c:v>
                </c:pt>
                <c:pt idx="3137">
                  <c:v>1403-01-20</c:v>
                </c:pt>
                <c:pt idx="3138">
                  <c:v>1403-01-21</c:v>
                </c:pt>
                <c:pt idx="3139">
                  <c:v>1403-01-25</c:v>
                </c:pt>
                <c:pt idx="3140">
                  <c:v>1403-01-26</c:v>
                </c:pt>
                <c:pt idx="3141">
                  <c:v>1403-01-27</c:v>
                </c:pt>
                <c:pt idx="3142">
                  <c:v>1403-01-28</c:v>
                </c:pt>
                <c:pt idx="3143">
                  <c:v>1403-01-29</c:v>
                </c:pt>
                <c:pt idx="3144">
                  <c:v>1403-02-01</c:v>
                </c:pt>
                <c:pt idx="3145">
                  <c:v>1403-02-02</c:v>
                </c:pt>
                <c:pt idx="3146">
                  <c:v>1403-02-03</c:v>
                </c:pt>
                <c:pt idx="3147">
                  <c:v>1403-02-04</c:v>
                </c:pt>
                <c:pt idx="3148">
                  <c:v>1403-02-05</c:v>
                </c:pt>
                <c:pt idx="3149">
                  <c:v>1403-02-08</c:v>
                </c:pt>
                <c:pt idx="3150">
                  <c:v>1403-02-09</c:v>
                </c:pt>
                <c:pt idx="3151">
                  <c:v>1403-02-10</c:v>
                </c:pt>
                <c:pt idx="3152">
                  <c:v>1403-02-11</c:v>
                </c:pt>
                <c:pt idx="3153">
                  <c:v>1403-02-12</c:v>
                </c:pt>
                <c:pt idx="3154">
                  <c:v>1403-02-16</c:v>
                </c:pt>
                <c:pt idx="3155">
                  <c:v>1403-02-17</c:v>
                </c:pt>
                <c:pt idx="3156">
                  <c:v>1403-02-18</c:v>
                </c:pt>
                <c:pt idx="3157">
                  <c:v>1403-02-19</c:v>
                </c:pt>
                <c:pt idx="3158">
                  <c:v>1403-02-22</c:v>
                </c:pt>
                <c:pt idx="3159">
                  <c:v>1403-02-23</c:v>
                </c:pt>
                <c:pt idx="3160">
                  <c:v>1403-02-24</c:v>
                </c:pt>
                <c:pt idx="3161">
                  <c:v>1403-02-25</c:v>
                </c:pt>
                <c:pt idx="3162">
                  <c:v>1403-02-26</c:v>
                </c:pt>
                <c:pt idx="3163">
                  <c:v>1403-02-29</c:v>
                </c:pt>
                <c:pt idx="3164">
                  <c:v>1403-02-30</c:v>
                </c:pt>
                <c:pt idx="3165">
                  <c:v>1403-03-01</c:v>
                </c:pt>
                <c:pt idx="3166">
                  <c:v>1403-03-05</c:v>
                </c:pt>
                <c:pt idx="3167">
                  <c:v>1403-03-06</c:v>
                </c:pt>
                <c:pt idx="3168">
                  <c:v>1403-03-07</c:v>
                </c:pt>
                <c:pt idx="3169">
                  <c:v>1403-03-08</c:v>
                </c:pt>
                <c:pt idx="3170">
                  <c:v>1403-03-09</c:v>
                </c:pt>
                <c:pt idx="3171">
                  <c:v>1403-03-12</c:v>
                </c:pt>
                <c:pt idx="3172">
                  <c:v>1403-03-13</c:v>
                </c:pt>
                <c:pt idx="3173">
                  <c:v>1403-03-16</c:v>
                </c:pt>
                <c:pt idx="3174">
                  <c:v>1403-03-19</c:v>
                </c:pt>
                <c:pt idx="3175">
                  <c:v>1403-03-20</c:v>
                </c:pt>
                <c:pt idx="3176">
                  <c:v>1403-03-21</c:v>
                </c:pt>
                <c:pt idx="3177">
                  <c:v>1403-03-22</c:v>
                </c:pt>
                <c:pt idx="3178">
                  <c:v>1403-03-23</c:v>
                </c:pt>
                <c:pt idx="3179">
                  <c:v>1403-03-26</c:v>
                </c:pt>
                <c:pt idx="3180">
                  <c:v>1403-03-27</c:v>
                </c:pt>
                <c:pt idx="3181">
                  <c:v>1403-03-29</c:v>
                </c:pt>
                <c:pt idx="3182">
                  <c:v>1403-03-30</c:v>
                </c:pt>
                <c:pt idx="3183">
                  <c:v>1403-04-02</c:v>
                </c:pt>
                <c:pt idx="3184">
                  <c:v>1403-04-03</c:v>
                </c:pt>
                <c:pt idx="3185">
                  <c:v>1403-04-04</c:v>
                </c:pt>
                <c:pt idx="3186">
                  <c:v>1403-04-06</c:v>
                </c:pt>
                <c:pt idx="3187">
                  <c:v>1403-04-09</c:v>
                </c:pt>
                <c:pt idx="3188">
                  <c:v>1403-04-10</c:v>
                </c:pt>
                <c:pt idx="3189">
                  <c:v>1403-04-11</c:v>
                </c:pt>
                <c:pt idx="3190">
                  <c:v>1403-04-09</c:v>
                </c:pt>
                <c:pt idx="3191">
                  <c:v>1403-04-10</c:v>
                </c:pt>
                <c:pt idx="3192">
                  <c:v>1403-04-11</c:v>
                </c:pt>
                <c:pt idx="3193">
                  <c:v>1403-04-12</c:v>
                </c:pt>
                <c:pt idx="3194">
                  <c:v>1403-04-13</c:v>
                </c:pt>
                <c:pt idx="3195">
                  <c:v>1403-04-16</c:v>
                </c:pt>
                <c:pt idx="3196">
                  <c:v>1403-04-17</c:v>
                </c:pt>
                <c:pt idx="3197">
                  <c:v>1403-04-18</c:v>
                </c:pt>
                <c:pt idx="3198">
                  <c:v>1403-04-19</c:v>
                </c:pt>
                <c:pt idx="3199">
                  <c:v>1403-04-20</c:v>
                </c:pt>
                <c:pt idx="3200">
                  <c:v>1403-04-23</c:v>
                </c:pt>
                <c:pt idx="3201">
                  <c:v>1403-04-24</c:v>
                </c:pt>
                <c:pt idx="3202">
                  <c:v>1403-04-27</c:v>
                </c:pt>
                <c:pt idx="3203">
                  <c:v>1403-04-30</c:v>
                </c:pt>
                <c:pt idx="3204">
                  <c:v>1403-04-31</c:v>
                </c:pt>
                <c:pt idx="3205">
                  <c:v>1403-05-01</c:v>
                </c:pt>
                <c:pt idx="3206">
                  <c:v>1403-05-02</c:v>
                </c:pt>
                <c:pt idx="3207">
                  <c:v>1403-05-03</c:v>
                </c:pt>
                <c:pt idx="3208">
                  <c:v>1403-05-06</c:v>
                </c:pt>
                <c:pt idx="3209">
                  <c:v>1403-05-08</c:v>
                </c:pt>
                <c:pt idx="3210">
                  <c:v>1403-05-09</c:v>
                </c:pt>
                <c:pt idx="3211">
                  <c:v>1403-05-10</c:v>
                </c:pt>
                <c:pt idx="3212">
                  <c:v>1403-05-13</c:v>
                </c:pt>
                <c:pt idx="3213">
                  <c:v>1403-05-14</c:v>
                </c:pt>
                <c:pt idx="3214">
                  <c:v>1403-05-15</c:v>
                </c:pt>
                <c:pt idx="3215">
                  <c:v>1403-05-16</c:v>
                </c:pt>
                <c:pt idx="3216">
                  <c:v>1403-05-20</c:v>
                </c:pt>
                <c:pt idx="3217">
                  <c:v>1403-05-21</c:v>
                </c:pt>
                <c:pt idx="3218">
                  <c:v>1403-05-22</c:v>
                </c:pt>
                <c:pt idx="3219">
                  <c:v>1403-05-23</c:v>
                </c:pt>
                <c:pt idx="3220">
                  <c:v>1403-05-24</c:v>
                </c:pt>
                <c:pt idx="3221">
                  <c:v>1403-05-27</c:v>
                </c:pt>
                <c:pt idx="3222">
                  <c:v>1403-05-28</c:v>
                </c:pt>
                <c:pt idx="3223">
                  <c:v>1403-05-29</c:v>
                </c:pt>
                <c:pt idx="3224">
                  <c:v>1403-05-30</c:v>
                </c:pt>
                <c:pt idx="3225">
                  <c:v>1403-05-31</c:v>
                </c:pt>
                <c:pt idx="3226">
                  <c:v>1403-06-03</c:v>
                </c:pt>
                <c:pt idx="3227">
                  <c:v>1403-06-05</c:v>
                </c:pt>
                <c:pt idx="3228">
                  <c:v>1403-06-06</c:v>
                </c:pt>
                <c:pt idx="3229">
                  <c:v>1403-06-07</c:v>
                </c:pt>
                <c:pt idx="3230">
                  <c:v>1403-06-10</c:v>
                </c:pt>
                <c:pt idx="3231">
                  <c:v>1403-06-11</c:v>
                </c:pt>
                <c:pt idx="3232">
                  <c:v>1403-06-13</c:v>
                </c:pt>
                <c:pt idx="3233">
                  <c:v>1403-06-17</c:v>
                </c:pt>
                <c:pt idx="3234">
                  <c:v>1403-06-18</c:v>
                </c:pt>
                <c:pt idx="3235">
                  <c:v>1403-06-19</c:v>
                </c:pt>
                <c:pt idx="3236">
                  <c:v>1403-06-20</c:v>
                </c:pt>
                <c:pt idx="3237">
                  <c:v>1403-06-21</c:v>
                </c:pt>
                <c:pt idx="3238">
                  <c:v>1403-06-24</c:v>
                </c:pt>
                <c:pt idx="3239">
                  <c:v>1403-06-25</c:v>
                </c:pt>
                <c:pt idx="3240">
                  <c:v>1403-06-26</c:v>
                </c:pt>
                <c:pt idx="3241">
                  <c:v>1403-06-28</c:v>
                </c:pt>
                <c:pt idx="3242">
                  <c:v>1403-07-01</c:v>
                </c:pt>
                <c:pt idx="3243">
                  <c:v>1403-07-02</c:v>
                </c:pt>
                <c:pt idx="3244">
                  <c:v>1403-07-03</c:v>
                </c:pt>
                <c:pt idx="3245">
                  <c:v>1403-07-04</c:v>
                </c:pt>
                <c:pt idx="3246">
                  <c:v>1403-07-07</c:v>
                </c:pt>
                <c:pt idx="3247">
                  <c:v>1403-07-08</c:v>
                </c:pt>
                <c:pt idx="3248">
                  <c:v>1403-07-09</c:v>
                </c:pt>
                <c:pt idx="3249">
                  <c:v>1403-07-10</c:v>
                </c:pt>
                <c:pt idx="3250">
                  <c:v>1403-07-11</c:v>
                </c:pt>
                <c:pt idx="3251">
                  <c:v>1403-07-14</c:v>
                </c:pt>
                <c:pt idx="3252">
                  <c:v>1403-07-15</c:v>
                </c:pt>
                <c:pt idx="3253">
                  <c:v>1403-07-16</c:v>
                </c:pt>
                <c:pt idx="3254">
                  <c:v>1403-07-17</c:v>
                </c:pt>
                <c:pt idx="3255">
                  <c:v>1403-07-18</c:v>
                </c:pt>
                <c:pt idx="3256">
                  <c:v>1403-07-18</c:v>
                </c:pt>
                <c:pt idx="3257">
                  <c:v>1403-07-21</c:v>
                </c:pt>
                <c:pt idx="3258">
                  <c:v>1403-07-22</c:v>
                </c:pt>
                <c:pt idx="3259">
                  <c:v>1403-07-23</c:v>
                </c:pt>
                <c:pt idx="3260">
                  <c:v>1403-07-24</c:v>
                </c:pt>
                <c:pt idx="3261">
                  <c:v>1403-07-25</c:v>
                </c:pt>
                <c:pt idx="3262">
                  <c:v>1403-07-28</c:v>
                </c:pt>
                <c:pt idx="3263">
                  <c:v>1403-07-29</c:v>
                </c:pt>
                <c:pt idx="3264">
                  <c:v>1403-07-30</c:v>
                </c:pt>
                <c:pt idx="3265">
                  <c:v>1403-08-01</c:v>
                </c:pt>
                <c:pt idx="3266">
                  <c:v>1403-08-02</c:v>
                </c:pt>
                <c:pt idx="3267">
                  <c:v>1403-08-05</c:v>
                </c:pt>
                <c:pt idx="3268">
                  <c:v>1403-08-06</c:v>
                </c:pt>
                <c:pt idx="3269">
                  <c:v>1403-08-07</c:v>
                </c:pt>
                <c:pt idx="3270">
                  <c:v>1403-08-08</c:v>
                </c:pt>
                <c:pt idx="3271">
                  <c:v>1403-08-09</c:v>
                </c:pt>
                <c:pt idx="3272">
                  <c:v>1403-08-12</c:v>
                </c:pt>
                <c:pt idx="3273">
                  <c:v>1403-08-13</c:v>
                </c:pt>
                <c:pt idx="3274">
                  <c:v>1403-08-14</c:v>
                </c:pt>
                <c:pt idx="3275">
                  <c:v>1403-08-15</c:v>
                </c:pt>
                <c:pt idx="3276">
                  <c:v>1403-08-16</c:v>
                </c:pt>
                <c:pt idx="3277">
                  <c:v>1403-08-19</c:v>
                </c:pt>
                <c:pt idx="3278">
                  <c:v>1403-08-20</c:v>
                </c:pt>
                <c:pt idx="3279">
                  <c:v>1403-08-21</c:v>
                </c:pt>
                <c:pt idx="3280">
                  <c:v>1403-08-22</c:v>
                </c:pt>
                <c:pt idx="3281">
                  <c:v>1403-08-23</c:v>
                </c:pt>
                <c:pt idx="3282">
                  <c:v>1403-08-26</c:v>
                </c:pt>
                <c:pt idx="3283">
                  <c:v>1403-08-27</c:v>
                </c:pt>
                <c:pt idx="3284">
                  <c:v>1403-08-28</c:v>
                </c:pt>
                <c:pt idx="3285">
                  <c:v>1403-08-29</c:v>
                </c:pt>
                <c:pt idx="3286">
                  <c:v>1403-08-30</c:v>
                </c:pt>
                <c:pt idx="3287">
                  <c:v>1403-08-30</c:v>
                </c:pt>
                <c:pt idx="3288">
                  <c:v>1403-09-03</c:v>
                </c:pt>
                <c:pt idx="3289">
                  <c:v>1403-09-04</c:v>
                </c:pt>
                <c:pt idx="3290">
                  <c:v>1403-09-05</c:v>
                </c:pt>
                <c:pt idx="3291">
                  <c:v>1403-09-06</c:v>
                </c:pt>
                <c:pt idx="3292">
                  <c:v>1403-09-07</c:v>
                </c:pt>
                <c:pt idx="3293">
                  <c:v>1403-09-10</c:v>
                </c:pt>
                <c:pt idx="3294">
                  <c:v>1403-09-11</c:v>
                </c:pt>
                <c:pt idx="3295">
                  <c:v>1403-09-12</c:v>
                </c:pt>
                <c:pt idx="3296">
                  <c:v>1403-09-13</c:v>
                </c:pt>
                <c:pt idx="3297">
                  <c:v>1403-09-14</c:v>
                </c:pt>
                <c:pt idx="3298">
                  <c:v>1403-09-17</c:v>
                </c:pt>
                <c:pt idx="3299">
                  <c:v>1403-09-18</c:v>
                </c:pt>
                <c:pt idx="3300">
                  <c:v>1403-09-19</c:v>
                </c:pt>
                <c:pt idx="3301">
                  <c:v>1403-09-20</c:v>
                </c:pt>
                <c:pt idx="3302">
                  <c:v>1403-09-21</c:v>
                </c:pt>
                <c:pt idx="3303">
                  <c:v>1403-09-24</c:v>
                </c:pt>
                <c:pt idx="3304">
                  <c:v>1403-09-25</c:v>
                </c:pt>
                <c:pt idx="3305">
                  <c:v>1403-09-26</c:v>
                </c:pt>
                <c:pt idx="3306">
                  <c:v>1403-09-27</c:v>
                </c:pt>
                <c:pt idx="3307">
                  <c:v>1403-09-28</c:v>
                </c:pt>
                <c:pt idx="3308">
                  <c:v>1403-10-01</c:v>
                </c:pt>
                <c:pt idx="3309">
                  <c:v>1403-10-02</c:v>
                </c:pt>
                <c:pt idx="3310">
                  <c:v>1403-10-02</c:v>
                </c:pt>
                <c:pt idx="3311">
                  <c:v>1403-10-03</c:v>
                </c:pt>
                <c:pt idx="3312">
                  <c:v>1403-10-04</c:v>
                </c:pt>
                <c:pt idx="3313">
                  <c:v>1403-10-05</c:v>
                </c:pt>
                <c:pt idx="3314">
                  <c:v> 1403-10-08 </c:v>
                </c:pt>
                <c:pt idx="3315">
                  <c:v> 1403-10-09 </c:v>
                </c:pt>
                <c:pt idx="3316">
                  <c:v> 1403-10-10 </c:v>
                </c:pt>
                <c:pt idx="3317">
                  <c:v> 1403-10-11 </c:v>
                </c:pt>
                <c:pt idx="3318">
                  <c:v> 1403-10-12 </c:v>
                </c:pt>
                <c:pt idx="3319">
                  <c:v>1403-10-15</c:v>
                </c:pt>
                <c:pt idx="3320">
                  <c:v>1403-10-16</c:v>
                </c:pt>
                <c:pt idx="3321">
                  <c:v>1403-10-17</c:v>
                </c:pt>
                <c:pt idx="3322">
                  <c:v>1403-10-18</c:v>
                </c:pt>
                <c:pt idx="3323">
                  <c:v>1403-10-19</c:v>
                </c:pt>
                <c:pt idx="3324">
                  <c:v>1403-10-22</c:v>
                </c:pt>
                <c:pt idx="3325">
                  <c:v>1403-10-23</c:v>
                </c:pt>
                <c:pt idx="3326">
                  <c:v>1403-10-24</c:v>
                </c:pt>
                <c:pt idx="3327">
                  <c:v>1403-10-26</c:v>
                </c:pt>
                <c:pt idx="3328">
                  <c:v>1403-10-29</c:v>
                </c:pt>
                <c:pt idx="3329">
                  <c:v>1403-10-30</c:v>
                </c:pt>
                <c:pt idx="3330">
                  <c:v>1403-11-01</c:v>
                </c:pt>
                <c:pt idx="3331">
                  <c:v>1403-11-02</c:v>
                </c:pt>
                <c:pt idx="3332">
                  <c:v>1403-11-03</c:v>
                </c:pt>
                <c:pt idx="3333">
                  <c:v>1403-11-06</c:v>
                </c:pt>
                <c:pt idx="3334">
                  <c:v>1403-11-07</c:v>
                </c:pt>
                <c:pt idx="3335">
                  <c:v>1403-11-08</c:v>
                </c:pt>
                <c:pt idx="3336">
                  <c:v>1403-11-10</c:v>
                </c:pt>
                <c:pt idx="3337">
                  <c:v>1403-11-13</c:v>
                </c:pt>
                <c:pt idx="3338">
                  <c:v>1403-11-14</c:v>
                </c:pt>
                <c:pt idx="3339">
                  <c:v>1403-11-15</c:v>
                </c:pt>
                <c:pt idx="3340">
                  <c:v>1403-11-16</c:v>
                </c:pt>
                <c:pt idx="3341">
                  <c:v>1403-11-17</c:v>
                </c:pt>
                <c:pt idx="3342">
                  <c:v>1403-11-21</c:v>
                </c:pt>
                <c:pt idx="3343">
                  <c:v>1403-11-23</c:v>
                </c:pt>
                <c:pt idx="3344">
                  <c:v>1403-11-27</c:v>
                </c:pt>
                <c:pt idx="3345">
                  <c:v>1403-11-28</c:v>
                </c:pt>
                <c:pt idx="3346">
                  <c:v>1403-11-29</c:v>
                </c:pt>
                <c:pt idx="3347">
                  <c:v>1403-11-30</c:v>
                </c:pt>
                <c:pt idx="3348">
                  <c:v>2025-02-19</c:v>
                </c:pt>
                <c:pt idx="3349">
                  <c:v>2025-02-22</c:v>
                </c:pt>
                <c:pt idx="3350">
                  <c:v>2025-02-23</c:v>
                </c:pt>
                <c:pt idx="3351">
                  <c:v>2025-02-24</c:v>
                </c:pt>
                <c:pt idx="3352">
                  <c:v>2025-02-25</c:v>
                </c:pt>
                <c:pt idx="3353">
                  <c:v>2025-02-26</c:v>
                </c:pt>
                <c:pt idx="3354">
                  <c:v> 1403-12-08 </c:v>
                </c:pt>
                <c:pt idx="3355">
                  <c:v> 1403-12-11 </c:v>
                </c:pt>
                <c:pt idx="3356">
                  <c:v> 1403-12-12 </c:v>
                </c:pt>
                <c:pt idx="3357">
                  <c:v> 1403-12-13 </c:v>
                </c:pt>
                <c:pt idx="3358">
                  <c:v> 1403-12-14 </c:v>
                </c:pt>
                <c:pt idx="3359">
                  <c:v> 1403-12-15 </c:v>
                </c:pt>
                <c:pt idx="3360">
                  <c:v>1403-12-18</c:v>
                </c:pt>
                <c:pt idx="3361">
                  <c:v>1403-12-19</c:v>
                </c:pt>
                <c:pt idx="3362">
                  <c:v>1403-12-20</c:v>
                </c:pt>
                <c:pt idx="3363">
                  <c:v>1403-12-21</c:v>
                </c:pt>
                <c:pt idx="3364">
                  <c:v>1403-12-18</c:v>
                </c:pt>
                <c:pt idx="3365">
                  <c:v>1403-12-19</c:v>
                </c:pt>
                <c:pt idx="3366">
                  <c:v>1403-12-20</c:v>
                </c:pt>
                <c:pt idx="3367">
                  <c:v>1403-12-21</c:v>
                </c:pt>
                <c:pt idx="3368">
                  <c:v>1403-12-22</c:v>
                </c:pt>
              </c:strCache>
              <c:extLst/>
            </c:strRef>
          </c:cat>
          <c:val>
            <c:numRef>
              <c:f>'  بورس ایران-ارزش بازار (دلار آ'!$C$3:$C$3396</c:f>
              <c:numCache>
                <c:formatCode>_(* #,##0_);_(* \(#,##0\);_(* "-"??_);_(@_)</c:formatCode>
                <c:ptCount val="3394"/>
                <c:pt idx="0">
                  <c:v>134.50108111570054</c:v>
                </c:pt>
                <c:pt idx="1">
                  <c:v>134.50108111570054</c:v>
                </c:pt>
                <c:pt idx="2">
                  <c:v>134.50108111570054</c:v>
                </c:pt>
                <c:pt idx="3">
                  <c:v>134.50108111570054</c:v>
                </c:pt>
                <c:pt idx="4">
                  <c:v>134.50108111570054</c:v>
                </c:pt>
                <c:pt idx="5">
                  <c:v>134.50108111570054</c:v>
                </c:pt>
                <c:pt idx="6">
                  <c:v>134.50108111570054</c:v>
                </c:pt>
                <c:pt idx="7">
                  <c:v>134.50108111570054</c:v>
                </c:pt>
                <c:pt idx="8">
                  <c:v>134.50108111570054</c:v>
                </c:pt>
                <c:pt idx="9">
                  <c:v>134.50108111570054</c:v>
                </c:pt>
                <c:pt idx="10">
                  <c:v>134.50108111570054</c:v>
                </c:pt>
                <c:pt idx="11">
                  <c:v>134.50108111570054</c:v>
                </c:pt>
                <c:pt idx="12">
                  <c:v>134.50108111570054</c:v>
                </c:pt>
                <c:pt idx="13">
                  <c:v>134.50108111570054</c:v>
                </c:pt>
                <c:pt idx="14">
                  <c:v>134.50108111570054</c:v>
                </c:pt>
                <c:pt idx="15">
                  <c:v>134.50108111570054</c:v>
                </c:pt>
                <c:pt idx="16">
                  <c:v>134.50108111570054</c:v>
                </c:pt>
                <c:pt idx="17">
                  <c:v>134.50108111570054</c:v>
                </c:pt>
                <c:pt idx="18">
                  <c:v>134.50108111570054</c:v>
                </c:pt>
                <c:pt idx="19">
                  <c:v>134.50108111570054</c:v>
                </c:pt>
                <c:pt idx="20">
                  <c:v>134.50108111570054</c:v>
                </c:pt>
                <c:pt idx="21">
                  <c:v>134.50108111570054</c:v>
                </c:pt>
                <c:pt idx="22">
                  <c:v>134.50108111570054</c:v>
                </c:pt>
                <c:pt idx="23">
                  <c:v>134.50108111570054</c:v>
                </c:pt>
                <c:pt idx="24">
                  <c:v>134.50108111570054</c:v>
                </c:pt>
                <c:pt idx="25">
                  <c:v>134.50108111570054</c:v>
                </c:pt>
                <c:pt idx="26">
                  <c:v>134.50108111570054</c:v>
                </c:pt>
                <c:pt idx="27">
                  <c:v>134.50108111570054</c:v>
                </c:pt>
                <c:pt idx="28">
                  <c:v>134.50108111570054</c:v>
                </c:pt>
                <c:pt idx="29">
                  <c:v>134.50108111570054</c:v>
                </c:pt>
                <c:pt idx="30">
                  <c:v>134.50108111570054</c:v>
                </c:pt>
                <c:pt idx="31">
                  <c:v>134.50108111570054</c:v>
                </c:pt>
                <c:pt idx="32">
                  <c:v>134.50108111570054</c:v>
                </c:pt>
                <c:pt idx="33">
                  <c:v>134.50108111570054</c:v>
                </c:pt>
                <c:pt idx="34">
                  <c:v>134.50108111570054</c:v>
                </c:pt>
                <c:pt idx="35">
                  <c:v>134.50108111570054</c:v>
                </c:pt>
                <c:pt idx="36">
                  <c:v>134.50108111570054</c:v>
                </c:pt>
                <c:pt idx="37">
                  <c:v>134.50108111570054</c:v>
                </c:pt>
                <c:pt idx="38">
                  <c:v>134.50108111570054</c:v>
                </c:pt>
                <c:pt idx="39">
                  <c:v>134.50108111570054</c:v>
                </c:pt>
                <c:pt idx="40">
                  <c:v>134.50108111570054</c:v>
                </c:pt>
                <c:pt idx="41">
                  <c:v>134.50108111570054</c:v>
                </c:pt>
                <c:pt idx="42">
                  <c:v>134.50108111570054</c:v>
                </c:pt>
                <c:pt idx="43">
                  <c:v>134.50108111570054</c:v>
                </c:pt>
                <c:pt idx="44">
                  <c:v>134.50108111570054</c:v>
                </c:pt>
                <c:pt idx="45">
                  <c:v>134.50108111570054</c:v>
                </c:pt>
                <c:pt idx="46">
                  <c:v>134.50108111570054</c:v>
                </c:pt>
                <c:pt idx="47">
                  <c:v>134.50108111570054</c:v>
                </c:pt>
                <c:pt idx="48">
                  <c:v>134.50108111570054</c:v>
                </c:pt>
                <c:pt idx="49">
                  <c:v>134.50108111570054</c:v>
                </c:pt>
                <c:pt idx="50">
                  <c:v>134.50108111570054</c:v>
                </c:pt>
                <c:pt idx="51">
                  <c:v>134.50108111570054</c:v>
                </c:pt>
                <c:pt idx="52">
                  <c:v>134.50108111570054</c:v>
                </c:pt>
                <c:pt idx="53">
                  <c:v>134.50108111570054</c:v>
                </c:pt>
                <c:pt idx="54">
                  <c:v>134.50108111570054</c:v>
                </c:pt>
                <c:pt idx="55">
                  <c:v>134.50108111570054</c:v>
                </c:pt>
                <c:pt idx="56">
                  <c:v>134.50108111570054</c:v>
                </c:pt>
                <c:pt idx="57">
                  <c:v>134.50108111570054</c:v>
                </c:pt>
                <c:pt idx="58">
                  <c:v>134.50108111570054</c:v>
                </c:pt>
                <c:pt idx="59">
                  <c:v>134.50108111570054</c:v>
                </c:pt>
                <c:pt idx="60">
                  <c:v>134.50108111570054</c:v>
                </c:pt>
                <c:pt idx="61">
                  <c:v>134.50108111570054</c:v>
                </c:pt>
                <c:pt idx="62">
                  <c:v>134.50108111570054</c:v>
                </c:pt>
                <c:pt idx="63">
                  <c:v>134.50108111570054</c:v>
                </c:pt>
                <c:pt idx="64">
                  <c:v>134.50108111570054</c:v>
                </c:pt>
                <c:pt idx="65">
                  <c:v>134.50108111570054</c:v>
                </c:pt>
                <c:pt idx="66">
                  <c:v>134.50108111570054</c:v>
                </c:pt>
                <c:pt idx="67">
                  <c:v>134.50108111570054</c:v>
                </c:pt>
                <c:pt idx="68">
                  <c:v>134.50108111570054</c:v>
                </c:pt>
                <c:pt idx="69">
                  <c:v>134.50108111570054</c:v>
                </c:pt>
                <c:pt idx="70">
                  <c:v>134.50108111570054</c:v>
                </c:pt>
                <c:pt idx="71">
                  <c:v>134.50108111570054</c:v>
                </c:pt>
                <c:pt idx="72">
                  <c:v>134.50108111570054</c:v>
                </c:pt>
                <c:pt idx="73">
                  <c:v>134.50108111570054</c:v>
                </c:pt>
                <c:pt idx="74">
                  <c:v>134.50108111570054</c:v>
                </c:pt>
                <c:pt idx="75">
                  <c:v>134.50108111570054</c:v>
                </c:pt>
                <c:pt idx="76">
                  <c:v>134.50108111570054</c:v>
                </c:pt>
                <c:pt idx="77">
                  <c:v>134.50108111570054</c:v>
                </c:pt>
                <c:pt idx="78">
                  <c:v>134.50108111570054</c:v>
                </c:pt>
                <c:pt idx="79">
                  <c:v>134.50108111570054</c:v>
                </c:pt>
                <c:pt idx="80">
                  <c:v>134.50108111570054</c:v>
                </c:pt>
                <c:pt idx="81">
                  <c:v>134.50108111570054</c:v>
                </c:pt>
                <c:pt idx="82">
                  <c:v>134.50108111570054</c:v>
                </c:pt>
                <c:pt idx="83">
                  <c:v>134.50108111570054</c:v>
                </c:pt>
                <c:pt idx="84">
                  <c:v>134.50108111570054</c:v>
                </c:pt>
                <c:pt idx="85">
                  <c:v>134.50108111570054</c:v>
                </c:pt>
                <c:pt idx="86">
                  <c:v>134.50108111570054</c:v>
                </c:pt>
                <c:pt idx="87">
                  <c:v>134.50108111570054</c:v>
                </c:pt>
                <c:pt idx="88">
                  <c:v>134.50108111570054</c:v>
                </c:pt>
                <c:pt idx="89">
                  <c:v>134.50108111570054</c:v>
                </c:pt>
                <c:pt idx="90">
                  <c:v>134.50108111570054</c:v>
                </c:pt>
                <c:pt idx="91">
                  <c:v>134.50108111570054</c:v>
                </c:pt>
                <c:pt idx="92">
                  <c:v>134.50108111570054</c:v>
                </c:pt>
                <c:pt idx="93">
                  <c:v>134.50108111570054</c:v>
                </c:pt>
                <c:pt idx="94">
                  <c:v>134.50108111570054</c:v>
                </c:pt>
                <c:pt idx="95">
                  <c:v>134.50108111570054</c:v>
                </c:pt>
                <c:pt idx="96">
                  <c:v>134.50108111570054</c:v>
                </c:pt>
                <c:pt idx="97">
                  <c:v>134.50108111570054</c:v>
                </c:pt>
                <c:pt idx="98">
                  <c:v>134.50108111570054</c:v>
                </c:pt>
                <c:pt idx="99">
                  <c:v>134.50108111570054</c:v>
                </c:pt>
                <c:pt idx="100">
                  <c:v>134.50108111570054</c:v>
                </c:pt>
                <c:pt idx="101">
                  <c:v>134.50108111570054</c:v>
                </c:pt>
                <c:pt idx="102">
                  <c:v>134.50108111570054</c:v>
                </c:pt>
                <c:pt idx="103">
                  <c:v>134.50108111570054</c:v>
                </c:pt>
                <c:pt idx="104">
                  <c:v>134.50108111570054</c:v>
                </c:pt>
                <c:pt idx="105">
                  <c:v>134.50108111570054</c:v>
                </c:pt>
                <c:pt idx="106">
                  <c:v>134.50108111570054</c:v>
                </c:pt>
                <c:pt idx="107">
                  <c:v>134.50108111570054</c:v>
                </c:pt>
                <c:pt idx="108">
                  <c:v>134.50108111570054</c:v>
                </c:pt>
                <c:pt idx="109">
                  <c:v>134.50108111570054</c:v>
                </c:pt>
                <c:pt idx="110">
                  <c:v>134.50108111570054</c:v>
                </c:pt>
                <c:pt idx="111">
                  <c:v>134.50108111570054</c:v>
                </c:pt>
                <c:pt idx="112">
                  <c:v>134.50108111570054</c:v>
                </c:pt>
                <c:pt idx="113">
                  <c:v>134.50108111570054</c:v>
                </c:pt>
                <c:pt idx="114">
                  <c:v>134.50108111570054</c:v>
                </c:pt>
                <c:pt idx="115">
                  <c:v>134.50108111570054</c:v>
                </c:pt>
                <c:pt idx="116">
                  <c:v>134.50108111570054</c:v>
                </c:pt>
                <c:pt idx="117">
                  <c:v>134.50108111570054</c:v>
                </c:pt>
                <c:pt idx="118">
                  <c:v>134.50108111570054</c:v>
                </c:pt>
                <c:pt idx="119">
                  <c:v>134.50108111570054</c:v>
                </c:pt>
                <c:pt idx="120">
                  <c:v>134.50108111570054</c:v>
                </c:pt>
                <c:pt idx="121">
                  <c:v>134.50108111570054</c:v>
                </c:pt>
                <c:pt idx="122">
                  <c:v>134.50108111570054</c:v>
                </c:pt>
                <c:pt idx="123">
                  <c:v>134.50108111570054</c:v>
                </c:pt>
                <c:pt idx="124">
                  <c:v>134.50108111570054</c:v>
                </c:pt>
                <c:pt idx="125">
                  <c:v>134.50108111570054</c:v>
                </c:pt>
                <c:pt idx="126">
                  <c:v>134.50108111570054</c:v>
                </c:pt>
                <c:pt idx="127">
                  <c:v>134.50108111570054</c:v>
                </c:pt>
                <c:pt idx="128">
                  <c:v>134.50108111570054</c:v>
                </c:pt>
                <c:pt idx="129">
                  <c:v>134.50108111570054</c:v>
                </c:pt>
                <c:pt idx="130">
                  <c:v>134.50108111570054</c:v>
                </c:pt>
                <c:pt idx="131">
                  <c:v>134.50108111570054</c:v>
                </c:pt>
                <c:pt idx="132">
                  <c:v>134.50108111570054</c:v>
                </c:pt>
                <c:pt idx="133">
                  <c:v>134.50108111570054</c:v>
                </c:pt>
                <c:pt idx="134">
                  <c:v>134.50108111570054</c:v>
                </c:pt>
                <c:pt idx="135">
                  <c:v>134.50108111570054</c:v>
                </c:pt>
                <c:pt idx="136">
                  <c:v>134.50108111570054</c:v>
                </c:pt>
                <c:pt idx="137">
                  <c:v>134.50108111570054</c:v>
                </c:pt>
                <c:pt idx="138">
                  <c:v>134.50108111570054</c:v>
                </c:pt>
                <c:pt idx="139">
                  <c:v>134.50108111570054</c:v>
                </c:pt>
                <c:pt idx="140">
                  <c:v>134.50108111570054</c:v>
                </c:pt>
                <c:pt idx="141">
                  <c:v>134.50108111570054</c:v>
                </c:pt>
                <c:pt idx="142">
                  <c:v>134.50108111570054</c:v>
                </c:pt>
                <c:pt idx="143">
                  <c:v>134.50108111570054</c:v>
                </c:pt>
                <c:pt idx="144">
                  <c:v>134.50108111570054</c:v>
                </c:pt>
                <c:pt idx="145">
                  <c:v>134.50108111570054</c:v>
                </c:pt>
                <c:pt idx="146">
                  <c:v>134.50108111570054</c:v>
                </c:pt>
                <c:pt idx="147">
                  <c:v>134.50108111570054</c:v>
                </c:pt>
                <c:pt idx="148">
                  <c:v>134.50108111570054</c:v>
                </c:pt>
                <c:pt idx="149">
                  <c:v>134.50108111570054</c:v>
                </c:pt>
                <c:pt idx="150">
                  <c:v>134.50108111570054</c:v>
                </c:pt>
                <c:pt idx="151">
                  <c:v>134.50108111570054</c:v>
                </c:pt>
                <c:pt idx="152">
                  <c:v>134.50108111570054</c:v>
                </c:pt>
                <c:pt idx="153">
                  <c:v>134.50108111570054</c:v>
                </c:pt>
                <c:pt idx="154">
                  <c:v>134.50108111570054</c:v>
                </c:pt>
                <c:pt idx="155">
                  <c:v>134.50108111570054</c:v>
                </c:pt>
                <c:pt idx="156">
                  <c:v>134.50108111570054</c:v>
                </c:pt>
                <c:pt idx="157">
                  <c:v>134.50108111570054</c:v>
                </c:pt>
                <c:pt idx="158">
                  <c:v>134.50108111570054</c:v>
                </c:pt>
                <c:pt idx="159">
                  <c:v>134.50108111570054</c:v>
                </c:pt>
                <c:pt idx="160">
                  <c:v>134.50108111570054</c:v>
                </c:pt>
                <c:pt idx="161">
                  <c:v>134.50108111570054</c:v>
                </c:pt>
                <c:pt idx="162">
                  <c:v>134.50108111570054</c:v>
                </c:pt>
                <c:pt idx="163">
                  <c:v>134.50108111570054</c:v>
                </c:pt>
                <c:pt idx="164">
                  <c:v>134.50108111570054</c:v>
                </c:pt>
                <c:pt idx="165">
                  <c:v>134.50108111570054</c:v>
                </c:pt>
                <c:pt idx="166">
                  <c:v>134.50108111570054</c:v>
                </c:pt>
                <c:pt idx="167">
                  <c:v>134.50108111570054</c:v>
                </c:pt>
                <c:pt idx="168">
                  <c:v>134.50108111570054</c:v>
                </c:pt>
                <c:pt idx="169">
                  <c:v>134.50108111570054</c:v>
                </c:pt>
                <c:pt idx="170">
                  <c:v>134.50108111570054</c:v>
                </c:pt>
                <c:pt idx="171">
                  <c:v>134.50108111570054</c:v>
                </c:pt>
                <c:pt idx="172">
                  <c:v>134.50108111570054</c:v>
                </c:pt>
                <c:pt idx="173">
                  <c:v>134.50108111570054</c:v>
                </c:pt>
                <c:pt idx="174">
                  <c:v>134.50108111570054</c:v>
                </c:pt>
                <c:pt idx="175">
                  <c:v>134.50108111570054</c:v>
                </c:pt>
                <c:pt idx="176">
                  <c:v>134.50108111570054</c:v>
                </c:pt>
                <c:pt idx="177">
                  <c:v>134.50108111570054</c:v>
                </c:pt>
                <c:pt idx="178">
                  <c:v>134.50108111570054</c:v>
                </c:pt>
                <c:pt idx="179">
                  <c:v>134.50108111570054</c:v>
                </c:pt>
                <c:pt idx="180">
                  <c:v>134.50108111570054</c:v>
                </c:pt>
                <c:pt idx="181">
                  <c:v>134.50108111570054</c:v>
                </c:pt>
                <c:pt idx="182">
                  <c:v>134.50108111570054</c:v>
                </c:pt>
                <c:pt idx="183">
                  <c:v>134.50108111570054</c:v>
                </c:pt>
                <c:pt idx="184">
                  <c:v>134.50108111570054</c:v>
                </c:pt>
                <c:pt idx="185">
                  <c:v>134.50108111570054</c:v>
                </c:pt>
                <c:pt idx="186">
                  <c:v>134.50108111570054</c:v>
                </c:pt>
                <c:pt idx="187">
                  <c:v>134.50108111570054</c:v>
                </c:pt>
                <c:pt idx="188">
                  <c:v>134.50108111570054</c:v>
                </c:pt>
                <c:pt idx="189">
                  <c:v>134.50108111570054</c:v>
                </c:pt>
                <c:pt idx="190">
                  <c:v>134.50108111570054</c:v>
                </c:pt>
                <c:pt idx="191">
                  <c:v>134.50108111570054</c:v>
                </c:pt>
                <c:pt idx="192">
                  <c:v>134.50108111570054</c:v>
                </c:pt>
                <c:pt idx="193">
                  <c:v>134.50108111570054</c:v>
                </c:pt>
                <c:pt idx="194">
                  <c:v>134.50108111570054</c:v>
                </c:pt>
                <c:pt idx="195">
                  <c:v>134.50108111570054</c:v>
                </c:pt>
                <c:pt idx="196">
                  <c:v>134.50108111570054</c:v>
                </c:pt>
                <c:pt idx="197">
                  <c:v>134.50108111570054</c:v>
                </c:pt>
                <c:pt idx="198">
                  <c:v>134.50108111570054</c:v>
                </c:pt>
                <c:pt idx="199">
                  <c:v>134.50108111570054</c:v>
                </c:pt>
                <c:pt idx="200">
                  <c:v>134.50108111570054</c:v>
                </c:pt>
                <c:pt idx="201">
                  <c:v>134.50108111570054</c:v>
                </c:pt>
                <c:pt idx="202">
                  <c:v>134.50108111570054</c:v>
                </c:pt>
                <c:pt idx="203">
                  <c:v>134.50108111570054</c:v>
                </c:pt>
                <c:pt idx="204">
                  <c:v>134.50108111570054</c:v>
                </c:pt>
                <c:pt idx="205">
                  <c:v>134.50108111570054</c:v>
                </c:pt>
                <c:pt idx="206">
                  <c:v>134.50108111570054</c:v>
                </c:pt>
                <c:pt idx="207">
                  <c:v>134.50108111570054</c:v>
                </c:pt>
                <c:pt idx="208">
                  <c:v>134.50108111570054</c:v>
                </c:pt>
                <c:pt idx="209">
                  <c:v>134.50108111570054</c:v>
                </c:pt>
                <c:pt idx="210">
                  <c:v>134.50108111570054</c:v>
                </c:pt>
                <c:pt idx="211">
                  <c:v>134.50108111570054</c:v>
                </c:pt>
                <c:pt idx="212">
                  <c:v>134.50108111570054</c:v>
                </c:pt>
                <c:pt idx="213">
                  <c:v>134.50108111570054</c:v>
                </c:pt>
                <c:pt idx="214">
                  <c:v>134.50108111570054</c:v>
                </c:pt>
                <c:pt idx="215">
                  <c:v>134.50108111570054</c:v>
                </c:pt>
                <c:pt idx="216">
                  <c:v>134.50108111570054</c:v>
                </c:pt>
                <c:pt idx="217">
                  <c:v>134.50108111570054</c:v>
                </c:pt>
                <c:pt idx="218">
                  <c:v>134.50108111570054</c:v>
                </c:pt>
                <c:pt idx="219">
                  <c:v>134.50108111570054</c:v>
                </c:pt>
                <c:pt idx="220">
                  <c:v>134.50108111570054</c:v>
                </c:pt>
                <c:pt idx="221">
                  <c:v>134.50108111570054</c:v>
                </c:pt>
                <c:pt idx="222">
                  <c:v>134.50108111570054</c:v>
                </c:pt>
                <c:pt idx="223">
                  <c:v>134.50108111570054</c:v>
                </c:pt>
                <c:pt idx="224">
                  <c:v>134.50108111570054</c:v>
                </c:pt>
                <c:pt idx="225">
                  <c:v>134.50108111570054</c:v>
                </c:pt>
                <c:pt idx="226">
                  <c:v>134.50108111570054</c:v>
                </c:pt>
                <c:pt idx="227">
                  <c:v>134.50108111570054</c:v>
                </c:pt>
                <c:pt idx="228">
                  <c:v>134.50108111570054</c:v>
                </c:pt>
                <c:pt idx="229">
                  <c:v>134.50108111570054</c:v>
                </c:pt>
                <c:pt idx="230">
                  <c:v>134.50108111570054</c:v>
                </c:pt>
                <c:pt idx="231">
                  <c:v>134.50108111570054</c:v>
                </c:pt>
                <c:pt idx="232">
                  <c:v>134.50108111570054</c:v>
                </c:pt>
                <c:pt idx="233">
                  <c:v>134.50108111570054</c:v>
                </c:pt>
                <c:pt idx="234">
                  <c:v>134.50108111570054</c:v>
                </c:pt>
                <c:pt idx="235">
                  <c:v>134.50108111570054</c:v>
                </c:pt>
                <c:pt idx="236">
                  <c:v>134.50108111570054</c:v>
                </c:pt>
                <c:pt idx="237">
                  <c:v>134.50108111570054</c:v>
                </c:pt>
                <c:pt idx="238">
                  <c:v>134.50108111570054</c:v>
                </c:pt>
                <c:pt idx="239">
                  <c:v>134.50108111570054</c:v>
                </c:pt>
                <c:pt idx="240">
                  <c:v>134.50108111570054</c:v>
                </c:pt>
                <c:pt idx="241">
                  <c:v>134.50108111570054</c:v>
                </c:pt>
                <c:pt idx="242">
                  <c:v>134.50108111570054</c:v>
                </c:pt>
                <c:pt idx="243">
                  <c:v>134.50108111570054</c:v>
                </c:pt>
                <c:pt idx="244">
                  <c:v>134.50108111570054</c:v>
                </c:pt>
                <c:pt idx="245">
                  <c:v>134.50108111570054</c:v>
                </c:pt>
                <c:pt idx="246">
                  <c:v>134.50108111570054</c:v>
                </c:pt>
                <c:pt idx="247">
                  <c:v>134.50108111570054</c:v>
                </c:pt>
                <c:pt idx="248">
                  <c:v>134.50108111570054</c:v>
                </c:pt>
                <c:pt idx="249">
                  <c:v>134.50108111570054</c:v>
                </c:pt>
                <c:pt idx="250">
                  <c:v>134.50108111570054</c:v>
                </c:pt>
                <c:pt idx="251">
                  <c:v>134.50108111570054</c:v>
                </c:pt>
                <c:pt idx="252">
                  <c:v>134.50108111570054</c:v>
                </c:pt>
                <c:pt idx="253">
                  <c:v>134.50108111570054</c:v>
                </c:pt>
                <c:pt idx="254">
                  <c:v>134.50108111570054</c:v>
                </c:pt>
                <c:pt idx="255">
                  <c:v>134.50108111570054</c:v>
                </c:pt>
                <c:pt idx="256">
                  <c:v>134.50108111570054</c:v>
                </c:pt>
                <c:pt idx="257">
                  <c:v>134.50108111570054</c:v>
                </c:pt>
                <c:pt idx="258">
                  <c:v>134.50108111570054</c:v>
                </c:pt>
                <c:pt idx="259">
                  <c:v>134.50108111570054</c:v>
                </c:pt>
                <c:pt idx="260">
                  <c:v>134.50108111570054</c:v>
                </c:pt>
                <c:pt idx="261">
                  <c:v>134.50108111570054</c:v>
                </c:pt>
                <c:pt idx="262">
                  <c:v>134.50108111570054</c:v>
                </c:pt>
                <c:pt idx="263">
                  <c:v>134.50108111570054</c:v>
                </c:pt>
                <c:pt idx="264">
                  <c:v>134.50108111570054</c:v>
                </c:pt>
                <c:pt idx="265">
                  <c:v>134.50108111570054</c:v>
                </c:pt>
                <c:pt idx="266">
                  <c:v>134.50108111570054</c:v>
                </c:pt>
                <c:pt idx="267">
                  <c:v>134.50108111570054</c:v>
                </c:pt>
                <c:pt idx="268">
                  <c:v>134.50108111570054</c:v>
                </c:pt>
                <c:pt idx="269">
                  <c:v>134.50108111570054</c:v>
                </c:pt>
                <c:pt idx="270">
                  <c:v>134.50108111570054</c:v>
                </c:pt>
                <c:pt idx="271">
                  <c:v>134.50108111570054</c:v>
                </c:pt>
                <c:pt idx="272">
                  <c:v>134.50108111570054</c:v>
                </c:pt>
                <c:pt idx="273">
                  <c:v>134.50108111570054</c:v>
                </c:pt>
                <c:pt idx="274">
                  <c:v>134.50108111570054</c:v>
                </c:pt>
                <c:pt idx="275">
                  <c:v>134.50108111570054</c:v>
                </c:pt>
                <c:pt idx="276">
                  <c:v>134.50108111570054</c:v>
                </c:pt>
                <c:pt idx="277">
                  <c:v>134.50108111570054</c:v>
                </c:pt>
                <c:pt idx="278">
                  <c:v>134.50108111570054</c:v>
                </c:pt>
                <c:pt idx="279">
                  <c:v>134.50108111570054</c:v>
                </c:pt>
                <c:pt idx="280">
                  <c:v>134.50108111570054</c:v>
                </c:pt>
                <c:pt idx="281">
                  <c:v>134.50108111570054</c:v>
                </c:pt>
                <c:pt idx="282">
                  <c:v>134.50108111570054</c:v>
                </c:pt>
                <c:pt idx="283">
                  <c:v>134.50108111570054</c:v>
                </c:pt>
                <c:pt idx="284">
                  <c:v>134.50108111570054</c:v>
                </c:pt>
                <c:pt idx="285">
                  <c:v>134.50108111570054</c:v>
                </c:pt>
                <c:pt idx="286">
                  <c:v>134.50108111570054</c:v>
                </c:pt>
                <c:pt idx="287">
                  <c:v>134.50108111570054</c:v>
                </c:pt>
                <c:pt idx="288">
                  <c:v>134.50108111570054</c:v>
                </c:pt>
                <c:pt idx="289">
                  <c:v>134.50108111570054</c:v>
                </c:pt>
                <c:pt idx="290">
                  <c:v>134.50108111570054</c:v>
                </c:pt>
                <c:pt idx="291">
                  <c:v>134.50108111570054</c:v>
                </c:pt>
                <c:pt idx="292">
                  <c:v>134.50108111570054</c:v>
                </c:pt>
                <c:pt idx="293">
                  <c:v>134.50108111570054</c:v>
                </c:pt>
                <c:pt idx="294">
                  <c:v>134.50108111570054</c:v>
                </c:pt>
                <c:pt idx="295">
                  <c:v>134.50108111570054</c:v>
                </c:pt>
                <c:pt idx="296">
                  <c:v>134.50108111570054</c:v>
                </c:pt>
                <c:pt idx="297">
                  <c:v>134.50108111570054</c:v>
                </c:pt>
                <c:pt idx="298">
                  <c:v>134.50108111570054</c:v>
                </c:pt>
                <c:pt idx="299">
                  <c:v>134.50108111570054</c:v>
                </c:pt>
                <c:pt idx="300">
                  <c:v>134.50108111570054</c:v>
                </c:pt>
                <c:pt idx="301">
                  <c:v>134.50108111570054</c:v>
                </c:pt>
                <c:pt idx="302">
                  <c:v>134.50108111570054</c:v>
                </c:pt>
                <c:pt idx="303">
                  <c:v>134.50108111570054</c:v>
                </c:pt>
                <c:pt idx="304">
                  <c:v>134.50108111570054</c:v>
                </c:pt>
                <c:pt idx="305">
                  <c:v>134.50108111570054</c:v>
                </c:pt>
                <c:pt idx="306">
                  <c:v>134.50108111570054</c:v>
                </c:pt>
                <c:pt idx="307">
                  <c:v>134.50108111570054</c:v>
                </c:pt>
                <c:pt idx="308">
                  <c:v>134.50108111570054</c:v>
                </c:pt>
                <c:pt idx="309">
                  <c:v>134.50108111570054</c:v>
                </c:pt>
                <c:pt idx="310">
                  <c:v>134.50108111570054</c:v>
                </c:pt>
                <c:pt idx="311">
                  <c:v>134.50108111570054</c:v>
                </c:pt>
                <c:pt idx="312">
                  <c:v>134.50108111570054</c:v>
                </c:pt>
                <c:pt idx="313">
                  <c:v>134.50108111570054</c:v>
                </c:pt>
                <c:pt idx="314">
                  <c:v>134.50108111570054</c:v>
                </c:pt>
                <c:pt idx="315">
                  <c:v>134.50108111570054</c:v>
                </c:pt>
                <c:pt idx="316">
                  <c:v>134.50108111570054</c:v>
                </c:pt>
                <c:pt idx="317">
                  <c:v>134.50108111570054</c:v>
                </c:pt>
                <c:pt idx="318">
                  <c:v>134.50108111570054</c:v>
                </c:pt>
                <c:pt idx="319">
                  <c:v>134.50108111570054</c:v>
                </c:pt>
                <c:pt idx="320">
                  <c:v>134.50108111570054</c:v>
                </c:pt>
                <c:pt idx="321">
                  <c:v>134.50108111570054</c:v>
                </c:pt>
                <c:pt idx="322">
                  <c:v>134.50108111570054</c:v>
                </c:pt>
                <c:pt idx="323">
                  <c:v>134.50108111570054</c:v>
                </c:pt>
                <c:pt idx="324">
                  <c:v>134.50108111570054</c:v>
                </c:pt>
                <c:pt idx="325">
                  <c:v>134.50108111570054</c:v>
                </c:pt>
                <c:pt idx="326">
                  <c:v>134.50108111570054</c:v>
                </c:pt>
                <c:pt idx="327">
                  <c:v>134.50108111570054</c:v>
                </c:pt>
                <c:pt idx="328">
                  <c:v>134.50108111570054</c:v>
                </c:pt>
                <c:pt idx="329">
                  <c:v>134.50108111570054</c:v>
                </c:pt>
                <c:pt idx="330">
                  <c:v>134.50108111570054</c:v>
                </c:pt>
                <c:pt idx="331">
                  <c:v>134.50108111570054</c:v>
                </c:pt>
                <c:pt idx="332">
                  <c:v>134.50108111570054</c:v>
                </c:pt>
                <c:pt idx="333">
                  <c:v>134.50108111570054</c:v>
                </c:pt>
                <c:pt idx="334">
                  <c:v>134.50108111570054</c:v>
                </c:pt>
                <c:pt idx="335">
                  <c:v>134.50108111570054</c:v>
                </c:pt>
                <c:pt idx="336">
                  <c:v>134.50108111570054</c:v>
                </c:pt>
                <c:pt idx="337">
                  <c:v>134.50108111570054</c:v>
                </c:pt>
                <c:pt idx="338">
                  <c:v>134.50108111570054</c:v>
                </c:pt>
                <c:pt idx="339">
                  <c:v>134.50108111570054</c:v>
                </c:pt>
                <c:pt idx="340">
                  <c:v>134.50108111570054</c:v>
                </c:pt>
                <c:pt idx="341">
                  <c:v>134.50108111570054</c:v>
                </c:pt>
                <c:pt idx="342">
                  <c:v>134.50108111570054</c:v>
                </c:pt>
                <c:pt idx="343">
                  <c:v>134.50108111570054</c:v>
                </c:pt>
                <c:pt idx="344">
                  <c:v>134.50108111570054</c:v>
                </c:pt>
                <c:pt idx="345">
                  <c:v>134.50108111570054</c:v>
                </c:pt>
                <c:pt idx="346">
                  <c:v>134.50108111570054</c:v>
                </c:pt>
                <c:pt idx="347">
                  <c:v>134.50108111570054</c:v>
                </c:pt>
                <c:pt idx="348">
                  <c:v>134.50108111570054</c:v>
                </c:pt>
                <c:pt idx="349">
                  <c:v>134.50108111570054</c:v>
                </c:pt>
                <c:pt idx="350">
                  <c:v>134.50108111570054</c:v>
                </c:pt>
                <c:pt idx="351">
                  <c:v>134.50108111570054</c:v>
                </c:pt>
                <c:pt idx="352">
                  <c:v>134.50108111570054</c:v>
                </c:pt>
                <c:pt idx="353">
                  <c:v>134.50108111570054</c:v>
                </c:pt>
                <c:pt idx="354">
                  <c:v>134.50108111570054</c:v>
                </c:pt>
                <c:pt idx="355">
                  <c:v>134.50108111570054</c:v>
                </c:pt>
                <c:pt idx="356">
                  <c:v>134.50108111570054</c:v>
                </c:pt>
                <c:pt idx="357">
                  <c:v>134.50108111570054</c:v>
                </c:pt>
                <c:pt idx="358">
                  <c:v>134.50108111570054</c:v>
                </c:pt>
                <c:pt idx="359">
                  <c:v>134.50108111570054</c:v>
                </c:pt>
                <c:pt idx="360">
                  <c:v>134.50108111570054</c:v>
                </c:pt>
                <c:pt idx="361">
                  <c:v>134.50108111570054</c:v>
                </c:pt>
                <c:pt idx="362">
                  <c:v>134.50108111570054</c:v>
                </c:pt>
                <c:pt idx="363">
                  <c:v>134.50108111570054</c:v>
                </c:pt>
                <c:pt idx="364">
                  <c:v>134.50108111570054</c:v>
                </c:pt>
                <c:pt idx="365">
                  <c:v>134.50108111570054</c:v>
                </c:pt>
                <c:pt idx="366">
                  <c:v>134.50108111570054</c:v>
                </c:pt>
                <c:pt idx="367">
                  <c:v>134.50108111570054</c:v>
                </c:pt>
                <c:pt idx="368">
                  <c:v>134.50108111570054</c:v>
                </c:pt>
                <c:pt idx="369">
                  <c:v>134.50108111570054</c:v>
                </c:pt>
                <c:pt idx="370">
                  <c:v>134.50108111570054</c:v>
                </c:pt>
                <c:pt idx="371">
                  <c:v>134.50108111570054</c:v>
                </c:pt>
                <c:pt idx="372">
                  <c:v>134.50108111570054</c:v>
                </c:pt>
                <c:pt idx="373">
                  <c:v>134.50108111570054</c:v>
                </c:pt>
                <c:pt idx="374">
                  <c:v>134.50108111570054</c:v>
                </c:pt>
                <c:pt idx="375">
                  <c:v>134.50108111570054</c:v>
                </c:pt>
                <c:pt idx="376">
                  <c:v>134.50108111570054</c:v>
                </c:pt>
                <c:pt idx="377">
                  <c:v>134.50108111570054</c:v>
                </c:pt>
                <c:pt idx="378">
                  <c:v>134.50108111570054</c:v>
                </c:pt>
                <c:pt idx="379">
                  <c:v>134.50108111570054</c:v>
                </c:pt>
                <c:pt idx="380">
                  <c:v>134.50108111570054</c:v>
                </c:pt>
                <c:pt idx="381">
                  <c:v>134.50108111570054</c:v>
                </c:pt>
                <c:pt idx="382">
                  <c:v>134.50108111570054</c:v>
                </c:pt>
                <c:pt idx="383">
                  <c:v>134.50108111570054</c:v>
                </c:pt>
                <c:pt idx="384">
                  <c:v>134.50108111570054</c:v>
                </c:pt>
                <c:pt idx="385">
                  <c:v>134.50108111570054</c:v>
                </c:pt>
                <c:pt idx="386">
                  <c:v>134.50108111570054</c:v>
                </c:pt>
                <c:pt idx="387">
                  <c:v>134.50108111570054</c:v>
                </c:pt>
                <c:pt idx="388">
                  <c:v>134.50108111570054</c:v>
                </c:pt>
                <c:pt idx="389">
                  <c:v>134.50108111570054</c:v>
                </c:pt>
                <c:pt idx="390">
                  <c:v>134.50108111570054</c:v>
                </c:pt>
                <c:pt idx="391">
                  <c:v>134.50108111570054</c:v>
                </c:pt>
                <c:pt idx="392">
                  <c:v>134.50108111570054</c:v>
                </c:pt>
                <c:pt idx="393">
                  <c:v>134.50108111570054</c:v>
                </c:pt>
                <c:pt idx="394">
                  <c:v>134.50108111570054</c:v>
                </c:pt>
                <c:pt idx="395">
                  <c:v>134.50108111570054</c:v>
                </c:pt>
                <c:pt idx="396">
                  <c:v>134.50108111570054</c:v>
                </c:pt>
                <c:pt idx="397">
                  <c:v>134.50108111570054</c:v>
                </c:pt>
                <c:pt idx="398">
                  <c:v>134.50108111570054</c:v>
                </c:pt>
                <c:pt idx="399">
                  <c:v>134.50108111570054</c:v>
                </c:pt>
                <c:pt idx="400">
                  <c:v>134.50108111570054</c:v>
                </c:pt>
                <c:pt idx="401">
                  <c:v>134.50108111570054</c:v>
                </c:pt>
                <c:pt idx="402">
                  <c:v>134.50108111570054</c:v>
                </c:pt>
                <c:pt idx="403">
                  <c:v>134.50108111570054</c:v>
                </c:pt>
                <c:pt idx="404">
                  <c:v>134.50108111570054</c:v>
                </c:pt>
                <c:pt idx="405">
                  <c:v>134.50108111570054</c:v>
                </c:pt>
                <c:pt idx="406">
                  <c:v>134.50108111570054</c:v>
                </c:pt>
                <c:pt idx="407">
                  <c:v>134.50108111570054</c:v>
                </c:pt>
                <c:pt idx="408">
                  <c:v>134.50108111570054</c:v>
                </c:pt>
                <c:pt idx="409">
                  <c:v>134.50108111570054</c:v>
                </c:pt>
                <c:pt idx="410">
                  <c:v>134.50108111570054</c:v>
                </c:pt>
                <c:pt idx="411">
                  <c:v>134.50108111570054</c:v>
                </c:pt>
                <c:pt idx="412">
                  <c:v>134.50108111570054</c:v>
                </c:pt>
                <c:pt idx="413">
                  <c:v>134.50108111570054</c:v>
                </c:pt>
                <c:pt idx="414">
                  <c:v>134.50108111570054</c:v>
                </c:pt>
                <c:pt idx="415">
                  <c:v>134.50108111570054</c:v>
                </c:pt>
                <c:pt idx="416">
                  <c:v>134.50108111570054</c:v>
                </c:pt>
                <c:pt idx="417">
                  <c:v>134.50108111570054</c:v>
                </c:pt>
                <c:pt idx="418">
                  <c:v>134.50108111570054</c:v>
                </c:pt>
                <c:pt idx="419">
                  <c:v>134.50108111570054</c:v>
                </c:pt>
                <c:pt idx="420">
                  <c:v>134.50108111570054</c:v>
                </c:pt>
                <c:pt idx="421">
                  <c:v>134.50108111570054</c:v>
                </c:pt>
                <c:pt idx="422">
                  <c:v>134.50108111570054</c:v>
                </c:pt>
                <c:pt idx="423">
                  <c:v>134.50108111570054</c:v>
                </c:pt>
                <c:pt idx="424">
                  <c:v>134.50108111570054</c:v>
                </c:pt>
                <c:pt idx="425">
                  <c:v>134.50108111570054</c:v>
                </c:pt>
                <c:pt idx="426">
                  <c:v>134.50108111570054</c:v>
                </c:pt>
                <c:pt idx="427">
                  <c:v>134.50108111570054</c:v>
                </c:pt>
                <c:pt idx="428">
                  <c:v>134.50108111570054</c:v>
                </c:pt>
                <c:pt idx="429">
                  <c:v>134.50108111570054</c:v>
                </c:pt>
                <c:pt idx="430">
                  <c:v>134.50108111570054</c:v>
                </c:pt>
                <c:pt idx="431">
                  <c:v>134.50108111570054</c:v>
                </c:pt>
                <c:pt idx="432">
                  <c:v>134.50108111570054</c:v>
                </c:pt>
                <c:pt idx="433">
                  <c:v>134.50108111570054</c:v>
                </c:pt>
                <c:pt idx="434">
                  <c:v>134.50108111570054</c:v>
                </c:pt>
                <c:pt idx="435">
                  <c:v>134.50108111570054</c:v>
                </c:pt>
                <c:pt idx="436">
                  <c:v>134.50108111570054</c:v>
                </c:pt>
                <c:pt idx="437">
                  <c:v>134.50108111570054</c:v>
                </c:pt>
                <c:pt idx="438">
                  <c:v>134.50108111570054</c:v>
                </c:pt>
                <c:pt idx="439">
                  <c:v>134.50108111570054</c:v>
                </c:pt>
                <c:pt idx="440">
                  <c:v>134.50108111570054</c:v>
                </c:pt>
                <c:pt idx="441">
                  <c:v>134.50108111570054</c:v>
                </c:pt>
                <c:pt idx="442">
                  <c:v>134.50108111570054</c:v>
                </c:pt>
                <c:pt idx="443">
                  <c:v>134.50108111570054</c:v>
                </c:pt>
                <c:pt idx="444">
                  <c:v>134.50108111570054</c:v>
                </c:pt>
                <c:pt idx="445">
                  <c:v>134.50108111570054</c:v>
                </c:pt>
                <c:pt idx="446">
                  <c:v>134.50108111570054</c:v>
                </c:pt>
                <c:pt idx="447">
                  <c:v>134.50108111570054</c:v>
                </c:pt>
                <c:pt idx="448">
                  <c:v>134.50108111570054</c:v>
                </c:pt>
                <c:pt idx="449">
                  <c:v>134.50108111570054</c:v>
                </c:pt>
                <c:pt idx="450">
                  <c:v>134.50108111570054</c:v>
                </c:pt>
                <c:pt idx="451">
                  <c:v>134.50108111570054</c:v>
                </c:pt>
                <c:pt idx="452">
                  <c:v>134.50108111570054</c:v>
                </c:pt>
                <c:pt idx="453">
                  <c:v>134.50108111570054</c:v>
                </c:pt>
                <c:pt idx="454">
                  <c:v>134.50108111570054</c:v>
                </c:pt>
                <c:pt idx="455">
                  <c:v>134.50108111570054</c:v>
                </c:pt>
                <c:pt idx="456">
                  <c:v>134.50108111570054</c:v>
                </c:pt>
                <c:pt idx="457">
                  <c:v>134.50108111570054</c:v>
                </c:pt>
                <c:pt idx="458">
                  <c:v>134.50108111570054</c:v>
                </c:pt>
                <c:pt idx="459">
                  <c:v>134.50108111570054</c:v>
                </c:pt>
                <c:pt idx="460">
                  <c:v>134.50108111570054</c:v>
                </c:pt>
                <c:pt idx="461">
                  <c:v>134.50108111570054</c:v>
                </c:pt>
                <c:pt idx="462">
                  <c:v>134.50108111570054</c:v>
                </c:pt>
                <c:pt idx="463">
                  <c:v>134.50108111570054</c:v>
                </c:pt>
                <c:pt idx="464">
                  <c:v>134.50108111570054</c:v>
                </c:pt>
                <c:pt idx="465">
                  <c:v>134.50108111570054</c:v>
                </c:pt>
                <c:pt idx="466">
                  <c:v>134.50108111570054</c:v>
                </c:pt>
                <c:pt idx="467">
                  <c:v>134.50108111570054</c:v>
                </c:pt>
                <c:pt idx="468">
                  <c:v>134.50108111570054</c:v>
                </c:pt>
                <c:pt idx="469">
                  <c:v>134.50108111570054</c:v>
                </c:pt>
                <c:pt idx="470">
                  <c:v>134.50108111570054</c:v>
                </c:pt>
                <c:pt idx="471">
                  <c:v>134.50108111570054</c:v>
                </c:pt>
                <c:pt idx="472">
                  <c:v>134.50108111570054</c:v>
                </c:pt>
                <c:pt idx="473">
                  <c:v>134.50108111570054</c:v>
                </c:pt>
                <c:pt idx="474">
                  <c:v>134.50108111570054</c:v>
                </c:pt>
                <c:pt idx="475">
                  <c:v>134.50108111570054</c:v>
                </c:pt>
                <c:pt idx="476">
                  <c:v>134.50108111570054</c:v>
                </c:pt>
                <c:pt idx="477">
                  <c:v>134.50108111570054</c:v>
                </c:pt>
                <c:pt idx="478">
                  <c:v>134.50108111570054</c:v>
                </c:pt>
                <c:pt idx="479">
                  <c:v>134.50108111570054</c:v>
                </c:pt>
                <c:pt idx="480">
                  <c:v>134.50108111570054</c:v>
                </c:pt>
                <c:pt idx="481">
                  <c:v>134.50108111570054</c:v>
                </c:pt>
                <c:pt idx="482">
                  <c:v>134.50108111570054</c:v>
                </c:pt>
                <c:pt idx="483">
                  <c:v>134.50108111570054</c:v>
                </c:pt>
                <c:pt idx="484">
                  <c:v>134.50108111570054</c:v>
                </c:pt>
                <c:pt idx="485">
                  <c:v>134.50108111570054</c:v>
                </c:pt>
                <c:pt idx="486">
                  <c:v>134.50108111570054</c:v>
                </c:pt>
                <c:pt idx="487">
                  <c:v>134.50108111570054</c:v>
                </c:pt>
                <c:pt idx="488">
                  <c:v>134.50108111570054</c:v>
                </c:pt>
                <c:pt idx="489">
                  <c:v>134.50108111570054</c:v>
                </c:pt>
                <c:pt idx="490">
                  <c:v>134.50108111570054</c:v>
                </c:pt>
                <c:pt idx="491">
                  <c:v>134.50108111570054</c:v>
                </c:pt>
                <c:pt idx="492">
                  <c:v>134.50108111570054</c:v>
                </c:pt>
                <c:pt idx="493">
                  <c:v>134.50108111570054</c:v>
                </c:pt>
                <c:pt idx="494">
                  <c:v>134.50108111570054</c:v>
                </c:pt>
                <c:pt idx="495">
                  <c:v>134.50108111570054</c:v>
                </c:pt>
                <c:pt idx="496">
                  <c:v>134.50108111570054</c:v>
                </c:pt>
                <c:pt idx="497">
                  <c:v>134.50108111570054</c:v>
                </c:pt>
                <c:pt idx="498">
                  <c:v>134.50108111570054</c:v>
                </c:pt>
                <c:pt idx="499">
                  <c:v>134.50108111570054</c:v>
                </c:pt>
                <c:pt idx="500">
                  <c:v>134.50108111570054</c:v>
                </c:pt>
                <c:pt idx="501">
                  <c:v>134.50108111570054</c:v>
                </c:pt>
                <c:pt idx="502">
                  <c:v>134.50108111570054</c:v>
                </c:pt>
                <c:pt idx="503">
                  <c:v>134.50108111570054</c:v>
                </c:pt>
                <c:pt idx="504">
                  <c:v>134.50108111570054</c:v>
                </c:pt>
                <c:pt idx="505">
                  <c:v>134.50108111570054</c:v>
                </c:pt>
                <c:pt idx="506">
                  <c:v>134.50108111570054</c:v>
                </c:pt>
                <c:pt idx="507">
                  <c:v>134.50108111570054</c:v>
                </c:pt>
                <c:pt idx="508">
                  <c:v>134.50108111570054</c:v>
                </c:pt>
                <c:pt idx="509">
                  <c:v>134.50108111570054</c:v>
                </c:pt>
                <c:pt idx="510">
                  <c:v>134.50108111570054</c:v>
                </c:pt>
                <c:pt idx="511">
                  <c:v>134.50108111570054</c:v>
                </c:pt>
                <c:pt idx="512">
                  <c:v>134.50108111570054</c:v>
                </c:pt>
                <c:pt idx="513">
                  <c:v>134.50108111570054</c:v>
                </c:pt>
                <c:pt idx="514">
                  <c:v>134.50108111570054</c:v>
                </c:pt>
                <c:pt idx="515">
                  <c:v>134.50108111570054</c:v>
                </c:pt>
                <c:pt idx="516">
                  <c:v>134.50108111570054</c:v>
                </c:pt>
                <c:pt idx="517">
                  <c:v>134.50108111570054</c:v>
                </c:pt>
                <c:pt idx="518">
                  <c:v>134.50108111570054</c:v>
                </c:pt>
                <c:pt idx="519">
                  <c:v>134.50108111570054</c:v>
                </c:pt>
                <c:pt idx="520">
                  <c:v>134.50108111570054</c:v>
                </c:pt>
                <c:pt idx="521">
                  <c:v>134.50108111570054</c:v>
                </c:pt>
                <c:pt idx="522">
                  <c:v>134.50108111570054</c:v>
                </c:pt>
                <c:pt idx="523">
                  <c:v>134.50108111570054</c:v>
                </c:pt>
                <c:pt idx="524">
                  <c:v>134.50108111570054</c:v>
                </c:pt>
                <c:pt idx="525">
                  <c:v>134.50108111570054</c:v>
                </c:pt>
                <c:pt idx="526">
                  <c:v>134.50108111570054</c:v>
                </c:pt>
                <c:pt idx="527">
                  <c:v>134.50108111570054</c:v>
                </c:pt>
                <c:pt idx="528">
                  <c:v>134.50108111570054</c:v>
                </c:pt>
                <c:pt idx="529">
                  <c:v>134.50108111570054</c:v>
                </c:pt>
                <c:pt idx="530">
                  <c:v>134.50108111570054</c:v>
                </c:pt>
                <c:pt idx="531">
                  <c:v>134.50108111570054</c:v>
                </c:pt>
                <c:pt idx="532">
                  <c:v>134.50108111570054</c:v>
                </c:pt>
                <c:pt idx="533">
                  <c:v>134.50108111570054</c:v>
                </c:pt>
                <c:pt idx="534">
                  <c:v>134.50108111570054</c:v>
                </c:pt>
                <c:pt idx="535">
                  <c:v>134.50108111570054</c:v>
                </c:pt>
                <c:pt idx="536">
                  <c:v>134.50108111570054</c:v>
                </c:pt>
                <c:pt idx="537">
                  <c:v>134.50108111570054</c:v>
                </c:pt>
                <c:pt idx="538">
                  <c:v>134.50108111570054</c:v>
                </c:pt>
                <c:pt idx="539">
                  <c:v>134.50108111570054</c:v>
                </c:pt>
                <c:pt idx="540">
                  <c:v>134.50108111570054</c:v>
                </c:pt>
                <c:pt idx="541">
                  <c:v>134.50108111570054</c:v>
                </c:pt>
                <c:pt idx="542">
                  <c:v>134.50108111570054</c:v>
                </c:pt>
                <c:pt idx="543">
                  <c:v>134.50108111570054</c:v>
                </c:pt>
                <c:pt idx="544">
                  <c:v>134.50108111570054</c:v>
                </c:pt>
                <c:pt idx="545">
                  <c:v>134.50108111570054</c:v>
                </c:pt>
                <c:pt idx="546">
                  <c:v>134.50108111570054</c:v>
                </c:pt>
                <c:pt idx="547">
                  <c:v>134.50108111570054</c:v>
                </c:pt>
                <c:pt idx="548">
                  <c:v>134.50108111570054</c:v>
                </c:pt>
                <c:pt idx="549">
                  <c:v>134.50108111570054</c:v>
                </c:pt>
                <c:pt idx="550">
                  <c:v>134.50108111570054</c:v>
                </c:pt>
                <c:pt idx="551">
                  <c:v>134.50108111570054</c:v>
                </c:pt>
                <c:pt idx="552">
                  <c:v>134.50108111570054</c:v>
                </c:pt>
                <c:pt idx="553">
                  <c:v>134.50108111570054</c:v>
                </c:pt>
                <c:pt idx="554">
                  <c:v>134.50108111570054</c:v>
                </c:pt>
                <c:pt idx="555">
                  <c:v>134.50108111570054</c:v>
                </c:pt>
                <c:pt idx="556">
                  <c:v>134.50108111570054</c:v>
                </c:pt>
                <c:pt idx="557">
                  <c:v>134.50108111570054</c:v>
                </c:pt>
                <c:pt idx="558">
                  <c:v>134.50108111570054</c:v>
                </c:pt>
                <c:pt idx="559">
                  <c:v>134.50108111570054</c:v>
                </c:pt>
                <c:pt idx="560">
                  <c:v>134.50108111570054</c:v>
                </c:pt>
                <c:pt idx="561">
                  <c:v>134.50108111570054</c:v>
                </c:pt>
                <c:pt idx="562">
                  <c:v>134.50108111570054</c:v>
                </c:pt>
                <c:pt idx="563">
                  <c:v>134.50108111570054</c:v>
                </c:pt>
                <c:pt idx="564">
                  <c:v>134.50108111570054</c:v>
                </c:pt>
                <c:pt idx="565">
                  <c:v>134.50108111570054</c:v>
                </c:pt>
                <c:pt idx="566">
                  <c:v>134.50108111570054</c:v>
                </c:pt>
                <c:pt idx="567">
                  <c:v>134.50108111570054</c:v>
                </c:pt>
                <c:pt idx="568">
                  <c:v>134.50108111570054</c:v>
                </c:pt>
                <c:pt idx="569">
                  <c:v>134.50108111570054</c:v>
                </c:pt>
                <c:pt idx="570">
                  <c:v>134.50108111570054</c:v>
                </c:pt>
                <c:pt idx="571">
                  <c:v>134.50108111570054</c:v>
                </c:pt>
                <c:pt idx="572">
                  <c:v>134.50108111570054</c:v>
                </c:pt>
                <c:pt idx="573">
                  <c:v>134.50108111570054</c:v>
                </c:pt>
                <c:pt idx="574">
                  <c:v>134.50108111570054</c:v>
                </c:pt>
                <c:pt idx="575">
                  <c:v>134.50108111570054</c:v>
                </c:pt>
                <c:pt idx="576">
                  <c:v>134.50108111570054</c:v>
                </c:pt>
                <c:pt idx="577">
                  <c:v>134.50108111570054</c:v>
                </c:pt>
                <c:pt idx="578">
                  <c:v>134.50108111570054</c:v>
                </c:pt>
                <c:pt idx="579">
                  <c:v>134.50108111570054</c:v>
                </c:pt>
                <c:pt idx="580">
                  <c:v>134.50108111570054</c:v>
                </c:pt>
                <c:pt idx="581">
                  <c:v>134.50108111570054</c:v>
                </c:pt>
                <c:pt idx="582">
                  <c:v>134.50108111570054</c:v>
                </c:pt>
                <c:pt idx="583">
                  <c:v>134.50108111570054</c:v>
                </c:pt>
                <c:pt idx="584">
                  <c:v>134.50108111570054</c:v>
                </c:pt>
                <c:pt idx="585">
                  <c:v>134.50108111570054</c:v>
                </c:pt>
                <c:pt idx="586">
                  <c:v>134.50108111570054</c:v>
                </c:pt>
                <c:pt idx="587">
                  <c:v>134.50108111570054</c:v>
                </c:pt>
                <c:pt idx="588">
                  <c:v>134.50108111570054</c:v>
                </c:pt>
                <c:pt idx="589">
                  <c:v>134.50108111570054</c:v>
                </c:pt>
                <c:pt idx="590">
                  <c:v>134.50108111570054</c:v>
                </c:pt>
                <c:pt idx="591">
                  <c:v>134.50108111570054</c:v>
                </c:pt>
                <c:pt idx="592">
                  <c:v>134.50108111570054</c:v>
                </c:pt>
                <c:pt idx="593">
                  <c:v>134.50108111570054</c:v>
                </c:pt>
                <c:pt idx="594">
                  <c:v>134.50108111570054</c:v>
                </c:pt>
                <c:pt idx="595">
                  <c:v>134.50108111570054</c:v>
                </c:pt>
                <c:pt idx="596">
                  <c:v>134.50108111570054</c:v>
                </c:pt>
                <c:pt idx="597">
                  <c:v>134.50108111570054</c:v>
                </c:pt>
                <c:pt idx="598">
                  <c:v>134.50108111570054</c:v>
                </c:pt>
                <c:pt idx="599">
                  <c:v>134.50108111570054</c:v>
                </c:pt>
                <c:pt idx="600">
                  <c:v>134.50108111570054</c:v>
                </c:pt>
                <c:pt idx="601">
                  <c:v>134.50108111570054</c:v>
                </c:pt>
                <c:pt idx="602">
                  <c:v>134.50108111570054</c:v>
                </c:pt>
                <c:pt idx="603">
                  <c:v>134.50108111570054</c:v>
                </c:pt>
                <c:pt idx="604">
                  <c:v>134.50108111570054</c:v>
                </c:pt>
                <c:pt idx="605">
                  <c:v>134.50108111570054</c:v>
                </c:pt>
                <c:pt idx="606">
                  <c:v>134.50108111570054</c:v>
                </c:pt>
                <c:pt idx="607">
                  <c:v>134.50108111570054</c:v>
                </c:pt>
                <c:pt idx="608">
                  <c:v>134.50108111570054</c:v>
                </c:pt>
                <c:pt idx="609">
                  <c:v>134.50108111570054</c:v>
                </c:pt>
                <c:pt idx="610">
                  <c:v>134.50108111570054</c:v>
                </c:pt>
                <c:pt idx="611">
                  <c:v>134.50108111570054</c:v>
                </c:pt>
                <c:pt idx="612">
                  <c:v>134.50108111570054</c:v>
                </c:pt>
                <c:pt idx="613">
                  <c:v>134.50108111570054</c:v>
                </c:pt>
                <c:pt idx="614">
                  <c:v>134.50108111570054</c:v>
                </c:pt>
                <c:pt idx="615">
                  <c:v>134.50108111570054</c:v>
                </c:pt>
                <c:pt idx="616">
                  <c:v>134.50108111570054</c:v>
                </c:pt>
                <c:pt idx="617">
                  <c:v>134.50108111570054</c:v>
                </c:pt>
                <c:pt idx="618">
                  <c:v>134.50108111570054</c:v>
                </c:pt>
                <c:pt idx="619">
                  <c:v>134.50108111570054</c:v>
                </c:pt>
                <c:pt idx="620">
                  <c:v>134.50108111570054</c:v>
                </c:pt>
                <c:pt idx="621">
                  <c:v>134.50108111570054</c:v>
                </c:pt>
                <c:pt idx="622">
                  <c:v>134.50108111570054</c:v>
                </c:pt>
                <c:pt idx="623">
                  <c:v>134.50108111570054</c:v>
                </c:pt>
                <c:pt idx="624">
                  <c:v>134.50108111570054</c:v>
                </c:pt>
                <c:pt idx="625">
                  <c:v>134.50108111570054</c:v>
                </c:pt>
                <c:pt idx="626">
                  <c:v>134.50108111570054</c:v>
                </c:pt>
                <c:pt idx="627">
                  <c:v>134.50108111570054</c:v>
                </c:pt>
                <c:pt idx="628">
                  <c:v>134.50108111570054</c:v>
                </c:pt>
                <c:pt idx="629">
                  <c:v>134.50108111570054</c:v>
                </c:pt>
                <c:pt idx="630">
                  <c:v>134.50108111570054</c:v>
                </c:pt>
                <c:pt idx="631">
                  <c:v>134.50108111570054</c:v>
                </c:pt>
                <c:pt idx="632">
                  <c:v>134.50108111570054</c:v>
                </c:pt>
                <c:pt idx="633">
                  <c:v>134.50108111570054</c:v>
                </c:pt>
                <c:pt idx="634">
                  <c:v>134.50108111570054</c:v>
                </c:pt>
                <c:pt idx="635">
                  <c:v>134.50108111570054</c:v>
                </c:pt>
                <c:pt idx="636">
                  <c:v>134.50108111570054</c:v>
                </c:pt>
                <c:pt idx="637">
                  <c:v>134.50108111570054</c:v>
                </c:pt>
                <c:pt idx="638">
                  <c:v>134.50108111570054</c:v>
                </c:pt>
                <c:pt idx="639">
                  <c:v>134.50108111570054</c:v>
                </c:pt>
                <c:pt idx="640">
                  <c:v>134.50108111570054</c:v>
                </c:pt>
                <c:pt idx="641">
                  <c:v>134.50108111570054</c:v>
                </c:pt>
                <c:pt idx="642">
                  <c:v>134.50108111570054</c:v>
                </c:pt>
                <c:pt idx="643">
                  <c:v>134.50108111570054</c:v>
                </c:pt>
                <c:pt idx="644">
                  <c:v>134.50108111570054</c:v>
                </c:pt>
                <c:pt idx="645">
                  <c:v>134.50108111570054</c:v>
                </c:pt>
                <c:pt idx="646">
                  <c:v>134.50108111570054</c:v>
                </c:pt>
                <c:pt idx="647">
                  <c:v>134.50108111570054</c:v>
                </c:pt>
                <c:pt idx="648">
                  <c:v>134.50108111570054</c:v>
                </c:pt>
                <c:pt idx="649">
                  <c:v>134.50108111570054</c:v>
                </c:pt>
                <c:pt idx="650">
                  <c:v>134.50108111570054</c:v>
                </c:pt>
                <c:pt idx="651">
                  <c:v>134.50108111570054</c:v>
                </c:pt>
                <c:pt idx="652">
                  <c:v>134.50108111570054</c:v>
                </c:pt>
                <c:pt idx="653">
                  <c:v>134.50108111570054</c:v>
                </c:pt>
                <c:pt idx="654">
                  <c:v>134.50108111570054</c:v>
                </c:pt>
                <c:pt idx="655">
                  <c:v>134.50108111570054</c:v>
                </c:pt>
                <c:pt idx="656">
                  <c:v>134.50108111570054</c:v>
                </c:pt>
                <c:pt idx="657">
                  <c:v>134.50108111570054</c:v>
                </c:pt>
                <c:pt idx="658">
                  <c:v>134.50108111570054</c:v>
                </c:pt>
                <c:pt idx="659">
                  <c:v>134.50108111570054</c:v>
                </c:pt>
                <c:pt idx="660">
                  <c:v>134.50108111570054</c:v>
                </c:pt>
                <c:pt idx="661">
                  <c:v>134.50108111570054</c:v>
                </c:pt>
                <c:pt idx="662">
                  <c:v>134.50108111570054</c:v>
                </c:pt>
                <c:pt idx="663">
                  <c:v>134.50108111570054</c:v>
                </c:pt>
                <c:pt idx="664">
                  <c:v>134.50108111570054</c:v>
                </c:pt>
                <c:pt idx="665">
                  <c:v>134.50108111570054</c:v>
                </c:pt>
                <c:pt idx="666">
                  <c:v>134.50108111570054</c:v>
                </c:pt>
                <c:pt idx="667">
                  <c:v>134.50108111570054</c:v>
                </c:pt>
                <c:pt idx="668">
                  <c:v>134.50108111570054</c:v>
                </c:pt>
                <c:pt idx="669">
                  <c:v>134.50108111570054</c:v>
                </c:pt>
                <c:pt idx="670">
                  <c:v>134.50108111570054</c:v>
                </c:pt>
                <c:pt idx="671">
                  <c:v>134.50108111570054</c:v>
                </c:pt>
                <c:pt idx="672">
                  <c:v>134.50108111570054</c:v>
                </c:pt>
                <c:pt idx="673">
                  <c:v>134.50108111570054</c:v>
                </c:pt>
                <c:pt idx="674">
                  <c:v>134.50108111570054</c:v>
                </c:pt>
                <c:pt idx="675">
                  <c:v>134.50108111570054</c:v>
                </c:pt>
                <c:pt idx="676">
                  <c:v>134.50108111570054</c:v>
                </c:pt>
                <c:pt idx="677">
                  <c:v>134.50108111570054</c:v>
                </c:pt>
                <c:pt idx="678">
                  <c:v>134.50108111570054</c:v>
                </c:pt>
                <c:pt idx="679">
                  <c:v>134.50108111570054</c:v>
                </c:pt>
                <c:pt idx="680">
                  <c:v>134.50108111570054</c:v>
                </c:pt>
                <c:pt idx="681">
                  <c:v>134.50108111570054</c:v>
                </c:pt>
                <c:pt idx="682">
                  <c:v>134.50108111570054</c:v>
                </c:pt>
                <c:pt idx="683">
                  <c:v>134.50108111570054</c:v>
                </c:pt>
                <c:pt idx="684">
                  <c:v>134.50108111570054</c:v>
                </c:pt>
                <c:pt idx="685">
                  <c:v>134.50108111570054</c:v>
                </c:pt>
                <c:pt idx="686">
                  <c:v>134.50108111570054</c:v>
                </c:pt>
                <c:pt idx="687">
                  <c:v>134.50108111570054</c:v>
                </c:pt>
                <c:pt idx="688">
                  <c:v>134.50108111570054</c:v>
                </c:pt>
                <c:pt idx="689">
                  <c:v>134.50108111570054</c:v>
                </c:pt>
                <c:pt idx="690">
                  <c:v>134.50108111570054</c:v>
                </c:pt>
                <c:pt idx="691">
                  <c:v>134.50108111570054</c:v>
                </c:pt>
                <c:pt idx="692">
                  <c:v>134.50108111570054</c:v>
                </c:pt>
                <c:pt idx="693">
                  <c:v>134.50108111570054</c:v>
                </c:pt>
                <c:pt idx="694">
                  <c:v>134.50108111570054</c:v>
                </c:pt>
                <c:pt idx="695">
                  <c:v>134.50108111570054</c:v>
                </c:pt>
                <c:pt idx="696">
                  <c:v>134.50108111570054</c:v>
                </c:pt>
                <c:pt idx="697">
                  <c:v>134.50108111570054</c:v>
                </c:pt>
                <c:pt idx="698">
                  <c:v>134.50108111570054</c:v>
                </c:pt>
                <c:pt idx="699">
                  <c:v>134.50108111570054</c:v>
                </c:pt>
                <c:pt idx="700">
                  <c:v>134.50108111570054</c:v>
                </c:pt>
                <c:pt idx="701">
                  <c:v>134.50108111570054</c:v>
                </c:pt>
                <c:pt idx="702">
                  <c:v>134.50108111570054</c:v>
                </c:pt>
                <c:pt idx="703">
                  <c:v>134.50108111570054</c:v>
                </c:pt>
                <c:pt idx="704">
                  <c:v>134.50108111570054</c:v>
                </c:pt>
                <c:pt idx="705">
                  <c:v>134.50108111570054</c:v>
                </c:pt>
                <c:pt idx="706">
                  <c:v>134.50108111570054</c:v>
                </c:pt>
                <c:pt idx="707">
                  <c:v>134.50108111570054</c:v>
                </c:pt>
                <c:pt idx="708">
                  <c:v>134.50108111570054</c:v>
                </c:pt>
                <c:pt idx="709">
                  <c:v>134.50108111570054</c:v>
                </c:pt>
                <c:pt idx="710">
                  <c:v>134.50108111570054</c:v>
                </c:pt>
                <c:pt idx="711">
                  <c:v>134.50108111570054</c:v>
                </c:pt>
                <c:pt idx="712">
                  <c:v>134.50108111570054</c:v>
                </c:pt>
                <c:pt idx="713">
                  <c:v>134.50108111570054</c:v>
                </c:pt>
                <c:pt idx="714">
                  <c:v>134.50108111570054</c:v>
                </c:pt>
                <c:pt idx="715">
                  <c:v>134.50108111570054</c:v>
                </c:pt>
                <c:pt idx="716">
                  <c:v>134.50108111570054</c:v>
                </c:pt>
                <c:pt idx="717">
                  <c:v>134.50108111570054</c:v>
                </c:pt>
                <c:pt idx="718">
                  <c:v>134.50108111570054</c:v>
                </c:pt>
                <c:pt idx="719">
                  <c:v>134.50108111570054</c:v>
                </c:pt>
                <c:pt idx="720">
                  <c:v>134.50108111570054</c:v>
                </c:pt>
                <c:pt idx="721">
                  <c:v>134.50108111570054</c:v>
                </c:pt>
                <c:pt idx="722">
                  <c:v>134.50108111570054</c:v>
                </c:pt>
                <c:pt idx="723">
                  <c:v>134.50108111570054</c:v>
                </c:pt>
                <c:pt idx="724">
                  <c:v>134.50108111570054</c:v>
                </c:pt>
                <c:pt idx="725">
                  <c:v>134.50108111570054</c:v>
                </c:pt>
                <c:pt idx="726">
                  <c:v>134.50108111570054</c:v>
                </c:pt>
                <c:pt idx="727">
                  <c:v>134.50108111570054</c:v>
                </c:pt>
                <c:pt idx="728">
                  <c:v>134.50108111570054</c:v>
                </c:pt>
                <c:pt idx="729">
                  <c:v>134.50108111570054</c:v>
                </c:pt>
                <c:pt idx="730">
                  <c:v>134.50108111570054</c:v>
                </c:pt>
                <c:pt idx="731">
                  <c:v>134.50108111570054</c:v>
                </c:pt>
                <c:pt idx="732">
                  <c:v>134.50108111570054</c:v>
                </c:pt>
                <c:pt idx="733">
                  <c:v>134.50108111570054</c:v>
                </c:pt>
                <c:pt idx="734">
                  <c:v>134.50108111570054</c:v>
                </c:pt>
                <c:pt idx="735">
                  <c:v>134.50108111570054</c:v>
                </c:pt>
                <c:pt idx="736">
                  <c:v>134.50108111570054</c:v>
                </c:pt>
                <c:pt idx="737">
                  <c:v>134.50108111570054</c:v>
                </c:pt>
                <c:pt idx="738">
                  <c:v>134.50108111570054</c:v>
                </c:pt>
                <c:pt idx="739">
                  <c:v>134.50108111570054</c:v>
                </c:pt>
                <c:pt idx="740">
                  <c:v>134.50108111570054</c:v>
                </c:pt>
                <c:pt idx="741">
                  <c:v>134.50108111570054</c:v>
                </c:pt>
                <c:pt idx="742">
                  <c:v>134.50108111570054</c:v>
                </c:pt>
                <c:pt idx="743">
                  <c:v>134.50108111570054</c:v>
                </c:pt>
                <c:pt idx="744">
                  <c:v>134.50108111570054</c:v>
                </c:pt>
                <c:pt idx="745">
                  <c:v>134.50108111570054</c:v>
                </c:pt>
                <c:pt idx="746">
                  <c:v>134.50108111570054</c:v>
                </c:pt>
                <c:pt idx="747">
                  <c:v>134.50108111570054</c:v>
                </c:pt>
                <c:pt idx="748">
                  <c:v>134.50108111570054</c:v>
                </c:pt>
                <c:pt idx="749">
                  <c:v>134.50108111570054</c:v>
                </c:pt>
                <c:pt idx="750">
                  <c:v>134.50108111570054</c:v>
                </c:pt>
                <c:pt idx="751">
                  <c:v>134.50108111570054</c:v>
                </c:pt>
                <c:pt idx="752">
                  <c:v>134.50108111570054</c:v>
                </c:pt>
                <c:pt idx="753">
                  <c:v>134.50108111570054</c:v>
                </c:pt>
                <c:pt idx="754">
                  <c:v>134.50108111570054</c:v>
                </c:pt>
                <c:pt idx="755">
                  <c:v>134.50108111570054</c:v>
                </c:pt>
                <c:pt idx="756">
                  <c:v>134.50108111570054</c:v>
                </c:pt>
                <c:pt idx="757">
                  <c:v>134.50108111570054</c:v>
                </c:pt>
                <c:pt idx="758">
                  <c:v>134.50108111570054</c:v>
                </c:pt>
                <c:pt idx="759">
                  <c:v>134.50108111570054</c:v>
                </c:pt>
                <c:pt idx="760">
                  <c:v>134.50108111570054</c:v>
                </c:pt>
                <c:pt idx="761">
                  <c:v>134.50108111570054</c:v>
                </c:pt>
                <c:pt idx="762">
                  <c:v>134.50108111570054</c:v>
                </c:pt>
                <c:pt idx="763">
                  <c:v>134.50108111570054</c:v>
                </c:pt>
                <c:pt idx="764">
                  <c:v>134.50108111570054</c:v>
                </c:pt>
                <c:pt idx="765">
                  <c:v>134.50108111570054</c:v>
                </c:pt>
                <c:pt idx="766">
                  <c:v>134.50108111570054</c:v>
                </c:pt>
                <c:pt idx="767">
                  <c:v>134.50108111570054</c:v>
                </c:pt>
                <c:pt idx="768">
                  <c:v>134.50108111570054</c:v>
                </c:pt>
                <c:pt idx="769">
                  <c:v>134.50108111570054</c:v>
                </c:pt>
                <c:pt idx="770">
                  <c:v>134.50108111570054</c:v>
                </c:pt>
                <c:pt idx="771">
                  <c:v>134.50108111570054</c:v>
                </c:pt>
                <c:pt idx="772">
                  <c:v>134.50108111570054</c:v>
                </c:pt>
                <c:pt idx="773">
                  <c:v>134.50108111570054</c:v>
                </c:pt>
                <c:pt idx="774">
                  <c:v>134.50108111570054</c:v>
                </c:pt>
                <c:pt idx="775">
                  <c:v>134.50108111570054</c:v>
                </c:pt>
                <c:pt idx="776">
                  <c:v>134.50108111570054</c:v>
                </c:pt>
                <c:pt idx="777">
                  <c:v>134.50108111570054</c:v>
                </c:pt>
                <c:pt idx="778">
                  <c:v>134.50108111570054</c:v>
                </c:pt>
                <c:pt idx="779">
                  <c:v>134.50108111570054</c:v>
                </c:pt>
                <c:pt idx="780">
                  <c:v>134.50108111570054</c:v>
                </c:pt>
                <c:pt idx="781">
                  <c:v>134.50108111570054</c:v>
                </c:pt>
                <c:pt idx="782">
                  <c:v>134.50108111570054</c:v>
                </c:pt>
                <c:pt idx="783">
                  <c:v>134.50108111570054</c:v>
                </c:pt>
                <c:pt idx="784">
                  <c:v>134.50108111570054</c:v>
                </c:pt>
                <c:pt idx="785">
                  <c:v>134.50108111570054</c:v>
                </c:pt>
                <c:pt idx="786">
                  <c:v>134.50108111570054</c:v>
                </c:pt>
                <c:pt idx="787">
                  <c:v>134.50108111570054</c:v>
                </c:pt>
                <c:pt idx="788">
                  <c:v>134.50108111570054</c:v>
                </c:pt>
                <c:pt idx="789">
                  <c:v>134.50108111570054</c:v>
                </c:pt>
                <c:pt idx="790">
                  <c:v>134.50108111570054</c:v>
                </c:pt>
                <c:pt idx="791">
                  <c:v>134.50108111570054</c:v>
                </c:pt>
                <c:pt idx="792">
                  <c:v>134.50108111570054</c:v>
                </c:pt>
                <c:pt idx="793">
                  <c:v>134.50108111570054</c:v>
                </c:pt>
                <c:pt idx="794">
                  <c:v>134.50108111570054</c:v>
                </c:pt>
                <c:pt idx="795">
                  <c:v>134.50108111570054</c:v>
                </c:pt>
                <c:pt idx="796">
                  <c:v>134.50108111570054</c:v>
                </c:pt>
                <c:pt idx="797">
                  <c:v>134.50108111570054</c:v>
                </c:pt>
                <c:pt idx="798">
                  <c:v>134.50108111570054</c:v>
                </c:pt>
                <c:pt idx="799">
                  <c:v>134.50108111570054</c:v>
                </c:pt>
                <c:pt idx="800">
                  <c:v>134.50108111570054</c:v>
                </c:pt>
                <c:pt idx="801">
                  <c:v>134.50108111570054</c:v>
                </c:pt>
                <c:pt idx="802">
                  <c:v>134.50108111570054</c:v>
                </c:pt>
                <c:pt idx="803">
                  <c:v>134.50108111570054</c:v>
                </c:pt>
                <c:pt idx="804">
                  <c:v>134.50108111570054</c:v>
                </c:pt>
                <c:pt idx="805">
                  <c:v>134.50108111570054</c:v>
                </c:pt>
                <c:pt idx="806">
                  <c:v>134.50108111570054</c:v>
                </c:pt>
                <c:pt idx="807">
                  <c:v>134.50108111570054</c:v>
                </c:pt>
                <c:pt idx="808">
                  <c:v>134.50108111570054</c:v>
                </c:pt>
                <c:pt idx="809">
                  <c:v>134.50108111570054</c:v>
                </c:pt>
                <c:pt idx="810">
                  <c:v>134.50108111570054</c:v>
                </c:pt>
                <c:pt idx="811">
                  <c:v>134.50108111570054</c:v>
                </c:pt>
                <c:pt idx="812">
                  <c:v>134.50108111570054</c:v>
                </c:pt>
                <c:pt idx="813">
                  <c:v>134.50108111570054</c:v>
                </c:pt>
                <c:pt idx="814">
                  <c:v>134.50108111570054</c:v>
                </c:pt>
                <c:pt idx="815">
                  <c:v>134.50108111570054</c:v>
                </c:pt>
                <c:pt idx="816">
                  <c:v>134.50108111570054</c:v>
                </c:pt>
                <c:pt idx="817">
                  <c:v>134.50108111570054</c:v>
                </c:pt>
                <c:pt idx="818">
                  <c:v>134.50108111570054</c:v>
                </c:pt>
                <c:pt idx="819">
                  <c:v>134.50108111570054</c:v>
                </c:pt>
                <c:pt idx="820">
                  <c:v>134.50108111570054</c:v>
                </c:pt>
                <c:pt idx="821">
                  <c:v>134.50108111570054</c:v>
                </c:pt>
                <c:pt idx="822">
                  <c:v>134.50108111570054</c:v>
                </c:pt>
                <c:pt idx="823">
                  <c:v>134.50108111570054</c:v>
                </c:pt>
                <c:pt idx="824">
                  <c:v>134.50108111570054</c:v>
                </c:pt>
                <c:pt idx="825">
                  <c:v>134.50108111570054</c:v>
                </c:pt>
                <c:pt idx="826">
                  <c:v>134.50108111570054</c:v>
                </c:pt>
                <c:pt idx="827">
                  <c:v>134.50108111570054</c:v>
                </c:pt>
                <c:pt idx="828">
                  <c:v>134.50108111570054</c:v>
                </c:pt>
                <c:pt idx="829">
                  <c:v>134.50108111570054</c:v>
                </c:pt>
                <c:pt idx="830">
                  <c:v>134.50108111570054</c:v>
                </c:pt>
                <c:pt idx="831">
                  <c:v>134.50108111570054</c:v>
                </c:pt>
                <c:pt idx="832">
                  <c:v>134.50108111570054</c:v>
                </c:pt>
                <c:pt idx="833">
                  <c:v>134.50108111570054</c:v>
                </c:pt>
                <c:pt idx="834">
                  <c:v>134.50108111570054</c:v>
                </c:pt>
                <c:pt idx="835">
                  <c:v>134.50108111570054</c:v>
                </c:pt>
                <c:pt idx="836">
                  <c:v>134.50108111570054</c:v>
                </c:pt>
                <c:pt idx="837">
                  <c:v>134.50108111570054</c:v>
                </c:pt>
                <c:pt idx="838">
                  <c:v>134.50108111570054</c:v>
                </c:pt>
                <c:pt idx="839">
                  <c:v>134.50108111570054</c:v>
                </c:pt>
                <c:pt idx="840">
                  <c:v>134.50108111570054</c:v>
                </c:pt>
                <c:pt idx="841">
                  <c:v>134.50108111570054</c:v>
                </c:pt>
                <c:pt idx="842">
                  <c:v>134.50108111570054</c:v>
                </c:pt>
                <c:pt idx="843">
                  <c:v>134.50108111570054</c:v>
                </c:pt>
                <c:pt idx="844">
                  <c:v>134.50108111570054</c:v>
                </c:pt>
                <c:pt idx="845">
                  <c:v>134.50108111570054</c:v>
                </c:pt>
                <c:pt idx="846">
                  <c:v>134.50108111570054</c:v>
                </c:pt>
                <c:pt idx="847">
                  <c:v>134.50108111570054</c:v>
                </c:pt>
                <c:pt idx="848">
                  <c:v>134.50108111570054</c:v>
                </c:pt>
                <c:pt idx="849">
                  <c:v>134.50108111570054</c:v>
                </c:pt>
                <c:pt idx="850">
                  <c:v>134.50108111570054</c:v>
                </c:pt>
                <c:pt idx="851">
                  <c:v>134.50108111570054</c:v>
                </c:pt>
                <c:pt idx="852">
                  <c:v>134.50108111570054</c:v>
                </c:pt>
                <c:pt idx="853">
                  <c:v>134.50108111570054</c:v>
                </c:pt>
                <c:pt idx="854">
                  <c:v>134.50108111570054</c:v>
                </c:pt>
                <c:pt idx="855">
                  <c:v>134.50108111570054</c:v>
                </c:pt>
                <c:pt idx="856">
                  <c:v>134.50108111570054</c:v>
                </c:pt>
                <c:pt idx="857">
                  <c:v>134.50108111570054</c:v>
                </c:pt>
                <c:pt idx="858">
                  <c:v>134.50108111570054</c:v>
                </c:pt>
                <c:pt idx="859">
                  <c:v>134.50108111570054</c:v>
                </c:pt>
                <c:pt idx="860">
                  <c:v>134.50108111570054</c:v>
                </c:pt>
                <c:pt idx="861">
                  <c:v>134.50108111570054</c:v>
                </c:pt>
                <c:pt idx="862">
                  <c:v>134.50108111570054</c:v>
                </c:pt>
                <c:pt idx="863">
                  <c:v>134.50108111570054</c:v>
                </c:pt>
                <c:pt idx="864">
                  <c:v>134.50108111570054</c:v>
                </c:pt>
                <c:pt idx="865">
                  <c:v>134.50108111570054</c:v>
                </c:pt>
                <c:pt idx="866">
                  <c:v>134.50108111570054</c:v>
                </c:pt>
                <c:pt idx="867">
                  <c:v>134.50108111570054</c:v>
                </c:pt>
                <c:pt idx="868">
                  <c:v>134.50108111570054</c:v>
                </c:pt>
                <c:pt idx="869">
                  <c:v>134.50108111570054</c:v>
                </c:pt>
                <c:pt idx="870">
                  <c:v>134.50108111570054</c:v>
                </c:pt>
                <c:pt idx="871">
                  <c:v>134.50108111570054</c:v>
                </c:pt>
                <c:pt idx="872">
                  <c:v>134.50108111570054</c:v>
                </c:pt>
                <c:pt idx="873">
                  <c:v>134.50108111570054</c:v>
                </c:pt>
                <c:pt idx="874">
                  <c:v>134.50108111570054</c:v>
                </c:pt>
                <c:pt idx="875">
                  <c:v>134.50108111570054</c:v>
                </c:pt>
                <c:pt idx="876">
                  <c:v>134.50108111570054</c:v>
                </c:pt>
                <c:pt idx="877">
                  <c:v>134.50108111570054</c:v>
                </c:pt>
                <c:pt idx="878">
                  <c:v>134.50108111570054</c:v>
                </c:pt>
                <c:pt idx="879">
                  <c:v>134.50108111570054</c:v>
                </c:pt>
                <c:pt idx="880">
                  <c:v>134.50108111570054</c:v>
                </c:pt>
                <c:pt idx="881">
                  <c:v>134.50108111570054</c:v>
                </c:pt>
                <c:pt idx="882">
                  <c:v>134.50108111570054</c:v>
                </c:pt>
                <c:pt idx="883">
                  <c:v>134.50108111570054</c:v>
                </c:pt>
                <c:pt idx="884">
                  <c:v>134.50108111570054</c:v>
                </c:pt>
                <c:pt idx="885">
                  <c:v>134.50108111570054</c:v>
                </c:pt>
                <c:pt idx="886">
                  <c:v>134.50108111570054</c:v>
                </c:pt>
                <c:pt idx="887">
                  <c:v>134.50108111570054</c:v>
                </c:pt>
                <c:pt idx="888">
                  <c:v>134.50108111570054</c:v>
                </c:pt>
                <c:pt idx="889">
                  <c:v>134.50108111570054</c:v>
                </c:pt>
                <c:pt idx="890">
                  <c:v>134.50108111570054</c:v>
                </c:pt>
                <c:pt idx="891">
                  <c:v>134.50108111570054</c:v>
                </c:pt>
                <c:pt idx="892">
                  <c:v>134.50108111570054</c:v>
                </c:pt>
                <c:pt idx="893">
                  <c:v>134.50108111570054</c:v>
                </c:pt>
                <c:pt idx="894">
                  <c:v>134.50108111570054</c:v>
                </c:pt>
                <c:pt idx="895">
                  <c:v>134.50108111570054</c:v>
                </c:pt>
                <c:pt idx="896">
                  <c:v>134.50108111570054</c:v>
                </c:pt>
                <c:pt idx="897">
                  <c:v>134.50108111570054</c:v>
                </c:pt>
                <c:pt idx="898">
                  <c:v>134.50108111570054</c:v>
                </c:pt>
                <c:pt idx="899">
                  <c:v>134.50108111570054</c:v>
                </c:pt>
                <c:pt idx="900">
                  <c:v>134.50108111570054</c:v>
                </c:pt>
                <c:pt idx="901">
                  <c:v>134.50108111570054</c:v>
                </c:pt>
                <c:pt idx="902">
                  <c:v>134.50108111570054</c:v>
                </c:pt>
                <c:pt idx="903">
                  <c:v>134.50108111570054</c:v>
                </c:pt>
                <c:pt idx="904">
                  <c:v>134.50108111570054</c:v>
                </c:pt>
                <c:pt idx="905">
                  <c:v>134.50108111570054</c:v>
                </c:pt>
                <c:pt idx="906">
                  <c:v>134.50108111570054</c:v>
                </c:pt>
                <c:pt idx="907">
                  <c:v>134.50108111570054</c:v>
                </c:pt>
                <c:pt idx="908">
                  <c:v>134.50108111570054</c:v>
                </c:pt>
                <c:pt idx="909">
                  <c:v>134.50108111570054</c:v>
                </c:pt>
                <c:pt idx="910">
                  <c:v>134.50108111570054</c:v>
                </c:pt>
                <c:pt idx="911">
                  <c:v>134.50108111570054</c:v>
                </c:pt>
                <c:pt idx="912">
                  <c:v>134.50108111570054</c:v>
                </c:pt>
                <c:pt idx="913">
                  <c:v>134.50108111570054</c:v>
                </c:pt>
                <c:pt idx="914">
                  <c:v>134.50108111570054</c:v>
                </c:pt>
                <c:pt idx="915">
                  <c:v>134.50108111570054</c:v>
                </c:pt>
                <c:pt idx="916">
                  <c:v>134.50108111570054</c:v>
                </c:pt>
                <c:pt idx="917">
                  <c:v>134.50108111570054</c:v>
                </c:pt>
                <c:pt idx="918">
                  <c:v>134.50108111570054</c:v>
                </c:pt>
                <c:pt idx="919">
                  <c:v>134.50108111570054</c:v>
                </c:pt>
                <c:pt idx="920">
                  <c:v>134.50108111570054</c:v>
                </c:pt>
                <c:pt idx="921">
                  <c:v>134.50108111570054</c:v>
                </c:pt>
                <c:pt idx="922">
                  <c:v>134.50108111570054</c:v>
                </c:pt>
                <c:pt idx="923">
                  <c:v>134.50108111570054</c:v>
                </c:pt>
                <c:pt idx="924">
                  <c:v>134.50108111570054</c:v>
                </c:pt>
                <c:pt idx="925">
                  <c:v>134.50108111570054</c:v>
                </c:pt>
                <c:pt idx="926">
                  <c:v>134.50108111570054</c:v>
                </c:pt>
                <c:pt idx="927">
                  <c:v>134.50108111570054</c:v>
                </c:pt>
                <c:pt idx="928">
                  <c:v>134.50108111570054</c:v>
                </c:pt>
                <c:pt idx="929">
                  <c:v>134.50108111570054</c:v>
                </c:pt>
                <c:pt idx="930">
                  <c:v>134.50108111570054</c:v>
                </c:pt>
                <c:pt idx="931">
                  <c:v>134.50108111570054</c:v>
                </c:pt>
                <c:pt idx="932">
                  <c:v>134.50108111570054</c:v>
                </c:pt>
                <c:pt idx="933">
                  <c:v>134.50108111570054</c:v>
                </c:pt>
                <c:pt idx="934">
                  <c:v>134.50108111570054</c:v>
                </c:pt>
                <c:pt idx="935">
                  <c:v>134.50108111570054</c:v>
                </c:pt>
                <c:pt idx="936">
                  <c:v>134.50108111570054</c:v>
                </c:pt>
                <c:pt idx="937">
                  <c:v>134.50108111570054</c:v>
                </c:pt>
                <c:pt idx="938">
                  <c:v>134.50108111570054</c:v>
                </c:pt>
                <c:pt idx="939">
                  <c:v>134.50108111570054</c:v>
                </c:pt>
                <c:pt idx="940">
                  <c:v>134.50108111570054</c:v>
                </c:pt>
                <c:pt idx="941">
                  <c:v>134.50108111570054</c:v>
                </c:pt>
                <c:pt idx="942">
                  <c:v>134.50108111570054</c:v>
                </c:pt>
                <c:pt idx="943">
                  <c:v>134.50108111570054</c:v>
                </c:pt>
                <c:pt idx="944">
                  <c:v>134.50108111570054</c:v>
                </c:pt>
                <c:pt idx="945">
                  <c:v>134.50108111570054</c:v>
                </c:pt>
                <c:pt idx="946">
                  <c:v>134.50108111570054</c:v>
                </c:pt>
                <c:pt idx="947">
                  <c:v>134.50108111570054</c:v>
                </c:pt>
                <c:pt idx="948">
                  <c:v>134.50108111570054</c:v>
                </c:pt>
                <c:pt idx="949">
                  <c:v>134.50108111570054</c:v>
                </c:pt>
                <c:pt idx="950">
                  <c:v>134.50108111570054</c:v>
                </c:pt>
                <c:pt idx="951">
                  <c:v>134.50108111570054</c:v>
                </c:pt>
                <c:pt idx="952">
                  <c:v>134.50108111570054</c:v>
                </c:pt>
                <c:pt idx="953">
                  <c:v>134.50108111570054</c:v>
                </c:pt>
                <c:pt idx="954">
                  <c:v>134.50108111570054</c:v>
                </c:pt>
                <c:pt idx="955">
                  <c:v>134.50108111570054</c:v>
                </c:pt>
                <c:pt idx="956">
                  <c:v>134.50108111570054</c:v>
                </c:pt>
                <c:pt idx="957">
                  <c:v>134.50108111570054</c:v>
                </c:pt>
                <c:pt idx="958">
                  <c:v>134.50108111570054</c:v>
                </c:pt>
                <c:pt idx="959">
                  <c:v>134.50108111570054</c:v>
                </c:pt>
                <c:pt idx="960">
                  <c:v>134.50108111570054</c:v>
                </c:pt>
                <c:pt idx="961">
                  <c:v>134.50108111570054</c:v>
                </c:pt>
                <c:pt idx="962">
                  <c:v>134.50108111570054</c:v>
                </c:pt>
                <c:pt idx="963">
                  <c:v>134.50108111570054</c:v>
                </c:pt>
                <c:pt idx="964">
                  <c:v>134.50108111570054</c:v>
                </c:pt>
                <c:pt idx="965">
                  <c:v>134.50108111570054</c:v>
                </c:pt>
                <c:pt idx="966">
                  <c:v>134.50108111570054</c:v>
                </c:pt>
                <c:pt idx="967">
                  <c:v>134.50108111570054</c:v>
                </c:pt>
                <c:pt idx="968">
                  <c:v>134.50108111570054</c:v>
                </c:pt>
                <c:pt idx="969">
                  <c:v>134.50108111570054</c:v>
                </c:pt>
                <c:pt idx="970">
                  <c:v>134.50108111570054</c:v>
                </c:pt>
                <c:pt idx="971">
                  <c:v>134.50108111570054</c:v>
                </c:pt>
                <c:pt idx="972">
                  <c:v>134.50108111570054</c:v>
                </c:pt>
                <c:pt idx="973">
                  <c:v>134.50108111570054</c:v>
                </c:pt>
                <c:pt idx="974">
                  <c:v>134.50108111570054</c:v>
                </c:pt>
                <c:pt idx="975">
                  <c:v>134.50108111570054</c:v>
                </c:pt>
                <c:pt idx="976">
                  <c:v>134.50108111570054</c:v>
                </c:pt>
                <c:pt idx="977">
                  <c:v>134.50108111570054</c:v>
                </c:pt>
                <c:pt idx="978">
                  <c:v>134.50108111570054</c:v>
                </c:pt>
                <c:pt idx="979">
                  <c:v>134.50108111570054</c:v>
                </c:pt>
                <c:pt idx="980">
                  <c:v>134.50108111570054</c:v>
                </c:pt>
                <c:pt idx="981">
                  <c:v>134.50108111570054</c:v>
                </c:pt>
                <c:pt idx="982">
                  <c:v>134.50108111570054</c:v>
                </c:pt>
                <c:pt idx="983">
                  <c:v>134.50108111570054</c:v>
                </c:pt>
                <c:pt idx="984">
                  <c:v>134.50108111570054</c:v>
                </c:pt>
                <c:pt idx="985">
                  <c:v>134.50108111570054</c:v>
                </c:pt>
                <c:pt idx="986">
                  <c:v>134.50108111570054</c:v>
                </c:pt>
                <c:pt idx="987">
                  <c:v>134.50108111570054</c:v>
                </c:pt>
                <c:pt idx="988">
                  <c:v>134.50108111570054</c:v>
                </c:pt>
                <c:pt idx="989">
                  <c:v>134.50108111570054</c:v>
                </c:pt>
                <c:pt idx="990">
                  <c:v>134.50108111570054</c:v>
                </c:pt>
                <c:pt idx="991">
                  <c:v>134.50108111570054</c:v>
                </c:pt>
                <c:pt idx="992">
                  <c:v>134.50108111570054</c:v>
                </c:pt>
                <c:pt idx="993">
                  <c:v>134.50108111570054</c:v>
                </c:pt>
                <c:pt idx="994">
                  <c:v>134.50108111570054</c:v>
                </c:pt>
                <c:pt idx="995">
                  <c:v>134.50108111570054</c:v>
                </c:pt>
                <c:pt idx="996">
                  <c:v>134.50108111570054</c:v>
                </c:pt>
                <c:pt idx="997">
                  <c:v>134.50108111570054</c:v>
                </c:pt>
                <c:pt idx="998">
                  <c:v>134.50108111570054</c:v>
                </c:pt>
                <c:pt idx="999">
                  <c:v>134.50108111570054</c:v>
                </c:pt>
                <c:pt idx="1000">
                  <c:v>134.50108111570054</c:v>
                </c:pt>
                <c:pt idx="1001">
                  <c:v>134.50108111570054</c:v>
                </c:pt>
                <c:pt idx="1002">
                  <c:v>134.50108111570054</c:v>
                </c:pt>
                <c:pt idx="1003">
                  <c:v>134.50108111570054</c:v>
                </c:pt>
                <c:pt idx="1004">
                  <c:v>134.50108111570054</c:v>
                </c:pt>
                <c:pt idx="1005">
                  <c:v>134.50108111570054</c:v>
                </c:pt>
                <c:pt idx="1006">
                  <c:v>134.50108111570054</c:v>
                </c:pt>
                <c:pt idx="1007">
                  <c:v>134.50108111570054</c:v>
                </c:pt>
                <c:pt idx="1008">
                  <c:v>134.50108111570054</c:v>
                </c:pt>
                <c:pt idx="1009">
                  <c:v>134.50108111570054</c:v>
                </c:pt>
                <c:pt idx="1010">
                  <c:v>134.50108111570054</c:v>
                </c:pt>
                <c:pt idx="1011">
                  <c:v>134.50108111570054</c:v>
                </c:pt>
                <c:pt idx="1012">
                  <c:v>134.50108111570054</c:v>
                </c:pt>
                <c:pt idx="1013">
                  <c:v>134.50108111570054</c:v>
                </c:pt>
                <c:pt idx="1014">
                  <c:v>134.50108111570054</c:v>
                </c:pt>
                <c:pt idx="1015">
                  <c:v>134.50108111570054</c:v>
                </c:pt>
                <c:pt idx="1016">
                  <c:v>134.50108111570054</c:v>
                </c:pt>
                <c:pt idx="1017">
                  <c:v>134.50108111570054</c:v>
                </c:pt>
                <c:pt idx="1018">
                  <c:v>134.50108111570054</c:v>
                </c:pt>
                <c:pt idx="1019">
                  <c:v>134.50108111570054</c:v>
                </c:pt>
                <c:pt idx="1020">
                  <c:v>134.50108111570054</c:v>
                </c:pt>
                <c:pt idx="1021">
                  <c:v>134.50108111570054</c:v>
                </c:pt>
                <c:pt idx="1022">
                  <c:v>134.50108111570054</c:v>
                </c:pt>
                <c:pt idx="1023">
                  <c:v>134.50108111570054</c:v>
                </c:pt>
                <c:pt idx="1024">
                  <c:v>134.50108111570054</c:v>
                </c:pt>
                <c:pt idx="1025">
                  <c:v>134.50108111570054</c:v>
                </c:pt>
                <c:pt idx="1026">
                  <c:v>134.50108111570054</c:v>
                </c:pt>
                <c:pt idx="1027">
                  <c:v>134.50108111570054</c:v>
                </c:pt>
                <c:pt idx="1028">
                  <c:v>134.50108111570054</c:v>
                </c:pt>
                <c:pt idx="1029">
                  <c:v>134.50108111570054</c:v>
                </c:pt>
                <c:pt idx="1030">
                  <c:v>134.50108111570054</c:v>
                </c:pt>
                <c:pt idx="1031">
                  <c:v>134.50108111570054</c:v>
                </c:pt>
                <c:pt idx="1032">
                  <c:v>134.50108111570054</c:v>
                </c:pt>
                <c:pt idx="1033">
                  <c:v>134.50108111570054</c:v>
                </c:pt>
                <c:pt idx="1034">
                  <c:v>134.50108111570054</c:v>
                </c:pt>
                <c:pt idx="1035">
                  <c:v>134.50108111570054</c:v>
                </c:pt>
                <c:pt idx="1036">
                  <c:v>134.50108111570054</c:v>
                </c:pt>
                <c:pt idx="1037">
                  <c:v>134.50108111570054</c:v>
                </c:pt>
                <c:pt idx="1038">
                  <c:v>134.50108111570054</c:v>
                </c:pt>
                <c:pt idx="1039">
                  <c:v>134.50108111570054</c:v>
                </c:pt>
                <c:pt idx="1040">
                  <c:v>134.50108111570054</c:v>
                </c:pt>
                <c:pt idx="1041">
                  <c:v>134.50108111570054</c:v>
                </c:pt>
                <c:pt idx="1042">
                  <c:v>134.50108111570054</c:v>
                </c:pt>
                <c:pt idx="1043">
                  <c:v>134.50108111570054</c:v>
                </c:pt>
                <c:pt idx="1044">
                  <c:v>134.50108111570054</c:v>
                </c:pt>
                <c:pt idx="1045">
                  <c:v>134.50108111570054</c:v>
                </c:pt>
                <c:pt idx="1046">
                  <c:v>134.50108111570054</c:v>
                </c:pt>
                <c:pt idx="1047">
                  <c:v>134.50108111570054</c:v>
                </c:pt>
                <c:pt idx="1048">
                  <c:v>134.50108111570054</c:v>
                </c:pt>
                <c:pt idx="1049">
                  <c:v>134.50108111570054</c:v>
                </c:pt>
                <c:pt idx="1050">
                  <c:v>134.50108111570054</c:v>
                </c:pt>
                <c:pt idx="1051">
                  <c:v>134.50108111570054</c:v>
                </c:pt>
                <c:pt idx="1052">
                  <c:v>134.50108111570054</c:v>
                </c:pt>
                <c:pt idx="1053">
                  <c:v>134.50108111570054</c:v>
                </c:pt>
                <c:pt idx="1054">
                  <c:v>134.50108111570054</c:v>
                </c:pt>
                <c:pt idx="1055">
                  <c:v>134.50108111570054</c:v>
                </c:pt>
                <c:pt idx="1056">
                  <c:v>134.50108111570054</c:v>
                </c:pt>
                <c:pt idx="1057">
                  <c:v>134.50108111570054</c:v>
                </c:pt>
                <c:pt idx="1058">
                  <c:v>134.50108111570054</c:v>
                </c:pt>
                <c:pt idx="1059">
                  <c:v>134.50108111570054</c:v>
                </c:pt>
                <c:pt idx="1060">
                  <c:v>134.50108111570054</c:v>
                </c:pt>
                <c:pt idx="1061">
                  <c:v>134.50108111570054</c:v>
                </c:pt>
                <c:pt idx="1062">
                  <c:v>134.50108111570054</c:v>
                </c:pt>
                <c:pt idx="1063">
                  <c:v>134.50108111570054</c:v>
                </c:pt>
                <c:pt idx="1064">
                  <c:v>134.50108111570054</c:v>
                </c:pt>
                <c:pt idx="1065">
                  <c:v>134.50108111570054</c:v>
                </c:pt>
                <c:pt idx="1066">
                  <c:v>134.50108111570054</c:v>
                </c:pt>
                <c:pt idx="1067">
                  <c:v>134.50108111570054</c:v>
                </c:pt>
                <c:pt idx="1068">
                  <c:v>134.50108111570054</c:v>
                </c:pt>
                <c:pt idx="1069">
                  <c:v>134.50108111570054</c:v>
                </c:pt>
                <c:pt idx="1070">
                  <c:v>134.50108111570054</c:v>
                </c:pt>
                <c:pt idx="1071">
                  <c:v>134.50108111570054</c:v>
                </c:pt>
                <c:pt idx="1072">
                  <c:v>134.50108111570054</c:v>
                </c:pt>
                <c:pt idx="1073">
                  <c:v>134.50108111570054</c:v>
                </c:pt>
                <c:pt idx="1074">
                  <c:v>134.50108111570054</c:v>
                </c:pt>
                <c:pt idx="1075">
                  <c:v>134.50108111570054</c:v>
                </c:pt>
                <c:pt idx="1076">
                  <c:v>134.50108111570054</c:v>
                </c:pt>
                <c:pt idx="1077">
                  <c:v>134.50108111570054</c:v>
                </c:pt>
                <c:pt idx="1078">
                  <c:v>134.50108111570054</c:v>
                </c:pt>
                <c:pt idx="1079">
                  <c:v>134.50108111570054</c:v>
                </c:pt>
                <c:pt idx="1080">
                  <c:v>134.50108111570054</c:v>
                </c:pt>
                <c:pt idx="1081">
                  <c:v>134.50108111570054</c:v>
                </c:pt>
                <c:pt idx="1082">
                  <c:v>134.50108111570054</c:v>
                </c:pt>
                <c:pt idx="1083">
                  <c:v>134.50108111570054</c:v>
                </c:pt>
                <c:pt idx="1084">
                  <c:v>134.50108111570054</c:v>
                </c:pt>
                <c:pt idx="1085">
                  <c:v>134.50108111570054</c:v>
                </c:pt>
                <c:pt idx="1086">
                  <c:v>134.50108111570054</c:v>
                </c:pt>
                <c:pt idx="1087">
                  <c:v>134.50108111570054</c:v>
                </c:pt>
                <c:pt idx="1088">
                  <c:v>134.50108111570054</c:v>
                </c:pt>
                <c:pt idx="1089">
                  <c:v>134.50108111570054</c:v>
                </c:pt>
                <c:pt idx="1090">
                  <c:v>134.50108111570054</c:v>
                </c:pt>
                <c:pt idx="1091">
                  <c:v>134.50108111570054</c:v>
                </c:pt>
                <c:pt idx="1092">
                  <c:v>134.50108111570054</c:v>
                </c:pt>
                <c:pt idx="1093">
                  <c:v>134.50108111570054</c:v>
                </c:pt>
                <c:pt idx="1094">
                  <c:v>134.50108111570054</c:v>
                </c:pt>
                <c:pt idx="1095">
                  <c:v>134.50108111570054</c:v>
                </c:pt>
                <c:pt idx="1096">
                  <c:v>134.50108111570054</c:v>
                </c:pt>
                <c:pt idx="1097">
                  <c:v>134.50108111570054</c:v>
                </c:pt>
                <c:pt idx="1098">
                  <c:v>134.50108111570054</c:v>
                </c:pt>
                <c:pt idx="1099">
                  <c:v>134.50108111570054</c:v>
                </c:pt>
                <c:pt idx="1100">
                  <c:v>134.50108111570054</c:v>
                </c:pt>
                <c:pt idx="1101">
                  <c:v>134.50108111570054</c:v>
                </c:pt>
                <c:pt idx="1102">
                  <c:v>134.50108111570054</c:v>
                </c:pt>
                <c:pt idx="1103">
                  <c:v>134.50108111570054</c:v>
                </c:pt>
                <c:pt idx="1104">
                  <c:v>134.50108111570054</c:v>
                </c:pt>
                <c:pt idx="1105">
                  <c:v>134.50108111570054</c:v>
                </c:pt>
                <c:pt idx="1106">
                  <c:v>134.50108111570054</c:v>
                </c:pt>
                <c:pt idx="1107">
                  <c:v>134.50108111570054</c:v>
                </c:pt>
                <c:pt idx="1108">
                  <c:v>134.50108111570054</c:v>
                </c:pt>
                <c:pt idx="1109">
                  <c:v>134.50108111570054</c:v>
                </c:pt>
                <c:pt idx="1110">
                  <c:v>134.50108111570054</c:v>
                </c:pt>
                <c:pt idx="1111">
                  <c:v>134.50108111570054</c:v>
                </c:pt>
                <c:pt idx="1112">
                  <c:v>134.50108111570054</c:v>
                </c:pt>
                <c:pt idx="1113">
                  <c:v>134.50108111570054</c:v>
                </c:pt>
                <c:pt idx="1114">
                  <c:v>134.50108111570054</c:v>
                </c:pt>
                <c:pt idx="1115">
                  <c:v>134.50108111570054</c:v>
                </c:pt>
                <c:pt idx="1116">
                  <c:v>134.50108111570054</c:v>
                </c:pt>
                <c:pt idx="1117">
                  <c:v>134.50108111570054</c:v>
                </c:pt>
                <c:pt idx="1118">
                  <c:v>134.50108111570054</c:v>
                </c:pt>
                <c:pt idx="1119">
                  <c:v>134.50108111570054</c:v>
                </c:pt>
                <c:pt idx="1120">
                  <c:v>134.50108111570054</c:v>
                </c:pt>
                <c:pt idx="1121">
                  <c:v>134.50108111570054</c:v>
                </c:pt>
                <c:pt idx="1122">
                  <c:v>134.50108111570054</c:v>
                </c:pt>
                <c:pt idx="1123">
                  <c:v>134.50108111570054</c:v>
                </c:pt>
                <c:pt idx="1124">
                  <c:v>134.50108111570054</c:v>
                </c:pt>
                <c:pt idx="1125">
                  <c:v>134.50108111570054</c:v>
                </c:pt>
                <c:pt idx="1126">
                  <c:v>134.50108111570054</c:v>
                </c:pt>
                <c:pt idx="1127">
                  <c:v>134.50108111570054</c:v>
                </c:pt>
                <c:pt idx="1128">
                  <c:v>134.50108111570054</c:v>
                </c:pt>
                <c:pt idx="1129">
                  <c:v>134.50108111570054</c:v>
                </c:pt>
                <c:pt idx="1130">
                  <c:v>134.50108111570054</c:v>
                </c:pt>
                <c:pt idx="1131">
                  <c:v>134.50108111570054</c:v>
                </c:pt>
                <c:pt idx="1132">
                  <c:v>134.50108111570054</c:v>
                </c:pt>
                <c:pt idx="1133">
                  <c:v>134.50108111570054</c:v>
                </c:pt>
                <c:pt idx="1134">
                  <c:v>134.50108111570054</c:v>
                </c:pt>
                <c:pt idx="1135">
                  <c:v>134.50108111570054</c:v>
                </c:pt>
                <c:pt idx="1136">
                  <c:v>134.50108111570054</c:v>
                </c:pt>
                <c:pt idx="1137">
                  <c:v>134.50108111570054</c:v>
                </c:pt>
                <c:pt idx="1138">
                  <c:v>134.50108111570054</c:v>
                </c:pt>
                <c:pt idx="1139">
                  <c:v>134.50108111570054</c:v>
                </c:pt>
                <c:pt idx="1140">
                  <c:v>134.50108111570054</c:v>
                </c:pt>
                <c:pt idx="1141">
                  <c:v>134.50108111570054</c:v>
                </c:pt>
                <c:pt idx="1142">
                  <c:v>134.50108111570054</c:v>
                </c:pt>
                <c:pt idx="1143">
                  <c:v>134.50108111570054</c:v>
                </c:pt>
                <c:pt idx="1144">
                  <c:v>134.50108111570054</c:v>
                </c:pt>
                <c:pt idx="1145">
                  <c:v>134.50108111570054</c:v>
                </c:pt>
                <c:pt idx="1146">
                  <c:v>134.50108111570054</c:v>
                </c:pt>
                <c:pt idx="1147">
                  <c:v>134.50108111570054</c:v>
                </c:pt>
                <c:pt idx="1148">
                  <c:v>134.50108111570054</c:v>
                </c:pt>
                <c:pt idx="1149">
                  <c:v>134.50108111570054</c:v>
                </c:pt>
                <c:pt idx="1150">
                  <c:v>134.50108111570054</c:v>
                </c:pt>
                <c:pt idx="1151">
                  <c:v>134.50108111570054</c:v>
                </c:pt>
                <c:pt idx="1152">
                  <c:v>134.50108111570054</c:v>
                </c:pt>
                <c:pt idx="1153">
                  <c:v>134.50108111570054</c:v>
                </c:pt>
                <c:pt idx="1154">
                  <c:v>134.50108111570054</c:v>
                </c:pt>
                <c:pt idx="1155">
                  <c:v>134.50108111570054</c:v>
                </c:pt>
                <c:pt idx="1156">
                  <c:v>134.50108111570054</c:v>
                </c:pt>
                <c:pt idx="1157">
                  <c:v>134.50108111570054</c:v>
                </c:pt>
                <c:pt idx="1158">
                  <c:v>134.50108111570054</c:v>
                </c:pt>
                <c:pt idx="1159">
                  <c:v>134.50108111570054</c:v>
                </c:pt>
                <c:pt idx="1160">
                  <c:v>134.50108111570054</c:v>
                </c:pt>
                <c:pt idx="1161">
                  <c:v>134.50108111570054</c:v>
                </c:pt>
                <c:pt idx="1162">
                  <c:v>134.50108111570054</c:v>
                </c:pt>
                <c:pt idx="1163">
                  <c:v>134.50108111570054</c:v>
                </c:pt>
                <c:pt idx="1164">
                  <c:v>134.50108111570054</c:v>
                </c:pt>
                <c:pt idx="1165">
                  <c:v>134.50108111570054</c:v>
                </c:pt>
                <c:pt idx="1166">
                  <c:v>134.50108111570054</c:v>
                </c:pt>
                <c:pt idx="1167">
                  <c:v>134.50108111570054</c:v>
                </c:pt>
                <c:pt idx="1168">
                  <c:v>134.50108111570054</c:v>
                </c:pt>
                <c:pt idx="1169">
                  <c:v>134.50108111570054</c:v>
                </c:pt>
                <c:pt idx="1170">
                  <c:v>134.50108111570054</c:v>
                </c:pt>
                <c:pt idx="1171">
                  <c:v>134.50108111570054</c:v>
                </c:pt>
                <c:pt idx="1172">
                  <c:v>134.50108111570054</c:v>
                </c:pt>
                <c:pt idx="1173">
                  <c:v>134.50108111570054</c:v>
                </c:pt>
                <c:pt idx="1174">
                  <c:v>134.50108111570054</c:v>
                </c:pt>
                <c:pt idx="1175">
                  <c:v>134.50108111570054</c:v>
                </c:pt>
                <c:pt idx="1176">
                  <c:v>134.50108111570054</c:v>
                </c:pt>
                <c:pt idx="1177">
                  <c:v>134.50108111570054</c:v>
                </c:pt>
                <c:pt idx="1178">
                  <c:v>134.50108111570054</c:v>
                </c:pt>
                <c:pt idx="1179">
                  <c:v>134.50108111570054</c:v>
                </c:pt>
                <c:pt idx="1180">
                  <c:v>134.50108111570054</c:v>
                </c:pt>
                <c:pt idx="1181">
                  <c:v>134.50108111570054</c:v>
                </c:pt>
                <c:pt idx="1182">
                  <c:v>134.50108111570054</c:v>
                </c:pt>
                <c:pt idx="1183">
                  <c:v>134.50108111570054</c:v>
                </c:pt>
                <c:pt idx="1184">
                  <c:v>134.50108111570054</c:v>
                </c:pt>
                <c:pt idx="1185">
                  <c:v>134.50108111570054</c:v>
                </c:pt>
                <c:pt idx="1186">
                  <c:v>134.50108111570054</c:v>
                </c:pt>
                <c:pt idx="1187">
                  <c:v>134.50108111570054</c:v>
                </c:pt>
                <c:pt idx="1188">
                  <c:v>134.50108111570054</c:v>
                </c:pt>
                <c:pt idx="1189">
                  <c:v>134.50108111570054</c:v>
                </c:pt>
                <c:pt idx="1190">
                  <c:v>134.50108111570054</c:v>
                </c:pt>
                <c:pt idx="1191">
                  <c:v>134.50108111570054</c:v>
                </c:pt>
                <c:pt idx="1192">
                  <c:v>134.50108111570054</c:v>
                </c:pt>
                <c:pt idx="1193">
                  <c:v>134.50108111570054</c:v>
                </c:pt>
                <c:pt idx="1194">
                  <c:v>134.50108111570054</c:v>
                </c:pt>
                <c:pt idx="1195">
                  <c:v>134.50108111570054</c:v>
                </c:pt>
                <c:pt idx="1196">
                  <c:v>134.50108111570054</c:v>
                </c:pt>
                <c:pt idx="1197">
                  <c:v>134.50108111570054</c:v>
                </c:pt>
                <c:pt idx="1198">
                  <c:v>134.50108111570054</c:v>
                </c:pt>
                <c:pt idx="1199">
                  <c:v>134.50108111570054</c:v>
                </c:pt>
                <c:pt idx="1200">
                  <c:v>134.50108111570054</c:v>
                </c:pt>
                <c:pt idx="1201">
                  <c:v>134.50108111570054</c:v>
                </c:pt>
                <c:pt idx="1202">
                  <c:v>134.50108111570054</c:v>
                </c:pt>
                <c:pt idx="1203">
                  <c:v>134.50108111570054</c:v>
                </c:pt>
                <c:pt idx="1204">
                  <c:v>134.50108111570054</c:v>
                </c:pt>
                <c:pt idx="1205">
                  <c:v>134.50108111570054</c:v>
                </c:pt>
                <c:pt idx="1206">
                  <c:v>134.50108111570054</c:v>
                </c:pt>
                <c:pt idx="1207">
                  <c:v>134.50108111570054</c:v>
                </c:pt>
                <c:pt idx="1208">
                  <c:v>134.50108111570054</c:v>
                </c:pt>
                <c:pt idx="1209">
                  <c:v>134.50108111570054</c:v>
                </c:pt>
                <c:pt idx="1210">
                  <c:v>134.50108111570054</c:v>
                </c:pt>
                <c:pt idx="1211">
                  <c:v>134.50108111570054</c:v>
                </c:pt>
                <c:pt idx="1212">
                  <c:v>134.50108111570054</c:v>
                </c:pt>
                <c:pt idx="1213">
                  <c:v>134.50108111570054</c:v>
                </c:pt>
                <c:pt idx="1214">
                  <c:v>134.50108111570054</c:v>
                </c:pt>
                <c:pt idx="1215">
                  <c:v>134.50108111570054</c:v>
                </c:pt>
                <c:pt idx="1216">
                  <c:v>134.50108111570054</c:v>
                </c:pt>
                <c:pt idx="1217">
                  <c:v>134.50108111570054</c:v>
                </c:pt>
                <c:pt idx="1218">
                  <c:v>134.50108111570054</c:v>
                </c:pt>
                <c:pt idx="1219">
                  <c:v>134.50108111570054</c:v>
                </c:pt>
                <c:pt idx="1220">
                  <c:v>134.50108111570054</c:v>
                </c:pt>
                <c:pt idx="1221">
                  <c:v>134.50108111570054</c:v>
                </c:pt>
                <c:pt idx="1222">
                  <c:v>134.50108111570054</c:v>
                </c:pt>
                <c:pt idx="1223">
                  <c:v>134.50108111570054</c:v>
                </c:pt>
                <c:pt idx="1224">
                  <c:v>134.50108111570054</c:v>
                </c:pt>
                <c:pt idx="1225">
                  <c:v>134.50108111570054</c:v>
                </c:pt>
                <c:pt idx="1226">
                  <c:v>134.50108111570054</c:v>
                </c:pt>
                <c:pt idx="1227">
                  <c:v>134.50108111570054</c:v>
                </c:pt>
                <c:pt idx="1228">
                  <c:v>134.50108111570054</c:v>
                </c:pt>
                <c:pt idx="1229">
                  <c:v>134.50108111570054</c:v>
                </c:pt>
                <c:pt idx="1230">
                  <c:v>134.50108111570054</c:v>
                </c:pt>
                <c:pt idx="1231">
                  <c:v>134.50108111570054</c:v>
                </c:pt>
                <c:pt idx="1232">
                  <c:v>134.50108111570054</c:v>
                </c:pt>
                <c:pt idx="1233">
                  <c:v>134.50108111570054</c:v>
                </c:pt>
                <c:pt idx="1234">
                  <c:v>134.50108111570054</c:v>
                </c:pt>
                <c:pt idx="1235">
                  <c:v>134.50108111570054</c:v>
                </c:pt>
                <c:pt idx="1236">
                  <c:v>134.50108111570054</c:v>
                </c:pt>
                <c:pt idx="1237">
                  <c:v>134.50108111570054</c:v>
                </c:pt>
                <c:pt idx="1238">
                  <c:v>134.50108111570054</c:v>
                </c:pt>
                <c:pt idx="1239">
                  <c:v>134.50108111570054</c:v>
                </c:pt>
                <c:pt idx="1240">
                  <c:v>134.50108111570054</c:v>
                </c:pt>
                <c:pt idx="1241">
                  <c:v>134.50108111570054</c:v>
                </c:pt>
                <c:pt idx="1242">
                  <c:v>134.50108111570054</c:v>
                </c:pt>
                <c:pt idx="1243">
                  <c:v>134.50108111570054</c:v>
                </c:pt>
                <c:pt idx="1244">
                  <c:v>134.50108111570054</c:v>
                </c:pt>
                <c:pt idx="1245">
                  <c:v>134.50108111570054</c:v>
                </c:pt>
                <c:pt idx="1246">
                  <c:v>134.50108111570054</c:v>
                </c:pt>
                <c:pt idx="1247">
                  <c:v>134.50108111570054</c:v>
                </c:pt>
                <c:pt idx="1248">
                  <c:v>134.50108111570054</c:v>
                </c:pt>
                <c:pt idx="1249">
                  <c:v>134.50108111570054</c:v>
                </c:pt>
                <c:pt idx="1250">
                  <c:v>134.50108111570054</c:v>
                </c:pt>
                <c:pt idx="1251">
                  <c:v>134.50108111570054</c:v>
                </c:pt>
                <c:pt idx="1252">
                  <c:v>134.50108111570054</c:v>
                </c:pt>
                <c:pt idx="1253">
                  <c:v>134.50108111570054</c:v>
                </c:pt>
                <c:pt idx="1254">
                  <c:v>134.50108111570054</c:v>
                </c:pt>
                <c:pt idx="1255">
                  <c:v>134.50108111570054</c:v>
                </c:pt>
                <c:pt idx="1256">
                  <c:v>134.50108111570054</c:v>
                </c:pt>
                <c:pt idx="1257">
                  <c:v>134.50108111570054</c:v>
                </c:pt>
                <c:pt idx="1258">
                  <c:v>134.50108111570054</c:v>
                </c:pt>
                <c:pt idx="1259">
                  <c:v>134.50108111570054</c:v>
                </c:pt>
                <c:pt idx="1260">
                  <c:v>134.50108111570054</c:v>
                </c:pt>
                <c:pt idx="1261">
                  <c:v>134.50108111570054</c:v>
                </c:pt>
                <c:pt idx="1262">
                  <c:v>134.50108111570054</c:v>
                </c:pt>
                <c:pt idx="1263">
                  <c:v>134.50108111570054</c:v>
                </c:pt>
                <c:pt idx="1264">
                  <c:v>134.50108111570054</c:v>
                </c:pt>
                <c:pt idx="1265">
                  <c:v>134.50108111570054</c:v>
                </c:pt>
                <c:pt idx="1266">
                  <c:v>134.50108111570054</c:v>
                </c:pt>
                <c:pt idx="1267">
                  <c:v>134.50108111570054</c:v>
                </c:pt>
                <c:pt idx="1268">
                  <c:v>134.50108111570054</c:v>
                </c:pt>
                <c:pt idx="1269">
                  <c:v>134.50108111570054</c:v>
                </c:pt>
                <c:pt idx="1270">
                  <c:v>134.50108111570054</c:v>
                </c:pt>
                <c:pt idx="1271">
                  <c:v>134.50108111570054</c:v>
                </c:pt>
                <c:pt idx="1272">
                  <c:v>134.50108111570054</c:v>
                </c:pt>
                <c:pt idx="1273">
                  <c:v>134.50108111570054</c:v>
                </c:pt>
                <c:pt idx="1274">
                  <c:v>134.50108111570054</c:v>
                </c:pt>
                <c:pt idx="1275">
                  <c:v>134.50108111570054</c:v>
                </c:pt>
                <c:pt idx="1276">
                  <c:v>134.50108111570054</c:v>
                </c:pt>
                <c:pt idx="1277">
                  <c:v>134.50108111570054</c:v>
                </c:pt>
                <c:pt idx="1278">
                  <c:v>134.50108111570054</c:v>
                </c:pt>
                <c:pt idx="1279">
                  <c:v>134.50108111570054</c:v>
                </c:pt>
                <c:pt idx="1280">
                  <c:v>134.50108111570054</c:v>
                </c:pt>
                <c:pt idx="1281">
                  <c:v>134.50108111570054</c:v>
                </c:pt>
                <c:pt idx="1282">
                  <c:v>134.50108111570054</c:v>
                </c:pt>
                <c:pt idx="1283">
                  <c:v>134.50108111570054</c:v>
                </c:pt>
                <c:pt idx="1284">
                  <c:v>134.50108111570054</c:v>
                </c:pt>
                <c:pt idx="1285">
                  <c:v>134.50108111570054</c:v>
                </c:pt>
                <c:pt idx="1286">
                  <c:v>134.50108111570054</c:v>
                </c:pt>
                <c:pt idx="1287">
                  <c:v>134.50108111570054</c:v>
                </c:pt>
                <c:pt idx="1288">
                  <c:v>134.50108111570054</c:v>
                </c:pt>
                <c:pt idx="1289">
                  <c:v>134.50108111570054</c:v>
                </c:pt>
                <c:pt idx="1290">
                  <c:v>134.50108111570054</c:v>
                </c:pt>
                <c:pt idx="1291">
                  <c:v>134.50108111570054</c:v>
                </c:pt>
                <c:pt idx="1292">
                  <c:v>134.50108111570054</c:v>
                </c:pt>
                <c:pt idx="1293">
                  <c:v>134.50108111570054</c:v>
                </c:pt>
                <c:pt idx="1294">
                  <c:v>134.50108111570054</c:v>
                </c:pt>
                <c:pt idx="1295">
                  <c:v>134.50108111570054</c:v>
                </c:pt>
                <c:pt idx="1296">
                  <c:v>134.50108111570054</c:v>
                </c:pt>
                <c:pt idx="1297">
                  <c:v>134.50108111570054</c:v>
                </c:pt>
                <c:pt idx="1298">
                  <c:v>134.50108111570054</c:v>
                </c:pt>
                <c:pt idx="1299">
                  <c:v>134.50108111570054</c:v>
                </c:pt>
                <c:pt idx="1300">
                  <c:v>134.50108111570054</c:v>
                </c:pt>
                <c:pt idx="1301">
                  <c:v>134.50108111570054</c:v>
                </c:pt>
                <c:pt idx="1302">
                  <c:v>134.50108111570054</c:v>
                </c:pt>
                <c:pt idx="1303">
                  <c:v>134.50108111570054</c:v>
                </c:pt>
                <c:pt idx="1304">
                  <c:v>134.50108111570054</c:v>
                </c:pt>
                <c:pt idx="1305">
                  <c:v>134.50108111570054</c:v>
                </c:pt>
                <c:pt idx="1306">
                  <c:v>134.50108111570054</c:v>
                </c:pt>
                <c:pt idx="1307">
                  <c:v>134.50108111570054</c:v>
                </c:pt>
                <c:pt idx="1308">
                  <c:v>134.50108111570054</c:v>
                </c:pt>
                <c:pt idx="1309">
                  <c:v>134.50108111570054</c:v>
                </c:pt>
                <c:pt idx="1310">
                  <c:v>134.50108111570054</c:v>
                </c:pt>
                <c:pt idx="1311">
                  <c:v>134.50108111570054</c:v>
                </c:pt>
                <c:pt idx="1312">
                  <c:v>134.50108111570054</c:v>
                </c:pt>
                <c:pt idx="1313">
                  <c:v>134.50108111570054</c:v>
                </c:pt>
                <c:pt idx="1314">
                  <c:v>134.50108111570054</c:v>
                </c:pt>
                <c:pt idx="1315">
                  <c:v>134.50108111570054</c:v>
                </c:pt>
                <c:pt idx="1316">
                  <c:v>134.50108111570054</c:v>
                </c:pt>
                <c:pt idx="1317">
                  <c:v>134.50108111570054</c:v>
                </c:pt>
                <c:pt idx="1318">
                  <c:v>134.50108111570054</c:v>
                </c:pt>
                <c:pt idx="1319">
                  <c:v>134.50108111570054</c:v>
                </c:pt>
                <c:pt idx="1320">
                  <c:v>134.50108111570054</c:v>
                </c:pt>
                <c:pt idx="1321">
                  <c:v>134.50108111570054</c:v>
                </c:pt>
                <c:pt idx="1322">
                  <c:v>134.50108111570054</c:v>
                </c:pt>
                <c:pt idx="1323">
                  <c:v>134.50108111570054</c:v>
                </c:pt>
                <c:pt idx="1324">
                  <c:v>134.50108111570054</c:v>
                </c:pt>
                <c:pt idx="1325">
                  <c:v>134.50108111570054</c:v>
                </c:pt>
                <c:pt idx="1326">
                  <c:v>134.50108111570054</c:v>
                </c:pt>
                <c:pt idx="1327">
                  <c:v>134.50108111570054</c:v>
                </c:pt>
                <c:pt idx="1328">
                  <c:v>134.50108111570054</c:v>
                </c:pt>
                <c:pt idx="1329">
                  <c:v>134.50108111570054</c:v>
                </c:pt>
                <c:pt idx="1330">
                  <c:v>134.50108111570054</c:v>
                </c:pt>
                <c:pt idx="1331">
                  <c:v>134.50108111570054</c:v>
                </c:pt>
                <c:pt idx="1332">
                  <c:v>134.50108111570054</c:v>
                </c:pt>
                <c:pt idx="1333">
                  <c:v>134.50108111570054</c:v>
                </c:pt>
                <c:pt idx="1334">
                  <c:v>134.50108111570054</c:v>
                </c:pt>
                <c:pt idx="1335">
                  <c:v>134.50108111570054</c:v>
                </c:pt>
                <c:pt idx="1336">
                  <c:v>134.50108111570054</c:v>
                </c:pt>
                <c:pt idx="1337">
                  <c:v>134.50108111570054</c:v>
                </c:pt>
                <c:pt idx="1338">
                  <c:v>134.50108111570054</c:v>
                </c:pt>
                <c:pt idx="1339">
                  <c:v>134.50108111570054</c:v>
                </c:pt>
                <c:pt idx="1340">
                  <c:v>134.50108111570054</c:v>
                </c:pt>
                <c:pt idx="1341">
                  <c:v>134.50108111570054</c:v>
                </c:pt>
                <c:pt idx="1342">
                  <c:v>134.50108111570054</c:v>
                </c:pt>
                <c:pt idx="1343">
                  <c:v>134.50108111570054</c:v>
                </c:pt>
                <c:pt idx="1344">
                  <c:v>134.50108111570054</c:v>
                </c:pt>
                <c:pt idx="1345">
                  <c:v>134.50108111570054</c:v>
                </c:pt>
                <c:pt idx="1346">
                  <c:v>134.50108111570054</c:v>
                </c:pt>
                <c:pt idx="1347">
                  <c:v>134.50108111570054</c:v>
                </c:pt>
                <c:pt idx="1348">
                  <c:v>134.50108111570054</c:v>
                </c:pt>
                <c:pt idx="1349">
                  <c:v>134.50108111570054</c:v>
                </c:pt>
                <c:pt idx="1350">
                  <c:v>134.50108111570054</c:v>
                </c:pt>
                <c:pt idx="1351">
                  <c:v>134.50108111570054</c:v>
                </c:pt>
                <c:pt idx="1352">
                  <c:v>134.50108111570054</c:v>
                </c:pt>
                <c:pt idx="1353">
                  <c:v>134.50108111570054</c:v>
                </c:pt>
                <c:pt idx="1354">
                  <c:v>134.50108111570054</c:v>
                </c:pt>
                <c:pt idx="1355">
                  <c:v>134.50108111570054</c:v>
                </c:pt>
                <c:pt idx="1356">
                  <c:v>134.50108111570054</c:v>
                </c:pt>
                <c:pt idx="1357">
                  <c:v>134.50108111570054</c:v>
                </c:pt>
                <c:pt idx="1358">
                  <c:v>134.50108111570054</c:v>
                </c:pt>
                <c:pt idx="1359">
                  <c:v>134.50108111570054</c:v>
                </c:pt>
                <c:pt idx="1360">
                  <c:v>134.50108111570054</c:v>
                </c:pt>
                <c:pt idx="1361">
                  <c:v>134.50108111570054</c:v>
                </c:pt>
                <c:pt idx="1362">
                  <c:v>134.50108111570054</c:v>
                </c:pt>
                <c:pt idx="1363">
                  <c:v>134.50108111570054</c:v>
                </c:pt>
                <c:pt idx="1364">
                  <c:v>134.50108111570054</c:v>
                </c:pt>
                <c:pt idx="1365">
                  <c:v>134.50108111570054</c:v>
                </c:pt>
                <c:pt idx="1366">
                  <c:v>134.50108111570054</c:v>
                </c:pt>
                <c:pt idx="1367">
                  <c:v>134.50108111570054</c:v>
                </c:pt>
                <c:pt idx="1368">
                  <c:v>134.50108111570054</c:v>
                </c:pt>
                <c:pt idx="1369">
                  <c:v>134.50108111570054</c:v>
                </c:pt>
                <c:pt idx="1370">
                  <c:v>134.50108111570054</c:v>
                </c:pt>
                <c:pt idx="1371">
                  <c:v>134.50108111570054</c:v>
                </c:pt>
                <c:pt idx="1372">
                  <c:v>134.50108111570054</c:v>
                </c:pt>
                <c:pt idx="1373">
                  <c:v>134.50108111570054</c:v>
                </c:pt>
                <c:pt idx="1374">
                  <c:v>134.50108111570054</c:v>
                </c:pt>
                <c:pt idx="1375">
                  <c:v>134.50108111570054</c:v>
                </c:pt>
                <c:pt idx="1376">
                  <c:v>134.50108111570054</c:v>
                </c:pt>
                <c:pt idx="1377">
                  <c:v>134.50108111570054</c:v>
                </c:pt>
                <c:pt idx="1378">
                  <c:v>134.50108111570054</c:v>
                </c:pt>
                <c:pt idx="1379">
                  <c:v>134.50108111570054</c:v>
                </c:pt>
                <c:pt idx="1380">
                  <c:v>134.50108111570054</c:v>
                </c:pt>
                <c:pt idx="1381">
                  <c:v>134.50108111570054</c:v>
                </c:pt>
                <c:pt idx="1382">
                  <c:v>134.50108111570054</c:v>
                </c:pt>
                <c:pt idx="1383">
                  <c:v>134.50108111570054</c:v>
                </c:pt>
                <c:pt idx="1384">
                  <c:v>134.50108111570054</c:v>
                </c:pt>
                <c:pt idx="1385">
                  <c:v>134.50108111570054</c:v>
                </c:pt>
                <c:pt idx="1386">
                  <c:v>134.50108111570054</c:v>
                </c:pt>
                <c:pt idx="1387">
                  <c:v>134.50108111570054</c:v>
                </c:pt>
                <c:pt idx="1388">
                  <c:v>134.50108111570054</c:v>
                </c:pt>
                <c:pt idx="1389">
                  <c:v>134.50108111570054</c:v>
                </c:pt>
                <c:pt idx="1390">
                  <c:v>134.50108111570054</c:v>
                </c:pt>
                <c:pt idx="1391">
                  <c:v>134.50108111570054</c:v>
                </c:pt>
                <c:pt idx="1392">
                  <c:v>134.50108111570054</c:v>
                </c:pt>
                <c:pt idx="1393">
                  <c:v>134.50108111570054</c:v>
                </c:pt>
                <c:pt idx="1394">
                  <c:v>134.50108111570054</c:v>
                </c:pt>
                <c:pt idx="1395">
                  <c:v>134.50108111570054</c:v>
                </c:pt>
                <c:pt idx="1396">
                  <c:v>134.50108111570054</c:v>
                </c:pt>
                <c:pt idx="1397">
                  <c:v>134.50108111570054</c:v>
                </c:pt>
                <c:pt idx="1398">
                  <c:v>134.50108111570054</c:v>
                </c:pt>
                <c:pt idx="1399">
                  <c:v>134.50108111570054</c:v>
                </c:pt>
                <c:pt idx="1400">
                  <c:v>134.50108111570054</c:v>
                </c:pt>
                <c:pt idx="1401">
                  <c:v>134.50108111570054</c:v>
                </c:pt>
                <c:pt idx="1402">
                  <c:v>134.50108111570054</c:v>
                </c:pt>
                <c:pt idx="1403">
                  <c:v>134.50108111570054</c:v>
                </c:pt>
                <c:pt idx="1404">
                  <c:v>134.50108111570054</c:v>
                </c:pt>
                <c:pt idx="1405">
                  <c:v>134.50108111570054</c:v>
                </c:pt>
                <c:pt idx="1406">
                  <c:v>134.50108111570054</c:v>
                </c:pt>
                <c:pt idx="1407">
                  <c:v>134.50108111570054</c:v>
                </c:pt>
                <c:pt idx="1408">
                  <c:v>134.50108111570054</c:v>
                </c:pt>
                <c:pt idx="1409">
                  <c:v>134.50108111570054</c:v>
                </c:pt>
                <c:pt idx="1410">
                  <c:v>134.50108111570054</c:v>
                </c:pt>
                <c:pt idx="1411">
                  <c:v>134.50108111570054</c:v>
                </c:pt>
                <c:pt idx="1412">
                  <c:v>134.50108111570054</c:v>
                </c:pt>
                <c:pt idx="1413">
                  <c:v>134.50108111570054</c:v>
                </c:pt>
                <c:pt idx="1414">
                  <c:v>134.50108111570054</c:v>
                </c:pt>
                <c:pt idx="1415">
                  <c:v>134.50108111570054</c:v>
                </c:pt>
                <c:pt idx="1416">
                  <c:v>134.50108111570054</c:v>
                </c:pt>
                <c:pt idx="1417">
                  <c:v>134.50108111570054</c:v>
                </c:pt>
                <c:pt idx="1418">
                  <c:v>134.50108111570054</c:v>
                </c:pt>
                <c:pt idx="1419">
                  <c:v>134.50108111570054</c:v>
                </c:pt>
                <c:pt idx="1420">
                  <c:v>134.50108111570054</c:v>
                </c:pt>
                <c:pt idx="1421">
                  <c:v>134.50108111570054</c:v>
                </c:pt>
                <c:pt idx="1422">
                  <c:v>134.50108111570054</c:v>
                </c:pt>
                <c:pt idx="1423">
                  <c:v>134.50108111570054</c:v>
                </c:pt>
                <c:pt idx="1424">
                  <c:v>134.50108111570054</c:v>
                </c:pt>
                <c:pt idx="1425">
                  <c:v>134.50108111570054</c:v>
                </c:pt>
                <c:pt idx="1426">
                  <c:v>134.50108111570054</c:v>
                </c:pt>
                <c:pt idx="1427">
                  <c:v>134.50108111570054</c:v>
                </c:pt>
                <c:pt idx="1428">
                  <c:v>134.50108111570054</c:v>
                </c:pt>
                <c:pt idx="1429">
                  <c:v>134.50108111570054</c:v>
                </c:pt>
                <c:pt idx="1430">
                  <c:v>134.50108111570054</c:v>
                </c:pt>
                <c:pt idx="1431">
                  <c:v>134.50108111570054</c:v>
                </c:pt>
                <c:pt idx="1432">
                  <c:v>134.50108111570054</c:v>
                </c:pt>
                <c:pt idx="1433">
                  <c:v>134.50108111570054</c:v>
                </c:pt>
                <c:pt idx="1434">
                  <c:v>134.50108111570054</c:v>
                </c:pt>
                <c:pt idx="1435">
                  <c:v>134.50108111570054</c:v>
                </c:pt>
                <c:pt idx="1436">
                  <c:v>134.50108111570054</c:v>
                </c:pt>
                <c:pt idx="1437">
                  <c:v>134.50108111570054</c:v>
                </c:pt>
                <c:pt idx="1438">
                  <c:v>134.50108111570054</c:v>
                </c:pt>
                <c:pt idx="1439">
                  <c:v>134.50108111570054</c:v>
                </c:pt>
                <c:pt idx="1440">
                  <c:v>134.50108111570054</c:v>
                </c:pt>
                <c:pt idx="1441">
                  <c:v>134.50108111570054</c:v>
                </c:pt>
                <c:pt idx="1442">
                  <c:v>134.50108111570054</c:v>
                </c:pt>
                <c:pt idx="1443">
                  <c:v>134.50108111570054</c:v>
                </c:pt>
                <c:pt idx="1444">
                  <c:v>134.50108111570054</c:v>
                </c:pt>
                <c:pt idx="1445">
                  <c:v>134.50108111570054</c:v>
                </c:pt>
                <c:pt idx="1446">
                  <c:v>134.50108111570054</c:v>
                </c:pt>
                <c:pt idx="1447">
                  <c:v>134.50108111570054</c:v>
                </c:pt>
                <c:pt idx="1448">
                  <c:v>134.50108111570054</c:v>
                </c:pt>
                <c:pt idx="1449">
                  <c:v>134.50108111570054</c:v>
                </c:pt>
                <c:pt idx="1450">
                  <c:v>134.50108111570054</c:v>
                </c:pt>
                <c:pt idx="1451">
                  <c:v>134.50108111570054</c:v>
                </c:pt>
                <c:pt idx="1452">
                  <c:v>134.50108111570054</c:v>
                </c:pt>
                <c:pt idx="1453">
                  <c:v>134.50108111570054</c:v>
                </c:pt>
                <c:pt idx="1454">
                  <c:v>134.50108111570054</c:v>
                </c:pt>
                <c:pt idx="1455">
                  <c:v>134.50108111570054</c:v>
                </c:pt>
                <c:pt idx="1456">
                  <c:v>134.50108111570054</c:v>
                </c:pt>
                <c:pt idx="1457">
                  <c:v>134.50108111570054</c:v>
                </c:pt>
                <c:pt idx="1458">
                  <c:v>134.50108111570054</c:v>
                </c:pt>
                <c:pt idx="1459">
                  <c:v>134.50108111570054</c:v>
                </c:pt>
                <c:pt idx="1460">
                  <c:v>134.50108111570054</c:v>
                </c:pt>
                <c:pt idx="1461">
                  <c:v>134.50108111570054</c:v>
                </c:pt>
                <c:pt idx="1462">
                  <c:v>134.50108111570054</c:v>
                </c:pt>
                <c:pt idx="1463">
                  <c:v>134.50108111570054</c:v>
                </c:pt>
                <c:pt idx="1464">
                  <c:v>134.50108111570054</c:v>
                </c:pt>
                <c:pt idx="1465">
                  <c:v>134.50108111570054</c:v>
                </c:pt>
                <c:pt idx="1466">
                  <c:v>134.50108111570054</c:v>
                </c:pt>
                <c:pt idx="1467">
                  <c:v>134.50108111570054</c:v>
                </c:pt>
                <c:pt idx="1468">
                  <c:v>134.50108111570054</c:v>
                </c:pt>
                <c:pt idx="1469">
                  <c:v>134.50108111570054</c:v>
                </c:pt>
                <c:pt idx="1470">
                  <c:v>134.50108111570054</c:v>
                </c:pt>
                <c:pt idx="1471">
                  <c:v>134.50108111570054</c:v>
                </c:pt>
                <c:pt idx="1472">
                  <c:v>134.50108111570054</c:v>
                </c:pt>
                <c:pt idx="1473">
                  <c:v>134.50108111570054</c:v>
                </c:pt>
                <c:pt idx="1474">
                  <c:v>134.50108111570054</c:v>
                </c:pt>
                <c:pt idx="1475">
                  <c:v>134.50108111570054</c:v>
                </c:pt>
                <c:pt idx="1476">
                  <c:v>134.50108111570054</c:v>
                </c:pt>
                <c:pt idx="1477">
                  <c:v>134.50108111570054</c:v>
                </c:pt>
                <c:pt idx="1478">
                  <c:v>134.50108111570054</c:v>
                </c:pt>
                <c:pt idx="1479">
                  <c:v>134.50108111570054</c:v>
                </c:pt>
                <c:pt idx="1480">
                  <c:v>134.50108111570054</c:v>
                </c:pt>
                <c:pt idx="1481">
                  <c:v>134.50108111570054</c:v>
                </c:pt>
                <c:pt idx="1482">
                  <c:v>134.50108111570054</c:v>
                </c:pt>
                <c:pt idx="1483">
                  <c:v>134.50108111570054</c:v>
                </c:pt>
                <c:pt idx="1484">
                  <c:v>134.50108111570054</c:v>
                </c:pt>
                <c:pt idx="1485">
                  <c:v>134.50108111570054</c:v>
                </c:pt>
                <c:pt idx="1486">
                  <c:v>134.50108111570054</c:v>
                </c:pt>
                <c:pt idx="1487">
                  <c:v>134.50108111570054</c:v>
                </c:pt>
                <c:pt idx="1488">
                  <c:v>134.50108111570054</c:v>
                </c:pt>
                <c:pt idx="1489">
                  <c:v>134.50108111570054</c:v>
                </c:pt>
                <c:pt idx="1490">
                  <c:v>134.50108111570054</c:v>
                </c:pt>
                <c:pt idx="1491">
                  <c:v>134.50108111570054</c:v>
                </c:pt>
                <c:pt idx="1492">
                  <c:v>134.50108111570054</c:v>
                </c:pt>
                <c:pt idx="1493">
                  <c:v>134.50108111570054</c:v>
                </c:pt>
                <c:pt idx="1494">
                  <c:v>134.50108111570054</c:v>
                </c:pt>
                <c:pt idx="1495">
                  <c:v>134.50108111570054</c:v>
                </c:pt>
                <c:pt idx="1496">
                  <c:v>134.50108111570054</c:v>
                </c:pt>
                <c:pt idx="1497">
                  <c:v>134.50108111570054</c:v>
                </c:pt>
                <c:pt idx="1498">
                  <c:v>134.50108111570054</c:v>
                </c:pt>
                <c:pt idx="1499">
                  <c:v>134.50108111570054</c:v>
                </c:pt>
                <c:pt idx="1500">
                  <c:v>134.50108111570054</c:v>
                </c:pt>
                <c:pt idx="1501">
                  <c:v>134.50108111570054</c:v>
                </c:pt>
                <c:pt idx="1502">
                  <c:v>134.50108111570054</c:v>
                </c:pt>
                <c:pt idx="1503">
                  <c:v>134.50108111570054</c:v>
                </c:pt>
                <c:pt idx="1504">
                  <c:v>134.50108111570054</c:v>
                </c:pt>
                <c:pt idx="1505">
                  <c:v>134.50108111570054</c:v>
                </c:pt>
                <c:pt idx="1506">
                  <c:v>134.50108111570054</c:v>
                </c:pt>
                <c:pt idx="1507">
                  <c:v>134.50108111570054</c:v>
                </c:pt>
                <c:pt idx="1508">
                  <c:v>134.50108111570054</c:v>
                </c:pt>
                <c:pt idx="1509">
                  <c:v>134.50108111570054</c:v>
                </c:pt>
                <c:pt idx="1510">
                  <c:v>134.50108111570054</c:v>
                </c:pt>
                <c:pt idx="1511">
                  <c:v>134.50108111570054</c:v>
                </c:pt>
                <c:pt idx="1512">
                  <c:v>134.50108111570054</c:v>
                </c:pt>
                <c:pt idx="1513">
                  <c:v>134.50108111570054</c:v>
                </c:pt>
                <c:pt idx="1514">
                  <c:v>134.50108111570054</c:v>
                </c:pt>
                <c:pt idx="1515">
                  <c:v>134.50108111570054</c:v>
                </c:pt>
                <c:pt idx="1516">
                  <c:v>134.50108111570054</c:v>
                </c:pt>
                <c:pt idx="1517">
                  <c:v>134.50108111570054</c:v>
                </c:pt>
                <c:pt idx="1518">
                  <c:v>134.50108111570054</c:v>
                </c:pt>
                <c:pt idx="1519">
                  <c:v>134.50108111570054</c:v>
                </c:pt>
                <c:pt idx="1520">
                  <c:v>134.50108111570054</c:v>
                </c:pt>
                <c:pt idx="1521">
                  <c:v>134.50108111570054</c:v>
                </c:pt>
                <c:pt idx="1522">
                  <c:v>134.50108111570054</c:v>
                </c:pt>
                <c:pt idx="1523">
                  <c:v>134.50108111570054</c:v>
                </c:pt>
                <c:pt idx="1524">
                  <c:v>134.50108111570054</c:v>
                </c:pt>
                <c:pt idx="1525">
                  <c:v>134.50108111570054</c:v>
                </c:pt>
                <c:pt idx="1526">
                  <c:v>134.50108111570054</c:v>
                </c:pt>
                <c:pt idx="1527">
                  <c:v>134.50108111570054</c:v>
                </c:pt>
                <c:pt idx="1528">
                  <c:v>134.50108111570054</c:v>
                </c:pt>
                <c:pt idx="1529">
                  <c:v>134.50108111570054</c:v>
                </c:pt>
                <c:pt idx="1530">
                  <c:v>134.50108111570054</c:v>
                </c:pt>
                <c:pt idx="1531">
                  <c:v>134.50108111570054</c:v>
                </c:pt>
                <c:pt idx="1532">
                  <c:v>134.50108111570054</c:v>
                </c:pt>
                <c:pt idx="1533">
                  <c:v>134.50108111570054</c:v>
                </c:pt>
                <c:pt idx="1534">
                  <c:v>134.50108111570054</c:v>
                </c:pt>
                <c:pt idx="1535">
                  <c:v>134.50108111570054</c:v>
                </c:pt>
                <c:pt idx="1536">
                  <c:v>134.50108111570054</c:v>
                </c:pt>
                <c:pt idx="1537">
                  <c:v>134.50108111570054</c:v>
                </c:pt>
                <c:pt idx="1538">
                  <c:v>134.50108111570054</c:v>
                </c:pt>
                <c:pt idx="1539">
                  <c:v>134.50108111570054</c:v>
                </c:pt>
                <c:pt idx="1540">
                  <c:v>134.50108111570054</c:v>
                </c:pt>
                <c:pt idx="1541">
                  <c:v>134.50108111570054</c:v>
                </c:pt>
                <c:pt idx="1542">
                  <c:v>134.50108111570054</c:v>
                </c:pt>
                <c:pt idx="1543">
                  <c:v>134.50108111570054</c:v>
                </c:pt>
                <c:pt idx="1544">
                  <c:v>134.50108111570054</c:v>
                </c:pt>
                <c:pt idx="1545">
                  <c:v>134.50108111570054</c:v>
                </c:pt>
                <c:pt idx="1546">
                  <c:v>134.50108111570054</c:v>
                </c:pt>
                <c:pt idx="1547">
                  <c:v>134.50108111570054</c:v>
                </c:pt>
                <c:pt idx="1548">
                  <c:v>134.50108111570054</c:v>
                </c:pt>
                <c:pt idx="1549">
                  <c:v>134.50108111570054</c:v>
                </c:pt>
                <c:pt idx="1550">
                  <c:v>134.50108111570054</c:v>
                </c:pt>
                <c:pt idx="1551">
                  <c:v>134.50108111570054</c:v>
                </c:pt>
                <c:pt idx="1552">
                  <c:v>134.50108111570054</c:v>
                </c:pt>
                <c:pt idx="1553">
                  <c:v>134.50108111570054</c:v>
                </c:pt>
                <c:pt idx="1554">
                  <c:v>134.50108111570054</c:v>
                </c:pt>
                <c:pt idx="1555">
                  <c:v>134.50108111570054</c:v>
                </c:pt>
                <c:pt idx="1556">
                  <c:v>134.50108111570054</c:v>
                </c:pt>
                <c:pt idx="1557">
                  <c:v>134.50108111570054</c:v>
                </c:pt>
                <c:pt idx="1558">
                  <c:v>134.50108111570054</c:v>
                </c:pt>
                <c:pt idx="1559">
                  <c:v>134.50108111570054</c:v>
                </c:pt>
                <c:pt idx="1560">
                  <c:v>134.50108111570054</c:v>
                </c:pt>
                <c:pt idx="1561">
                  <c:v>134.50108111570054</c:v>
                </c:pt>
                <c:pt idx="1562">
                  <c:v>134.50108111570054</c:v>
                </c:pt>
                <c:pt idx="1563">
                  <c:v>134.50108111570054</c:v>
                </c:pt>
                <c:pt idx="1564">
                  <c:v>134.50108111570054</c:v>
                </c:pt>
                <c:pt idx="1565">
                  <c:v>134.50108111570054</c:v>
                </c:pt>
                <c:pt idx="1566">
                  <c:v>134.50108111570054</c:v>
                </c:pt>
                <c:pt idx="1567">
                  <c:v>134.50108111570054</c:v>
                </c:pt>
                <c:pt idx="1568">
                  <c:v>134.50108111570054</c:v>
                </c:pt>
                <c:pt idx="1569">
                  <c:v>134.50108111570054</c:v>
                </c:pt>
                <c:pt idx="1570">
                  <c:v>134.50108111570054</c:v>
                </c:pt>
                <c:pt idx="1571">
                  <c:v>134.50108111570054</c:v>
                </c:pt>
                <c:pt idx="1572">
                  <c:v>134.50108111570054</c:v>
                </c:pt>
                <c:pt idx="1573">
                  <c:v>134.50108111570054</c:v>
                </c:pt>
                <c:pt idx="1574">
                  <c:v>134.50108111570054</c:v>
                </c:pt>
                <c:pt idx="1575">
                  <c:v>134.50108111570054</c:v>
                </c:pt>
                <c:pt idx="1576">
                  <c:v>134.50108111570054</c:v>
                </c:pt>
                <c:pt idx="1577">
                  <c:v>134.50108111570054</c:v>
                </c:pt>
                <c:pt idx="1578">
                  <c:v>134.50108111570054</c:v>
                </c:pt>
                <c:pt idx="1579">
                  <c:v>134.50108111570054</c:v>
                </c:pt>
                <c:pt idx="1580">
                  <c:v>134.50108111570054</c:v>
                </c:pt>
                <c:pt idx="1581">
                  <c:v>134.50108111570054</c:v>
                </c:pt>
                <c:pt idx="1582">
                  <c:v>134.50108111570054</c:v>
                </c:pt>
                <c:pt idx="1583">
                  <c:v>134.50108111570054</c:v>
                </c:pt>
                <c:pt idx="1584">
                  <c:v>134.50108111570054</c:v>
                </c:pt>
                <c:pt idx="1585">
                  <c:v>134.50108111570054</c:v>
                </c:pt>
                <c:pt idx="1586">
                  <c:v>134.50108111570054</c:v>
                </c:pt>
                <c:pt idx="1587">
                  <c:v>134.50108111570054</c:v>
                </c:pt>
                <c:pt idx="1588">
                  <c:v>134.50108111570054</c:v>
                </c:pt>
                <c:pt idx="1589">
                  <c:v>134.50108111570054</c:v>
                </c:pt>
                <c:pt idx="1590">
                  <c:v>134.50108111570054</c:v>
                </c:pt>
                <c:pt idx="1591">
                  <c:v>134.50108111570054</c:v>
                </c:pt>
                <c:pt idx="1592">
                  <c:v>134.50108111570054</c:v>
                </c:pt>
                <c:pt idx="1593">
                  <c:v>134.50108111570054</c:v>
                </c:pt>
                <c:pt idx="1594">
                  <c:v>134.50108111570054</c:v>
                </c:pt>
                <c:pt idx="1595">
                  <c:v>134.50108111570054</c:v>
                </c:pt>
                <c:pt idx="1596">
                  <c:v>134.50108111570054</c:v>
                </c:pt>
                <c:pt idx="1597">
                  <c:v>134.50108111570054</c:v>
                </c:pt>
                <c:pt idx="1598">
                  <c:v>134.50108111570054</c:v>
                </c:pt>
                <c:pt idx="1599">
                  <c:v>134.50108111570054</c:v>
                </c:pt>
                <c:pt idx="1600">
                  <c:v>134.50108111570054</c:v>
                </c:pt>
                <c:pt idx="1601">
                  <c:v>134.50108111570054</c:v>
                </c:pt>
                <c:pt idx="1602">
                  <c:v>134.50108111570054</c:v>
                </c:pt>
                <c:pt idx="1603">
                  <c:v>134.50108111570054</c:v>
                </c:pt>
                <c:pt idx="1604">
                  <c:v>134.50108111570054</c:v>
                </c:pt>
                <c:pt idx="1605">
                  <c:v>134.50108111570054</c:v>
                </c:pt>
                <c:pt idx="1606">
                  <c:v>134.50108111570054</c:v>
                </c:pt>
                <c:pt idx="1607">
                  <c:v>134.50108111570054</c:v>
                </c:pt>
                <c:pt idx="1608">
                  <c:v>134.50108111570054</c:v>
                </c:pt>
                <c:pt idx="1609">
                  <c:v>134.50108111570054</c:v>
                </c:pt>
                <c:pt idx="1610">
                  <c:v>134.50108111570054</c:v>
                </c:pt>
                <c:pt idx="1611">
                  <c:v>134.50108111570054</c:v>
                </c:pt>
                <c:pt idx="1612">
                  <c:v>134.50108111570054</c:v>
                </c:pt>
                <c:pt idx="1613">
                  <c:v>134.50108111570054</c:v>
                </c:pt>
                <c:pt idx="1614">
                  <c:v>134.50108111570054</c:v>
                </c:pt>
                <c:pt idx="1615">
                  <c:v>134.50108111570054</c:v>
                </c:pt>
                <c:pt idx="1616">
                  <c:v>134.50108111570054</c:v>
                </c:pt>
                <c:pt idx="1617">
                  <c:v>134.50108111570054</c:v>
                </c:pt>
                <c:pt idx="1618">
                  <c:v>134.50108111570054</c:v>
                </c:pt>
                <c:pt idx="1619">
                  <c:v>134.50108111570054</c:v>
                </c:pt>
                <c:pt idx="1620">
                  <c:v>134.50108111570054</c:v>
                </c:pt>
                <c:pt idx="1621">
                  <c:v>134.50108111570054</c:v>
                </c:pt>
                <c:pt idx="1622">
                  <c:v>134.50108111570054</c:v>
                </c:pt>
                <c:pt idx="1623">
                  <c:v>134.50108111570054</c:v>
                </c:pt>
                <c:pt idx="1624">
                  <c:v>134.50108111570054</c:v>
                </c:pt>
                <c:pt idx="1625">
                  <c:v>134.50108111570054</c:v>
                </c:pt>
                <c:pt idx="1626">
                  <c:v>134.50108111570054</c:v>
                </c:pt>
                <c:pt idx="1627">
                  <c:v>134.50108111570054</c:v>
                </c:pt>
                <c:pt idx="1628">
                  <c:v>134.50108111570054</c:v>
                </c:pt>
                <c:pt idx="1629">
                  <c:v>134.50108111570054</c:v>
                </c:pt>
                <c:pt idx="1630">
                  <c:v>134.50108111570054</c:v>
                </c:pt>
                <c:pt idx="1631">
                  <c:v>134.50108111570054</c:v>
                </c:pt>
                <c:pt idx="1632">
                  <c:v>134.50108111570054</c:v>
                </c:pt>
                <c:pt idx="1633">
                  <c:v>134.50108111570054</c:v>
                </c:pt>
                <c:pt idx="1634">
                  <c:v>134.50108111570054</c:v>
                </c:pt>
                <c:pt idx="1635">
                  <c:v>134.50108111570054</c:v>
                </c:pt>
                <c:pt idx="1636">
                  <c:v>134.50108111570054</c:v>
                </c:pt>
                <c:pt idx="1637">
                  <c:v>134.50108111570054</c:v>
                </c:pt>
                <c:pt idx="1638">
                  <c:v>134.50108111570054</c:v>
                </c:pt>
                <c:pt idx="1639">
                  <c:v>134.50108111570054</c:v>
                </c:pt>
                <c:pt idx="1640">
                  <c:v>134.50108111570054</c:v>
                </c:pt>
                <c:pt idx="1641">
                  <c:v>134.50108111570054</c:v>
                </c:pt>
                <c:pt idx="1642">
                  <c:v>134.50108111570054</c:v>
                </c:pt>
                <c:pt idx="1643">
                  <c:v>134.50108111570054</c:v>
                </c:pt>
                <c:pt idx="1644">
                  <c:v>134.50108111570054</c:v>
                </c:pt>
                <c:pt idx="1645">
                  <c:v>134.50108111570054</c:v>
                </c:pt>
                <c:pt idx="1646">
                  <c:v>134.50108111570054</c:v>
                </c:pt>
                <c:pt idx="1647">
                  <c:v>134.50108111570054</c:v>
                </c:pt>
                <c:pt idx="1648">
                  <c:v>134.50108111570054</c:v>
                </c:pt>
                <c:pt idx="1649">
                  <c:v>134.50108111570054</c:v>
                </c:pt>
                <c:pt idx="1650">
                  <c:v>134.50108111570054</c:v>
                </c:pt>
                <c:pt idx="1651">
                  <c:v>134.50108111570054</c:v>
                </c:pt>
                <c:pt idx="1652">
                  <c:v>134.50108111570054</c:v>
                </c:pt>
                <c:pt idx="1653">
                  <c:v>134.50108111570054</c:v>
                </c:pt>
                <c:pt idx="1654">
                  <c:v>134.50108111570054</c:v>
                </c:pt>
                <c:pt idx="1655">
                  <c:v>134.50108111570054</c:v>
                </c:pt>
                <c:pt idx="1656">
                  <c:v>134.50108111570054</c:v>
                </c:pt>
                <c:pt idx="1657">
                  <c:v>134.50108111570054</c:v>
                </c:pt>
                <c:pt idx="1658">
                  <c:v>134.50108111570054</c:v>
                </c:pt>
                <c:pt idx="1659">
                  <c:v>134.50108111570054</c:v>
                </c:pt>
                <c:pt idx="1660">
                  <c:v>134.50108111570054</c:v>
                </c:pt>
                <c:pt idx="1661">
                  <c:v>134.50108111570054</c:v>
                </c:pt>
                <c:pt idx="1662">
                  <c:v>134.50108111570054</c:v>
                </c:pt>
                <c:pt idx="1663">
                  <c:v>134.50108111570054</c:v>
                </c:pt>
                <c:pt idx="1664">
                  <c:v>134.50108111570054</c:v>
                </c:pt>
                <c:pt idx="1665">
                  <c:v>134.50108111570054</c:v>
                </c:pt>
                <c:pt idx="1666">
                  <c:v>134.50108111570054</c:v>
                </c:pt>
                <c:pt idx="1667">
                  <c:v>134.50108111570054</c:v>
                </c:pt>
                <c:pt idx="1668">
                  <c:v>134.50108111570054</c:v>
                </c:pt>
                <c:pt idx="1669">
                  <c:v>134.50108111570054</c:v>
                </c:pt>
                <c:pt idx="1670">
                  <c:v>134.50108111570054</c:v>
                </c:pt>
                <c:pt idx="1671">
                  <c:v>134.50108111570054</c:v>
                </c:pt>
                <c:pt idx="1672">
                  <c:v>134.50108111570054</c:v>
                </c:pt>
                <c:pt idx="1673">
                  <c:v>134.50108111570054</c:v>
                </c:pt>
                <c:pt idx="1674">
                  <c:v>134.50108111570054</c:v>
                </c:pt>
                <c:pt idx="1675">
                  <c:v>134.50108111570054</c:v>
                </c:pt>
                <c:pt idx="1676">
                  <c:v>134.50108111570054</c:v>
                </c:pt>
                <c:pt idx="1677">
                  <c:v>134.50108111570054</c:v>
                </c:pt>
                <c:pt idx="1678">
                  <c:v>134.50108111570054</c:v>
                </c:pt>
                <c:pt idx="1679">
                  <c:v>134.50108111570054</c:v>
                </c:pt>
                <c:pt idx="1680">
                  <c:v>134.50108111570054</c:v>
                </c:pt>
                <c:pt idx="1681">
                  <c:v>134.50108111570054</c:v>
                </c:pt>
                <c:pt idx="1682">
                  <c:v>134.50108111570054</c:v>
                </c:pt>
                <c:pt idx="1683">
                  <c:v>134.50108111570054</c:v>
                </c:pt>
                <c:pt idx="1684">
                  <c:v>134.50108111570054</c:v>
                </c:pt>
                <c:pt idx="1685">
                  <c:v>134.50108111570054</c:v>
                </c:pt>
                <c:pt idx="1686">
                  <c:v>134.50108111570054</c:v>
                </c:pt>
                <c:pt idx="1687">
                  <c:v>134.50108111570054</c:v>
                </c:pt>
                <c:pt idx="1688">
                  <c:v>134.50108111570054</c:v>
                </c:pt>
                <c:pt idx="1689">
                  <c:v>134.50108111570054</c:v>
                </c:pt>
                <c:pt idx="1690">
                  <c:v>134.50108111570054</c:v>
                </c:pt>
                <c:pt idx="1691">
                  <c:v>134.50108111570054</c:v>
                </c:pt>
                <c:pt idx="1692">
                  <c:v>134.50108111570054</c:v>
                </c:pt>
                <c:pt idx="1693">
                  <c:v>134.50108111570054</c:v>
                </c:pt>
                <c:pt idx="1694">
                  <c:v>134.50108111570054</c:v>
                </c:pt>
                <c:pt idx="1695">
                  <c:v>134.50108111570054</c:v>
                </c:pt>
                <c:pt idx="1696">
                  <c:v>134.50108111570054</c:v>
                </c:pt>
                <c:pt idx="1697">
                  <c:v>134.50108111570054</c:v>
                </c:pt>
                <c:pt idx="1698">
                  <c:v>134.50108111570054</c:v>
                </c:pt>
                <c:pt idx="1699">
                  <c:v>134.50108111570054</c:v>
                </c:pt>
                <c:pt idx="1700">
                  <c:v>134.50108111570054</c:v>
                </c:pt>
                <c:pt idx="1701">
                  <c:v>134.50108111570054</c:v>
                </c:pt>
                <c:pt idx="1702">
                  <c:v>134.50108111570054</c:v>
                </c:pt>
                <c:pt idx="1703">
                  <c:v>134.50108111570054</c:v>
                </c:pt>
                <c:pt idx="1704">
                  <c:v>134.50108111570054</c:v>
                </c:pt>
                <c:pt idx="1705">
                  <c:v>134.50108111570054</c:v>
                </c:pt>
                <c:pt idx="1706">
                  <c:v>134.50108111570054</c:v>
                </c:pt>
                <c:pt idx="1707">
                  <c:v>134.50108111570054</c:v>
                </c:pt>
                <c:pt idx="1708">
                  <c:v>134.50108111570054</c:v>
                </c:pt>
                <c:pt idx="1709">
                  <c:v>134.50108111570054</c:v>
                </c:pt>
                <c:pt idx="1710">
                  <c:v>134.50108111570054</c:v>
                </c:pt>
                <c:pt idx="1711">
                  <c:v>134.50108111570054</c:v>
                </c:pt>
                <c:pt idx="1712">
                  <c:v>134.50108111570054</c:v>
                </c:pt>
                <c:pt idx="1713">
                  <c:v>134.50108111570054</c:v>
                </c:pt>
                <c:pt idx="1714">
                  <c:v>134.50108111570054</c:v>
                </c:pt>
                <c:pt idx="1715">
                  <c:v>134.50108111570054</c:v>
                </c:pt>
                <c:pt idx="1716">
                  <c:v>134.50108111570054</c:v>
                </c:pt>
                <c:pt idx="1717">
                  <c:v>134.50108111570054</c:v>
                </c:pt>
                <c:pt idx="1718">
                  <c:v>134.50108111570054</c:v>
                </c:pt>
                <c:pt idx="1719">
                  <c:v>134.50108111570054</c:v>
                </c:pt>
                <c:pt idx="1720">
                  <c:v>134.50108111570054</c:v>
                </c:pt>
                <c:pt idx="1721">
                  <c:v>134.50108111570054</c:v>
                </c:pt>
                <c:pt idx="1722">
                  <c:v>134.50108111570054</c:v>
                </c:pt>
                <c:pt idx="1723">
                  <c:v>134.50108111570054</c:v>
                </c:pt>
                <c:pt idx="1724">
                  <c:v>134.50108111570054</c:v>
                </c:pt>
                <c:pt idx="1725">
                  <c:v>134.50108111570054</c:v>
                </c:pt>
                <c:pt idx="1726">
                  <c:v>134.50108111570054</c:v>
                </c:pt>
                <c:pt idx="1727">
                  <c:v>134.50108111570054</c:v>
                </c:pt>
                <c:pt idx="1728">
                  <c:v>134.50108111570054</c:v>
                </c:pt>
                <c:pt idx="1729">
                  <c:v>134.50108111570054</c:v>
                </c:pt>
                <c:pt idx="1730">
                  <c:v>134.50108111570054</c:v>
                </c:pt>
                <c:pt idx="1731">
                  <c:v>134.50108111570054</c:v>
                </c:pt>
                <c:pt idx="1732">
                  <c:v>134.50108111570054</c:v>
                </c:pt>
                <c:pt idx="1733">
                  <c:v>134.50108111570054</c:v>
                </c:pt>
                <c:pt idx="1734">
                  <c:v>134.50108111570054</c:v>
                </c:pt>
                <c:pt idx="1735">
                  <c:v>134.50108111570054</c:v>
                </c:pt>
                <c:pt idx="1736">
                  <c:v>134.50108111570054</c:v>
                </c:pt>
                <c:pt idx="1737">
                  <c:v>134.50108111570054</c:v>
                </c:pt>
                <c:pt idx="1738">
                  <c:v>134.50108111570054</c:v>
                </c:pt>
                <c:pt idx="1739">
                  <c:v>134.50108111570054</c:v>
                </c:pt>
                <c:pt idx="1740">
                  <c:v>134.50108111570054</c:v>
                </c:pt>
                <c:pt idx="1741">
                  <c:v>134.50108111570054</c:v>
                </c:pt>
                <c:pt idx="1742">
                  <c:v>134.50108111570054</c:v>
                </c:pt>
                <c:pt idx="1743">
                  <c:v>134.50108111570054</c:v>
                </c:pt>
                <c:pt idx="1744">
                  <c:v>134.50108111570054</c:v>
                </c:pt>
                <c:pt idx="1745">
                  <c:v>134.50108111570054</c:v>
                </c:pt>
                <c:pt idx="1746">
                  <c:v>134.50108111570054</c:v>
                </c:pt>
                <c:pt idx="1747">
                  <c:v>134.50108111570054</c:v>
                </c:pt>
                <c:pt idx="1748">
                  <c:v>134.50108111570054</c:v>
                </c:pt>
                <c:pt idx="1749">
                  <c:v>134.50108111570054</c:v>
                </c:pt>
                <c:pt idx="1750">
                  <c:v>134.50108111570054</c:v>
                </c:pt>
                <c:pt idx="1751">
                  <c:v>134.50108111570054</c:v>
                </c:pt>
                <c:pt idx="1752">
                  <c:v>134.50108111570054</c:v>
                </c:pt>
                <c:pt idx="1753">
                  <c:v>134.50108111570054</c:v>
                </c:pt>
                <c:pt idx="1754">
                  <c:v>134.50108111570054</c:v>
                </c:pt>
                <c:pt idx="1755">
                  <c:v>134.50108111570054</c:v>
                </c:pt>
                <c:pt idx="1756">
                  <c:v>134.50108111570054</c:v>
                </c:pt>
                <c:pt idx="1757">
                  <c:v>134.50108111570054</c:v>
                </c:pt>
                <c:pt idx="1758">
                  <c:v>134.50108111570054</c:v>
                </c:pt>
                <c:pt idx="1759">
                  <c:v>134.50108111570054</c:v>
                </c:pt>
                <c:pt idx="1760">
                  <c:v>134.50108111570054</c:v>
                </c:pt>
                <c:pt idx="1761">
                  <c:v>134.50108111570054</c:v>
                </c:pt>
                <c:pt idx="1762">
                  <c:v>134.50108111570054</c:v>
                </c:pt>
                <c:pt idx="1763">
                  <c:v>134.50108111570054</c:v>
                </c:pt>
                <c:pt idx="1764">
                  <c:v>134.50108111570054</c:v>
                </c:pt>
                <c:pt idx="1765">
                  <c:v>134.50108111570054</c:v>
                </c:pt>
                <c:pt idx="1766">
                  <c:v>134.50108111570054</c:v>
                </c:pt>
                <c:pt idx="1767">
                  <c:v>134.50108111570054</c:v>
                </c:pt>
                <c:pt idx="1768">
                  <c:v>134.50108111570054</c:v>
                </c:pt>
                <c:pt idx="1769">
                  <c:v>134.50108111570054</c:v>
                </c:pt>
                <c:pt idx="1770">
                  <c:v>134.50108111570054</c:v>
                </c:pt>
                <c:pt idx="1771">
                  <c:v>134.50108111570054</c:v>
                </c:pt>
                <c:pt idx="1772">
                  <c:v>134.50108111570054</c:v>
                </c:pt>
                <c:pt idx="1773">
                  <c:v>134.50108111570054</c:v>
                </c:pt>
                <c:pt idx="1774">
                  <c:v>134.50108111570054</c:v>
                </c:pt>
                <c:pt idx="1775">
                  <c:v>134.50108111570054</c:v>
                </c:pt>
                <c:pt idx="1776">
                  <c:v>134.50108111570054</c:v>
                </c:pt>
                <c:pt idx="1777">
                  <c:v>134.50108111570054</c:v>
                </c:pt>
                <c:pt idx="1778">
                  <c:v>134.50108111570054</c:v>
                </c:pt>
                <c:pt idx="1779">
                  <c:v>134.50108111570054</c:v>
                </c:pt>
                <c:pt idx="1780">
                  <c:v>134.50108111570054</c:v>
                </c:pt>
                <c:pt idx="1781">
                  <c:v>134.50108111570054</c:v>
                </c:pt>
                <c:pt idx="1782">
                  <c:v>134.50108111570054</c:v>
                </c:pt>
                <c:pt idx="1783">
                  <c:v>134.50108111570054</c:v>
                </c:pt>
                <c:pt idx="1784">
                  <c:v>134.50108111570054</c:v>
                </c:pt>
                <c:pt idx="1785">
                  <c:v>134.50108111570054</c:v>
                </c:pt>
                <c:pt idx="1786">
                  <c:v>134.50108111570054</c:v>
                </c:pt>
                <c:pt idx="1787">
                  <c:v>134.50108111570054</c:v>
                </c:pt>
                <c:pt idx="1788">
                  <c:v>134.50108111570054</c:v>
                </c:pt>
                <c:pt idx="1789">
                  <c:v>134.50108111570054</c:v>
                </c:pt>
                <c:pt idx="1790">
                  <c:v>134.50108111570054</c:v>
                </c:pt>
                <c:pt idx="1791">
                  <c:v>134.50108111570054</c:v>
                </c:pt>
                <c:pt idx="1792">
                  <c:v>134.50108111570054</c:v>
                </c:pt>
                <c:pt idx="1793">
                  <c:v>134.50108111570054</c:v>
                </c:pt>
                <c:pt idx="1794">
                  <c:v>134.50108111570054</c:v>
                </c:pt>
                <c:pt idx="1795">
                  <c:v>134.50108111570054</c:v>
                </c:pt>
                <c:pt idx="1796">
                  <c:v>134.50108111570054</c:v>
                </c:pt>
                <c:pt idx="1797">
                  <c:v>134.50108111570054</c:v>
                </c:pt>
                <c:pt idx="1798">
                  <c:v>134.50108111570054</c:v>
                </c:pt>
                <c:pt idx="1799">
                  <c:v>134.50108111570054</c:v>
                </c:pt>
                <c:pt idx="1800">
                  <c:v>134.50108111570054</c:v>
                </c:pt>
                <c:pt idx="1801">
                  <c:v>134.50108111570054</c:v>
                </c:pt>
                <c:pt idx="1802">
                  <c:v>134.50108111570054</c:v>
                </c:pt>
                <c:pt idx="1803">
                  <c:v>134.50108111570054</c:v>
                </c:pt>
                <c:pt idx="1804">
                  <c:v>134.50108111570054</c:v>
                </c:pt>
                <c:pt idx="1805">
                  <c:v>134.50108111570054</c:v>
                </c:pt>
                <c:pt idx="1806">
                  <c:v>134.50108111570054</c:v>
                </c:pt>
                <c:pt idx="1807">
                  <c:v>134.50108111570054</c:v>
                </c:pt>
                <c:pt idx="1808">
                  <c:v>134.50108111570054</c:v>
                </c:pt>
                <c:pt idx="1809">
                  <c:v>134.50108111570054</c:v>
                </c:pt>
                <c:pt idx="1810">
                  <c:v>134.50108111570054</c:v>
                </c:pt>
                <c:pt idx="1811">
                  <c:v>134.50108111570054</c:v>
                </c:pt>
                <c:pt idx="1812">
                  <c:v>134.50108111570054</c:v>
                </c:pt>
                <c:pt idx="1813">
                  <c:v>134.50108111570054</c:v>
                </c:pt>
                <c:pt idx="1814">
                  <c:v>134.50108111570054</c:v>
                </c:pt>
                <c:pt idx="1815">
                  <c:v>134.50108111570054</c:v>
                </c:pt>
                <c:pt idx="1816">
                  <c:v>134.50108111570054</c:v>
                </c:pt>
                <c:pt idx="1817">
                  <c:v>134.50108111570054</c:v>
                </c:pt>
                <c:pt idx="1818">
                  <c:v>134.50108111570054</c:v>
                </c:pt>
                <c:pt idx="1819">
                  <c:v>134.50108111570054</c:v>
                </c:pt>
                <c:pt idx="1820">
                  <c:v>134.50108111570054</c:v>
                </c:pt>
                <c:pt idx="1821">
                  <c:v>134.50108111570054</c:v>
                </c:pt>
                <c:pt idx="1822">
                  <c:v>134.50108111570054</c:v>
                </c:pt>
                <c:pt idx="1823">
                  <c:v>134.50108111570054</c:v>
                </c:pt>
                <c:pt idx="1824">
                  <c:v>134.50108111570054</c:v>
                </c:pt>
                <c:pt idx="1825">
                  <c:v>134.50108111570054</c:v>
                </c:pt>
                <c:pt idx="1826">
                  <c:v>134.50108111570054</c:v>
                </c:pt>
                <c:pt idx="1827">
                  <c:v>134.50108111570054</c:v>
                </c:pt>
                <c:pt idx="1828">
                  <c:v>134.50108111570054</c:v>
                </c:pt>
                <c:pt idx="1829">
                  <c:v>134.50108111570054</c:v>
                </c:pt>
                <c:pt idx="1830">
                  <c:v>134.50108111570054</c:v>
                </c:pt>
                <c:pt idx="1831">
                  <c:v>134.50108111570054</c:v>
                </c:pt>
                <c:pt idx="1832">
                  <c:v>134.50108111570054</c:v>
                </c:pt>
                <c:pt idx="1833">
                  <c:v>134.50108111570054</c:v>
                </c:pt>
                <c:pt idx="1834">
                  <c:v>134.50108111570054</c:v>
                </c:pt>
                <c:pt idx="1835">
                  <c:v>134.50108111570054</c:v>
                </c:pt>
                <c:pt idx="1836">
                  <c:v>134.50108111570054</c:v>
                </c:pt>
                <c:pt idx="1837">
                  <c:v>134.50108111570054</c:v>
                </c:pt>
                <c:pt idx="1838">
                  <c:v>134.50108111570054</c:v>
                </c:pt>
                <c:pt idx="1839">
                  <c:v>134.50108111570054</c:v>
                </c:pt>
                <c:pt idx="1840">
                  <c:v>134.50108111570054</c:v>
                </c:pt>
                <c:pt idx="1841">
                  <c:v>134.50108111570054</c:v>
                </c:pt>
                <c:pt idx="1842">
                  <c:v>134.50108111570054</c:v>
                </c:pt>
                <c:pt idx="1843">
                  <c:v>134.50108111570054</c:v>
                </c:pt>
                <c:pt idx="1844">
                  <c:v>134.50108111570054</c:v>
                </c:pt>
                <c:pt idx="1845">
                  <c:v>134.50108111570054</c:v>
                </c:pt>
                <c:pt idx="1846">
                  <c:v>134.50108111570054</c:v>
                </c:pt>
                <c:pt idx="1847">
                  <c:v>134.50108111570054</c:v>
                </c:pt>
                <c:pt idx="1848">
                  <c:v>134.50108111570054</c:v>
                </c:pt>
                <c:pt idx="1849">
                  <c:v>134.50108111570054</c:v>
                </c:pt>
                <c:pt idx="1850">
                  <c:v>134.50108111570054</c:v>
                </c:pt>
                <c:pt idx="1851">
                  <c:v>134.50108111570054</c:v>
                </c:pt>
                <c:pt idx="1852">
                  <c:v>134.50108111570054</c:v>
                </c:pt>
                <c:pt idx="1853">
                  <c:v>134.50108111570054</c:v>
                </c:pt>
                <c:pt idx="1854">
                  <c:v>134.50108111570054</c:v>
                </c:pt>
                <c:pt idx="1855">
                  <c:v>134.50108111570054</c:v>
                </c:pt>
                <c:pt idx="1856">
                  <c:v>134.50108111570054</c:v>
                </c:pt>
                <c:pt idx="1857">
                  <c:v>134.50108111570054</c:v>
                </c:pt>
                <c:pt idx="1858">
                  <c:v>134.50108111570054</c:v>
                </c:pt>
                <c:pt idx="1859">
                  <c:v>134.50108111570054</c:v>
                </c:pt>
                <c:pt idx="1860">
                  <c:v>134.50108111570054</c:v>
                </c:pt>
                <c:pt idx="1861">
                  <c:v>134.50108111570054</c:v>
                </c:pt>
                <c:pt idx="1862">
                  <c:v>134.50108111570054</c:v>
                </c:pt>
                <c:pt idx="1863">
                  <c:v>134.50108111570054</c:v>
                </c:pt>
                <c:pt idx="1864">
                  <c:v>134.50108111570054</c:v>
                </c:pt>
                <c:pt idx="1865">
                  <c:v>134.50108111570054</c:v>
                </c:pt>
                <c:pt idx="1866">
                  <c:v>134.50108111570054</c:v>
                </c:pt>
                <c:pt idx="1867">
                  <c:v>134.50108111570054</c:v>
                </c:pt>
                <c:pt idx="1868">
                  <c:v>134.50108111570054</c:v>
                </c:pt>
                <c:pt idx="1869">
                  <c:v>134.50108111570054</c:v>
                </c:pt>
                <c:pt idx="1870">
                  <c:v>134.50108111570054</c:v>
                </c:pt>
                <c:pt idx="1871">
                  <c:v>134.50108111570054</c:v>
                </c:pt>
                <c:pt idx="1872">
                  <c:v>134.50108111570054</c:v>
                </c:pt>
                <c:pt idx="1873">
                  <c:v>134.50108111570054</c:v>
                </c:pt>
                <c:pt idx="1874">
                  <c:v>134.50108111570054</c:v>
                </c:pt>
                <c:pt idx="1875">
                  <c:v>134.50108111570054</c:v>
                </c:pt>
                <c:pt idx="1876">
                  <c:v>134.50108111570054</c:v>
                </c:pt>
                <c:pt idx="1877">
                  <c:v>134.50108111570054</c:v>
                </c:pt>
                <c:pt idx="1878">
                  <c:v>134.50108111570054</c:v>
                </c:pt>
                <c:pt idx="1879">
                  <c:v>134.50108111570054</c:v>
                </c:pt>
                <c:pt idx="1880">
                  <c:v>134.50108111570054</c:v>
                </c:pt>
                <c:pt idx="1881">
                  <c:v>134.50108111570054</c:v>
                </c:pt>
                <c:pt idx="1882">
                  <c:v>134.50108111570054</c:v>
                </c:pt>
                <c:pt idx="1883">
                  <c:v>134.50108111570054</c:v>
                </c:pt>
                <c:pt idx="1884">
                  <c:v>134.50108111570054</c:v>
                </c:pt>
                <c:pt idx="1885">
                  <c:v>134.50108111570054</c:v>
                </c:pt>
                <c:pt idx="1886">
                  <c:v>134.50108111570054</c:v>
                </c:pt>
                <c:pt idx="1887">
                  <c:v>134.50108111570054</c:v>
                </c:pt>
                <c:pt idx="1888">
                  <c:v>134.50108111570054</c:v>
                </c:pt>
                <c:pt idx="1889">
                  <c:v>134.50108111570054</c:v>
                </c:pt>
                <c:pt idx="1890">
                  <c:v>134.50108111570054</c:v>
                </c:pt>
                <c:pt idx="1891">
                  <c:v>134.50108111570054</c:v>
                </c:pt>
                <c:pt idx="1892">
                  <c:v>134.50108111570054</c:v>
                </c:pt>
                <c:pt idx="1893">
                  <c:v>134.50108111570054</c:v>
                </c:pt>
                <c:pt idx="1894">
                  <c:v>134.50108111570054</c:v>
                </c:pt>
                <c:pt idx="1895">
                  <c:v>134.50108111570054</c:v>
                </c:pt>
                <c:pt idx="1896">
                  <c:v>134.50108111570054</c:v>
                </c:pt>
                <c:pt idx="1897">
                  <c:v>134.50108111570054</c:v>
                </c:pt>
                <c:pt idx="1898">
                  <c:v>134.50108111570054</c:v>
                </c:pt>
                <c:pt idx="1899">
                  <c:v>134.50108111570054</c:v>
                </c:pt>
                <c:pt idx="1900">
                  <c:v>134.50108111570054</c:v>
                </c:pt>
                <c:pt idx="1901">
                  <c:v>134.50108111570054</c:v>
                </c:pt>
                <c:pt idx="1902">
                  <c:v>134.50108111570054</c:v>
                </c:pt>
                <c:pt idx="1903">
                  <c:v>134.50108111570054</c:v>
                </c:pt>
                <c:pt idx="1904">
                  <c:v>134.50108111570054</c:v>
                </c:pt>
                <c:pt idx="1905">
                  <c:v>134.50108111570054</c:v>
                </c:pt>
                <c:pt idx="1906">
                  <c:v>134.50108111570054</c:v>
                </c:pt>
                <c:pt idx="1907">
                  <c:v>134.50108111570054</c:v>
                </c:pt>
                <c:pt idx="1908">
                  <c:v>134.50108111570054</c:v>
                </c:pt>
                <c:pt idx="1909">
                  <c:v>134.50108111570054</c:v>
                </c:pt>
                <c:pt idx="1910">
                  <c:v>134.50108111570054</c:v>
                </c:pt>
                <c:pt idx="1911">
                  <c:v>134.50108111570054</c:v>
                </c:pt>
                <c:pt idx="1912">
                  <c:v>134.50108111570054</c:v>
                </c:pt>
                <c:pt idx="1913">
                  <c:v>134.50108111570054</c:v>
                </c:pt>
                <c:pt idx="1914">
                  <c:v>134.50108111570054</c:v>
                </c:pt>
                <c:pt idx="1915">
                  <c:v>134.50108111570054</c:v>
                </c:pt>
                <c:pt idx="1916">
                  <c:v>134.50108111570054</c:v>
                </c:pt>
                <c:pt idx="1917">
                  <c:v>134.50108111570054</c:v>
                </c:pt>
                <c:pt idx="1918">
                  <c:v>134.50108111570054</c:v>
                </c:pt>
                <c:pt idx="1919">
                  <c:v>134.50108111570054</c:v>
                </c:pt>
                <c:pt idx="1920">
                  <c:v>134.50108111570054</c:v>
                </c:pt>
                <c:pt idx="1921">
                  <c:v>134.50108111570054</c:v>
                </c:pt>
                <c:pt idx="1922">
                  <c:v>134.50108111570054</c:v>
                </c:pt>
                <c:pt idx="1923">
                  <c:v>134.50108111570054</c:v>
                </c:pt>
                <c:pt idx="1924">
                  <c:v>134.50108111570054</c:v>
                </c:pt>
                <c:pt idx="1925">
                  <c:v>134.50108111570054</c:v>
                </c:pt>
                <c:pt idx="1926">
                  <c:v>134.50108111570054</c:v>
                </c:pt>
                <c:pt idx="1927">
                  <c:v>134.50108111570054</c:v>
                </c:pt>
                <c:pt idx="1928">
                  <c:v>134.50108111570054</c:v>
                </c:pt>
                <c:pt idx="1929">
                  <c:v>134.50108111570054</c:v>
                </c:pt>
                <c:pt idx="1930">
                  <c:v>134.50108111570054</c:v>
                </c:pt>
                <c:pt idx="1931">
                  <c:v>134.50108111570054</c:v>
                </c:pt>
                <c:pt idx="1932">
                  <c:v>134.50108111570054</c:v>
                </c:pt>
                <c:pt idx="1933">
                  <c:v>134.50108111570054</c:v>
                </c:pt>
                <c:pt idx="1934">
                  <c:v>134.50108111570054</c:v>
                </c:pt>
                <c:pt idx="1935">
                  <c:v>134.50108111570054</c:v>
                </c:pt>
                <c:pt idx="1936">
                  <c:v>134.50108111570054</c:v>
                </c:pt>
                <c:pt idx="1937">
                  <c:v>134.50108111570054</c:v>
                </c:pt>
                <c:pt idx="1938">
                  <c:v>134.50108111570054</c:v>
                </c:pt>
                <c:pt idx="1939">
                  <c:v>134.50108111570054</c:v>
                </c:pt>
                <c:pt idx="1940">
                  <c:v>134.50108111570054</c:v>
                </c:pt>
                <c:pt idx="1941">
                  <c:v>134.50108111570054</c:v>
                </c:pt>
                <c:pt idx="1942">
                  <c:v>134.50108111570054</c:v>
                </c:pt>
                <c:pt idx="1943">
                  <c:v>134.50108111570054</c:v>
                </c:pt>
                <c:pt idx="1944">
                  <c:v>134.50108111570054</c:v>
                </c:pt>
                <c:pt idx="1945">
                  <c:v>134.50108111570054</c:v>
                </c:pt>
                <c:pt idx="1946">
                  <c:v>134.50108111570054</c:v>
                </c:pt>
                <c:pt idx="1947">
                  <c:v>134.50108111570054</c:v>
                </c:pt>
                <c:pt idx="1948">
                  <c:v>134.50108111570054</c:v>
                </c:pt>
                <c:pt idx="1949">
                  <c:v>134.50108111570054</c:v>
                </c:pt>
                <c:pt idx="1950">
                  <c:v>134.50108111570054</c:v>
                </c:pt>
                <c:pt idx="1951">
                  <c:v>134.50108111570054</c:v>
                </c:pt>
                <c:pt idx="1952">
                  <c:v>134.50108111570054</c:v>
                </c:pt>
                <c:pt idx="1953">
                  <c:v>134.50108111570054</c:v>
                </c:pt>
                <c:pt idx="1954">
                  <c:v>134.50108111570054</c:v>
                </c:pt>
                <c:pt idx="1955">
                  <c:v>134.50108111570054</c:v>
                </c:pt>
                <c:pt idx="1956">
                  <c:v>134.50108111570054</c:v>
                </c:pt>
                <c:pt idx="1957">
                  <c:v>134.50108111570054</c:v>
                </c:pt>
                <c:pt idx="1958">
                  <c:v>134.50108111570054</c:v>
                </c:pt>
                <c:pt idx="1959">
                  <c:v>134.50108111570054</c:v>
                </c:pt>
                <c:pt idx="1960">
                  <c:v>134.50108111570054</c:v>
                </c:pt>
                <c:pt idx="1961">
                  <c:v>134.50108111570054</c:v>
                </c:pt>
                <c:pt idx="1962">
                  <c:v>134.50108111570054</c:v>
                </c:pt>
                <c:pt idx="1963">
                  <c:v>134.50108111570054</c:v>
                </c:pt>
                <c:pt idx="1964">
                  <c:v>134.50108111570054</c:v>
                </c:pt>
                <c:pt idx="1965">
                  <c:v>134.50108111570054</c:v>
                </c:pt>
                <c:pt idx="1966">
                  <c:v>134.50108111570054</c:v>
                </c:pt>
                <c:pt idx="1967">
                  <c:v>134.50108111570054</c:v>
                </c:pt>
                <c:pt idx="1968">
                  <c:v>134.50108111570054</c:v>
                </c:pt>
                <c:pt idx="1969">
                  <c:v>134.50108111570054</c:v>
                </c:pt>
                <c:pt idx="1970">
                  <c:v>134.50108111570054</c:v>
                </c:pt>
                <c:pt idx="1971">
                  <c:v>134.50108111570054</c:v>
                </c:pt>
                <c:pt idx="1972">
                  <c:v>134.50108111570054</c:v>
                </c:pt>
                <c:pt idx="1973">
                  <c:v>134.50108111570054</c:v>
                </c:pt>
                <c:pt idx="1974">
                  <c:v>134.50108111570054</c:v>
                </c:pt>
                <c:pt idx="1975">
                  <c:v>134.50108111570054</c:v>
                </c:pt>
                <c:pt idx="1976">
                  <c:v>134.50108111570054</c:v>
                </c:pt>
                <c:pt idx="1977">
                  <c:v>134.50108111570054</c:v>
                </c:pt>
                <c:pt idx="1978">
                  <c:v>134.50108111570054</c:v>
                </c:pt>
                <c:pt idx="1979">
                  <c:v>134.50108111570054</c:v>
                </c:pt>
                <c:pt idx="1980">
                  <c:v>134.50108111570054</c:v>
                </c:pt>
                <c:pt idx="1981">
                  <c:v>134.50108111570054</c:v>
                </c:pt>
                <c:pt idx="1982">
                  <c:v>134.50108111570054</c:v>
                </c:pt>
                <c:pt idx="1983">
                  <c:v>134.50108111570054</c:v>
                </c:pt>
                <c:pt idx="1984">
                  <c:v>134.50108111570054</c:v>
                </c:pt>
                <c:pt idx="1985">
                  <c:v>134.50108111570054</c:v>
                </c:pt>
                <c:pt idx="1986">
                  <c:v>134.50108111570054</c:v>
                </c:pt>
                <c:pt idx="1987">
                  <c:v>134.50108111570054</c:v>
                </c:pt>
                <c:pt idx="1988">
                  <c:v>134.50108111570054</c:v>
                </c:pt>
                <c:pt idx="1989">
                  <c:v>134.50108111570054</c:v>
                </c:pt>
                <c:pt idx="1990">
                  <c:v>134.50108111570054</c:v>
                </c:pt>
                <c:pt idx="1991">
                  <c:v>134.50108111570054</c:v>
                </c:pt>
                <c:pt idx="1992">
                  <c:v>134.50108111570054</c:v>
                </c:pt>
                <c:pt idx="1993">
                  <c:v>134.50108111570054</c:v>
                </c:pt>
                <c:pt idx="1994">
                  <c:v>134.50108111570054</c:v>
                </c:pt>
                <c:pt idx="1995">
                  <c:v>134.50108111570054</c:v>
                </c:pt>
                <c:pt idx="1996">
                  <c:v>134.50108111570054</c:v>
                </c:pt>
                <c:pt idx="1997">
                  <c:v>134.50108111570054</c:v>
                </c:pt>
                <c:pt idx="1998">
                  <c:v>134.50108111570054</c:v>
                </c:pt>
                <c:pt idx="1999">
                  <c:v>134.50108111570054</c:v>
                </c:pt>
                <c:pt idx="2000">
                  <c:v>134.50108111570054</c:v>
                </c:pt>
                <c:pt idx="2001">
                  <c:v>134.50108111570054</c:v>
                </c:pt>
                <c:pt idx="2002">
                  <c:v>134.50108111570054</c:v>
                </c:pt>
                <c:pt idx="2003">
                  <c:v>134.50108111570054</c:v>
                </c:pt>
                <c:pt idx="2004">
                  <c:v>134.50108111570054</c:v>
                </c:pt>
                <c:pt idx="2005">
                  <c:v>134.50108111570054</c:v>
                </c:pt>
                <c:pt idx="2006">
                  <c:v>134.50108111570054</c:v>
                </c:pt>
                <c:pt idx="2007">
                  <c:v>134.50108111570054</c:v>
                </c:pt>
                <c:pt idx="2008">
                  <c:v>134.50108111570054</c:v>
                </c:pt>
                <c:pt idx="2009">
                  <c:v>134.50108111570054</c:v>
                </c:pt>
                <c:pt idx="2010">
                  <c:v>134.50108111570054</c:v>
                </c:pt>
                <c:pt idx="2011">
                  <c:v>134.50108111570054</c:v>
                </c:pt>
                <c:pt idx="2012">
                  <c:v>134.50108111570054</c:v>
                </c:pt>
                <c:pt idx="2013">
                  <c:v>134.50108111570054</c:v>
                </c:pt>
                <c:pt idx="2014">
                  <c:v>134.50108111570054</c:v>
                </c:pt>
                <c:pt idx="2015">
                  <c:v>134.50108111570054</c:v>
                </c:pt>
                <c:pt idx="2016">
                  <c:v>134.50108111570054</c:v>
                </c:pt>
                <c:pt idx="2017">
                  <c:v>134.50108111570054</c:v>
                </c:pt>
                <c:pt idx="2018">
                  <c:v>134.50108111570054</c:v>
                </c:pt>
                <c:pt idx="2019">
                  <c:v>134.50108111570054</c:v>
                </c:pt>
                <c:pt idx="2020">
                  <c:v>134.50108111570054</c:v>
                </c:pt>
                <c:pt idx="2021">
                  <c:v>134.50108111570054</c:v>
                </c:pt>
                <c:pt idx="2022">
                  <c:v>134.50108111570054</c:v>
                </c:pt>
                <c:pt idx="2023">
                  <c:v>134.50108111570054</c:v>
                </c:pt>
                <c:pt idx="2024">
                  <c:v>134.50108111570054</c:v>
                </c:pt>
                <c:pt idx="2025">
                  <c:v>134.50108111570054</c:v>
                </c:pt>
                <c:pt idx="2026">
                  <c:v>134.50108111570054</c:v>
                </c:pt>
                <c:pt idx="2027">
                  <c:v>134.50108111570054</c:v>
                </c:pt>
                <c:pt idx="2028">
                  <c:v>134.50108111570054</c:v>
                </c:pt>
                <c:pt idx="2029">
                  <c:v>134.50108111570054</c:v>
                </c:pt>
                <c:pt idx="2030">
                  <c:v>134.50108111570054</c:v>
                </c:pt>
                <c:pt idx="2031">
                  <c:v>134.50108111570054</c:v>
                </c:pt>
                <c:pt idx="2032">
                  <c:v>134.50108111570054</c:v>
                </c:pt>
                <c:pt idx="2033">
                  <c:v>134.50108111570054</c:v>
                </c:pt>
                <c:pt idx="2034">
                  <c:v>134.50108111570054</c:v>
                </c:pt>
                <c:pt idx="2035">
                  <c:v>134.50108111570054</c:v>
                </c:pt>
                <c:pt idx="2036">
                  <c:v>134.50108111570054</c:v>
                </c:pt>
                <c:pt idx="2037">
                  <c:v>134.50108111570054</c:v>
                </c:pt>
                <c:pt idx="2038">
                  <c:v>134.50108111570054</c:v>
                </c:pt>
                <c:pt idx="2039">
                  <c:v>134.50108111570054</c:v>
                </c:pt>
                <c:pt idx="2040">
                  <c:v>134.50108111570054</c:v>
                </c:pt>
                <c:pt idx="2041">
                  <c:v>134.50108111570054</c:v>
                </c:pt>
                <c:pt idx="2042">
                  <c:v>134.50108111570054</c:v>
                </c:pt>
                <c:pt idx="2043">
                  <c:v>134.50108111570054</c:v>
                </c:pt>
                <c:pt idx="2044">
                  <c:v>134.50108111570054</c:v>
                </c:pt>
                <c:pt idx="2045">
                  <c:v>134.50108111570054</c:v>
                </c:pt>
                <c:pt idx="2046">
                  <c:v>134.50108111570054</c:v>
                </c:pt>
                <c:pt idx="2047">
                  <c:v>134.50108111570054</c:v>
                </c:pt>
                <c:pt idx="2048">
                  <c:v>134.50108111570054</c:v>
                </c:pt>
                <c:pt idx="2049">
                  <c:v>134.50108111570054</c:v>
                </c:pt>
                <c:pt idx="2050">
                  <c:v>134.50108111570054</c:v>
                </c:pt>
                <c:pt idx="2051">
                  <c:v>134.50108111570054</c:v>
                </c:pt>
                <c:pt idx="2052">
                  <c:v>134.50108111570054</c:v>
                </c:pt>
                <c:pt idx="2053">
                  <c:v>134.50108111570054</c:v>
                </c:pt>
                <c:pt idx="2054">
                  <c:v>134.50108111570054</c:v>
                </c:pt>
                <c:pt idx="2055">
                  <c:v>134.50108111570054</c:v>
                </c:pt>
                <c:pt idx="2056">
                  <c:v>134.50108111570054</c:v>
                </c:pt>
                <c:pt idx="2057">
                  <c:v>134.50108111570054</c:v>
                </c:pt>
                <c:pt idx="2058">
                  <c:v>134.50108111570054</c:v>
                </c:pt>
                <c:pt idx="2059">
                  <c:v>134.50108111570054</c:v>
                </c:pt>
                <c:pt idx="2060">
                  <c:v>134.50108111570054</c:v>
                </c:pt>
                <c:pt idx="2061">
                  <c:v>134.50108111570054</c:v>
                </c:pt>
                <c:pt idx="2062">
                  <c:v>134.50108111570054</c:v>
                </c:pt>
                <c:pt idx="2063">
                  <c:v>134.50108111570054</c:v>
                </c:pt>
                <c:pt idx="2064">
                  <c:v>134.50108111570054</c:v>
                </c:pt>
                <c:pt idx="2065">
                  <c:v>134.50108111570054</c:v>
                </c:pt>
                <c:pt idx="2066">
                  <c:v>134.50108111570054</c:v>
                </c:pt>
                <c:pt idx="2067">
                  <c:v>134.50108111570054</c:v>
                </c:pt>
                <c:pt idx="2068">
                  <c:v>134.50108111570054</c:v>
                </c:pt>
                <c:pt idx="2069">
                  <c:v>134.50108111570054</c:v>
                </c:pt>
                <c:pt idx="2070">
                  <c:v>134.50108111570054</c:v>
                </c:pt>
                <c:pt idx="2071">
                  <c:v>134.50108111570054</c:v>
                </c:pt>
                <c:pt idx="2072">
                  <c:v>134.50108111570054</c:v>
                </c:pt>
                <c:pt idx="2073">
                  <c:v>134.50108111570054</c:v>
                </c:pt>
                <c:pt idx="2074">
                  <c:v>134.50108111570054</c:v>
                </c:pt>
                <c:pt idx="2075">
                  <c:v>134.50108111570054</c:v>
                </c:pt>
                <c:pt idx="2076">
                  <c:v>134.50108111570054</c:v>
                </c:pt>
                <c:pt idx="2077">
                  <c:v>134.50108111570054</c:v>
                </c:pt>
                <c:pt idx="2078">
                  <c:v>134.50108111570054</c:v>
                </c:pt>
                <c:pt idx="2079">
                  <c:v>134.50108111570054</c:v>
                </c:pt>
                <c:pt idx="2080">
                  <c:v>134.50108111570054</c:v>
                </c:pt>
                <c:pt idx="2081">
                  <c:v>134.50108111570054</c:v>
                </c:pt>
                <c:pt idx="2082">
                  <c:v>134.50108111570054</c:v>
                </c:pt>
                <c:pt idx="2083">
                  <c:v>134.50108111570054</c:v>
                </c:pt>
                <c:pt idx="2084">
                  <c:v>134.50108111570054</c:v>
                </c:pt>
                <c:pt idx="2085">
                  <c:v>134.50108111570054</c:v>
                </c:pt>
                <c:pt idx="2086">
                  <c:v>134.50108111570054</c:v>
                </c:pt>
                <c:pt idx="2087">
                  <c:v>134.50108111570054</c:v>
                </c:pt>
                <c:pt idx="2088">
                  <c:v>134.50108111570054</c:v>
                </c:pt>
                <c:pt idx="2089">
                  <c:v>134.50108111570054</c:v>
                </c:pt>
                <c:pt idx="2090">
                  <c:v>134.50108111570054</c:v>
                </c:pt>
                <c:pt idx="2091">
                  <c:v>134.50108111570054</c:v>
                </c:pt>
                <c:pt idx="2092">
                  <c:v>134.50108111570054</c:v>
                </c:pt>
                <c:pt idx="2093">
                  <c:v>134.50108111570054</c:v>
                </c:pt>
                <c:pt idx="2094">
                  <c:v>134.50108111570054</c:v>
                </c:pt>
                <c:pt idx="2095">
                  <c:v>134.50108111570054</c:v>
                </c:pt>
                <c:pt idx="2096">
                  <c:v>134.50108111570054</c:v>
                </c:pt>
                <c:pt idx="2097">
                  <c:v>134.50108111570054</c:v>
                </c:pt>
                <c:pt idx="2098">
                  <c:v>134.50108111570054</c:v>
                </c:pt>
                <c:pt idx="2099">
                  <c:v>134.50108111570054</c:v>
                </c:pt>
                <c:pt idx="2100">
                  <c:v>134.50108111570054</c:v>
                </c:pt>
                <c:pt idx="2101">
                  <c:v>134.50108111570054</c:v>
                </c:pt>
                <c:pt idx="2102">
                  <c:v>134.50108111570054</c:v>
                </c:pt>
                <c:pt idx="2103">
                  <c:v>134.50108111570054</c:v>
                </c:pt>
                <c:pt idx="2104">
                  <c:v>134.50108111570054</c:v>
                </c:pt>
                <c:pt idx="2105">
                  <c:v>134.50108111570054</c:v>
                </c:pt>
                <c:pt idx="2106">
                  <c:v>134.50108111570054</c:v>
                </c:pt>
                <c:pt idx="2107">
                  <c:v>134.50108111570054</c:v>
                </c:pt>
                <c:pt idx="2108">
                  <c:v>134.50108111570054</c:v>
                </c:pt>
                <c:pt idx="2109">
                  <c:v>134.50108111570054</c:v>
                </c:pt>
                <c:pt idx="2110">
                  <c:v>134.50108111570054</c:v>
                </c:pt>
                <c:pt idx="2111">
                  <c:v>134.50108111570054</c:v>
                </c:pt>
                <c:pt idx="2112">
                  <c:v>134.50108111570054</c:v>
                </c:pt>
                <c:pt idx="2113">
                  <c:v>134.50108111570054</c:v>
                </c:pt>
                <c:pt idx="2114">
                  <c:v>134.50108111570054</c:v>
                </c:pt>
                <c:pt idx="2115">
                  <c:v>134.50108111570054</c:v>
                </c:pt>
                <c:pt idx="2116">
                  <c:v>134.50108111570054</c:v>
                </c:pt>
                <c:pt idx="2117">
                  <c:v>134.50108111570054</c:v>
                </c:pt>
                <c:pt idx="2118">
                  <c:v>134.50108111570054</c:v>
                </c:pt>
                <c:pt idx="2119">
                  <c:v>134.50108111570054</c:v>
                </c:pt>
                <c:pt idx="2120">
                  <c:v>134.50108111570054</c:v>
                </c:pt>
                <c:pt idx="2121">
                  <c:v>134.50108111570054</c:v>
                </c:pt>
                <c:pt idx="2122">
                  <c:v>134.50108111570054</c:v>
                </c:pt>
                <c:pt idx="2123">
                  <c:v>134.50108111570054</c:v>
                </c:pt>
                <c:pt idx="2124">
                  <c:v>134.50108111570054</c:v>
                </c:pt>
                <c:pt idx="2125">
                  <c:v>134.50108111570054</c:v>
                </c:pt>
                <c:pt idx="2126">
                  <c:v>134.50108111570054</c:v>
                </c:pt>
                <c:pt idx="2127">
                  <c:v>134.50108111570054</c:v>
                </c:pt>
                <c:pt idx="2128">
                  <c:v>134.50108111570054</c:v>
                </c:pt>
                <c:pt idx="2129">
                  <c:v>134.50108111570054</c:v>
                </c:pt>
                <c:pt idx="2130">
                  <c:v>134.50108111570054</c:v>
                </c:pt>
                <c:pt idx="2131">
                  <c:v>134.50108111570054</c:v>
                </c:pt>
                <c:pt idx="2132">
                  <c:v>134.50108111570054</c:v>
                </c:pt>
                <c:pt idx="2133">
                  <c:v>134.50108111570054</c:v>
                </c:pt>
                <c:pt idx="2134">
                  <c:v>134.50108111570054</c:v>
                </c:pt>
                <c:pt idx="2135">
                  <c:v>134.50108111570054</c:v>
                </c:pt>
                <c:pt idx="2136">
                  <c:v>134.50108111570054</c:v>
                </c:pt>
                <c:pt idx="2137">
                  <c:v>134.50108111570054</c:v>
                </c:pt>
                <c:pt idx="2138">
                  <c:v>134.50108111570054</c:v>
                </c:pt>
                <c:pt idx="2139">
                  <c:v>134.50108111570054</c:v>
                </c:pt>
                <c:pt idx="2140">
                  <c:v>134.50108111570054</c:v>
                </c:pt>
                <c:pt idx="2141">
                  <c:v>134.50108111570054</c:v>
                </c:pt>
                <c:pt idx="2142">
                  <c:v>134.50108111570054</c:v>
                </c:pt>
                <c:pt idx="2143">
                  <c:v>134.50108111570054</c:v>
                </c:pt>
                <c:pt idx="2144">
                  <c:v>134.50108111570054</c:v>
                </c:pt>
                <c:pt idx="2145">
                  <c:v>134.50108111570054</c:v>
                </c:pt>
                <c:pt idx="2146">
                  <c:v>134.50108111570054</c:v>
                </c:pt>
                <c:pt idx="2147">
                  <c:v>134.50108111570054</c:v>
                </c:pt>
                <c:pt idx="2148">
                  <c:v>134.50108111570054</c:v>
                </c:pt>
                <c:pt idx="2149">
                  <c:v>134.50108111570054</c:v>
                </c:pt>
                <c:pt idx="2150">
                  <c:v>134.50108111570054</c:v>
                </c:pt>
                <c:pt idx="2151">
                  <c:v>134.50108111570054</c:v>
                </c:pt>
                <c:pt idx="2152">
                  <c:v>134.50108111570054</c:v>
                </c:pt>
                <c:pt idx="2153">
                  <c:v>134.50108111570054</c:v>
                </c:pt>
                <c:pt idx="2154">
                  <c:v>134.50108111570054</c:v>
                </c:pt>
                <c:pt idx="2155">
                  <c:v>134.50108111570054</c:v>
                </c:pt>
                <c:pt idx="2156">
                  <c:v>134.50108111570054</c:v>
                </c:pt>
                <c:pt idx="2157">
                  <c:v>134.50108111570054</c:v>
                </c:pt>
                <c:pt idx="2158">
                  <c:v>134.50108111570054</c:v>
                </c:pt>
                <c:pt idx="2159">
                  <c:v>134.50108111570054</c:v>
                </c:pt>
                <c:pt idx="2160">
                  <c:v>134.50108111570054</c:v>
                </c:pt>
                <c:pt idx="2161">
                  <c:v>134.50108111570054</c:v>
                </c:pt>
                <c:pt idx="2162">
                  <c:v>134.50108111570054</c:v>
                </c:pt>
                <c:pt idx="2163">
                  <c:v>134.50108111570054</c:v>
                </c:pt>
                <c:pt idx="2164">
                  <c:v>134.50108111570054</c:v>
                </c:pt>
                <c:pt idx="2165">
                  <c:v>134.50108111570054</c:v>
                </c:pt>
                <c:pt idx="2166">
                  <c:v>134.50108111570054</c:v>
                </c:pt>
                <c:pt idx="2167">
                  <c:v>134.50108111570054</c:v>
                </c:pt>
                <c:pt idx="2168">
                  <c:v>134.50108111570054</c:v>
                </c:pt>
                <c:pt idx="2169">
                  <c:v>134.50108111570054</c:v>
                </c:pt>
                <c:pt idx="2170">
                  <c:v>134.50108111570054</c:v>
                </c:pt>
                <c:pt idx="2171">
                  <c:v>134.50108111570054</c:v>
                </c:pt>
                <c:pt idx="2172">
                  <c:v>134.50108111570054</c:v>
                </c:pt>
                <c:pt idx="2173">
                  <c:v>134.50108111570054</c:v>
                </c:pt>
                <c:pt idx="2174">
                  <c:v>134.50108111570054</c:v>
                </c:pt>
                <c:pt idx="2175">
                  <c:v>134.50108111570054</c:v>
                </c:pt>
                <c:pt idx="2176">
                  <c:v>134.50108111570054</c:v>
                </c:pt>
                <c:pt idx="2177">
                  <c:v>134.50108111570054</c:v>
                </c:pt>
                <c:pt idx="2178">
                  <c:v>134.50108111570054</c:v>
                </c:pt>
                <c:pt idx="2179">
                  <c:v>134.50108111570054</c:v>
                </c:pt>
                <c:pt idx="2180">
                  <c:v>134.50108111570054</c:v>
                </c:pt>
                <c:pt idx="2181">
                  <c:v>134.50108111570054</c:v>
                </c:pt>
                <c:pt idx="2182">
                  <c:v>134.50108111570054</c:v>
                </c:pt>
                <c:pt idx="2183">
                  <c:v>134.50108111570054</c:v>
                </c:pt>
                <c:pt idx="2184">
                  <c:v>134.50108111570054</c:v>
                </c:pt>
                <c:pt idx="2185">
                  <c:v>134.50108111570054</c:v>
                </c:pt>
                <c:pt idx="2186">
                  <c:v>134.50108111570054</c:v>
                </c:pt>
                <c:pt idx="2187">
                  <c:v>134.50108111570054</c:v>
                </c:pt>
                <c:pt idx="2188">
                  <c:v>134.50108111570054</c:v>
                </c:pt>
                <c:pt idx="2189">
                  <c:v>134.50108111570054</c:v>
                </c:pt>
                <c:pt idx="2190">
                  <c:v>134.50108111570054</c:v>
                </c:pt>
                <c:pt idx="2191">
                  <c:v>134.50108111570054</c:v>
                </c:pt>
                <c:pt idx="2192">
                  <c:v>134.50108111570054</c:v>
                </c:pt>
                <c:pt idx="2193">
                  <c:v>134.50108111570054</c:v>
                </c:pt>
                <c:pt idx="2194">
                  <c:v>134.50108111570054</c:v>
                </c:pt>
                <c:pt idx="2195">
                  <c:v>134.50108111570054</c:v>
                </c:pt>
                <c:pt idx="2196">
                  <c:v>134.50108111570054</c:v>
                </c:pt>
                <c:pt idx="2197">
                  <c:v>134.50108111570054</c:v>
                </c:pt>
                <c:pt idx="2198">
                  <c:v>134.50108111570054</c:v>
                </c:pt>
                <c:pt idx="2199">
                  <c:v>134.50108111570054</c:v>
                </c:pt>
                <c:pt idx="2200">
                  <c:v>134.50108111570054</c:v>
                </c:pt>
                <c:pt idx="2201">
                  <c:v>134.50108111570054</c:v>
                </c:pt>
                <c:pt idx="2202">
                  <c:v>134.50108111570054</c:v>
                </c:pt>
                <c:pt idx="2203">
                  <c:v>134.50108111570054</c:v>
                </c:pt>
                <c:pt idx="2204">
                  <c:v>134.50108111570054</c:v>
                </c:pt>
                <c:pt idx="2205">
                  <c:v>134.50108111570054</c:v>
                </c:pt>
                <c:pt idx="2206">
                  <c:v>134.50108111570054</c:v>
                </c:pt>
                <c:pt idx="2207">
                  <c:v>134.50108111570054</c:v>
                </c:pt>
                <c:pt idx="2208">
                  <c:v>134.50108111570054</c:v>
                </c:pt>
                <c:pt idx="2209">
                  <c:v>134.50108111570054</c:v>
                </c:pt>
                <c:pt idx="2210">
                  <c:v>134.50108111570054</c:v>
                </c:pt>
                <c:pt idx="2211">
                  <c:v>134.50108111570054</c:v>
                </c:pt>
                <c:pt idx="2212">
                  <c:v>134.50108111570054</c:v>
                </c:pt>
                <c:pt idx="2213">
                  <c:v>134.50108111570054</c:v>
                </c:pt>
                <c:pt idx="2214">
                  <c:v>134.50108111570054</c:v>
                </c:pt>
                <c:pt idx="2215">
                  <c:v>134.50108111570054</c:v>
                </c:pt>
                <c:pt idx="2216">
                  <c:v>134.50108111570054</c:v>
                </c:pt>
                <c:pt idx="2217">
                  <c:v>134.50108111570054</c:v>
                </c:pt>
                <c:pt idx="2218">
                  <c:v>134.50108111570054</c:v>
                </c:pt>
                <c:pt idx="2219">
                  <c:v>134.50108111570054</c:v>
                </c:pt>
                <c:pt idx="2220">
                  <c:v>134.50108111570054</c:v>
                </c:pt>
                <c:pt idx="2221">
                  <c:v>134.50108111570054</c:v>
                </c:pt>
                <c:pt idx="2222">
                  <c:v>134.50108111570054</c:v>
                </c:pt>
                <c:pt idx="2223">
                  <c:v>134.50108111570054</c:v>
                </c:pt>
                <c:pt idx="2224">
                  <c:v>134.50108111570054</c:v>
                </c:pt>
                <c:pt idx="2225">
                  <c:v>134.50108111570054</c:v>
                </c:pt>
                <c:pt idx="2226">
                  <c:v>134.50108111570054</c:v>
                </c:pt>
                <c:pt idx="2227">
                  <c:v>134.50108111570054</c:v>
                </c:pt>
                <c:pt idx="2228">
                  <c:v>134.50108111570054</c:v>
                </c:pt>
                <c:pt idx="2229">
                  <c:v>134.50108111570054</c:v>
                </c:pt>
                <c:pt idx="2230">
                  <c:v>134.50108111570054</c:v>
                </c:pt>
                <c:pt idx="2231">
                  <c:v>134.50108111570054</c:v>
                </c:pt>
                <c:pt idx="2232">
                  <c:v>134.50108111570054</c:v>
                </c:pt>
                <c:pt idx="2233">
                  <c:v>134.50108111570054</c:v>
                </c:pt>
                <c:pt idx="2234">
                  <c:v>134.50108111570054</c:v>
                </c:pt>
                <c:pt idx="2235">
                  <c:v>134.50108111570054</c:v>
                </c:pt>
                <c:pt idx="2236">
                  <c:v>134.50108111570054</c:v>
                </c:pt>
                <c:pt idx="2237">
                  <c:v>134.50108111570054</c:v>
                </c:pt>
                <c:pt idx="2238">
                  <c:v>134.50108111570054</c:v>
                </c:pt>
                <c:pt idx="2239">
                  <c:v>134.50108111570054</c:v>
                </c:pt>
                <c:pt idx="2240">
                  <c:v>134.50108111570054</c:v>
                </c:pt>
                <c:pt idx="2241">
                  <c:v>134.50108111570054</c:v>
                </c:pt>
                <c:pt idx="2242">
                  <c:v>134.50108111570054</c:v>
                </c:pt>
                <c:pt idx="2243">
                  <c:v>134.50108111570054</c:v>
                </c:pt>
                <c:pt idx="2244">
                  <c:v>134.50108111570054</c:v>
                </c:pt>
                <c:pt idx="2245">
                  <c:v>134.50108111570054</c:v>
                </c:pt>
                <c:pt idx="2246">
                  <c:v>134.50108111570054</c:v>
                </c:pt>
                <c:pt idx="2247">
                  <c:v>134.50108111570054</c:v>
                </c:pt>
                <c:pt idx="2248">
                  <c:v>134.50108111570054</c:v>
                </c:pt>
                <c:pt idx="2249">
                  <c:v>134.50108111570054</c:v>
                </c:pt>
                <c:pt idx="2250">
                  <c:v>134.50108111570054</c:v>
                </c:pt>
                <c:pt idx="2251">
                  <c:v>134.50108111570054</c:v>
                </c:pt>
                <c:pt idx="2252">
                  <c:v>134.50108111570054</c:v>
                </c:pt>
                <c:pt idx="2253">
                  <c:v>134.50108111570054</c:v>
                </c:pt>
                <c:pt idx="2254">
                  <c:v>134.50108111570054</c:v>
                </c:pt>
                <c:pt idx="2255">
                  <c:v>134.50108111570054</c:v>
                </c:pt>
                <c:pt idx="2256">
                  <c:v>134.50108111570054</c:v>
                </c:pt>
                <c:pt idx="2257">
                  <c:v>134.50108111570054</c:v>
                </c:pt>
                <c:pt idx="2258">
                  <c:v>134.50108111570054</c:v>
                </c:pt>
                <c:pt idx="2259">
                  <c:v>134.50108111570054</c:v>
                </c:pt>
                <c:pt idx="2260">
                  <c:v>134.50108111570054</c:v>
                </c:pt>
                <c:pt idx="2261">
                  <c:v>134.50108111570054</c:v>
                </c:pt>
                <c:pt idx="2262">
                  <c:v>134.50108111570054</c:v>
                </c:pt>
                <c:pt idx="2263">
                  <c:v>134.50108111570054</c:v>
                </c:pt>
                <c:pt idx="2264">
                  <c:v>134.50108111570054</c:v>
                </c:pt>
                <c:pt idx="2265">
                  <c:v>134.50108111570054</c:v>
                </c:pt>
                <c:pt idx="2266">
                  <c:v>134.50108111570054</c:v>
                </c:pt>
                <c:pt idx="2267">
                  <c:v>134.50108111570054</c:v>
                </c:pt>
                <c:pt idx="2268">
                  <c:v>134.50108111570054</c:v>
                </c:pt>
                <c:pt idx="2269">
                  <c:v>134.50108111570054</c:v>
                </c:pt>
                <c:pt idx="2270">
                  <c:v>134.50108111570054</c:v>
                </c:pt>
                <c:pt idx="2271">
                  <c:v>134.50108111570054</c:v>
                </c:pt>
                <c:pt idx="2272">
                  <c:v>134.50108111570054</c:v>
                </c:pt>
                <c:pt idx="2273">
                  <c:v>134.50108111570054</c:v>
                </c:pt>
                <c:pt idx="2274">
                  <c:v>134.50108111570054</c:v>
                </c:pt>
                <c:pt idx="2275">
                  <c:v>134.50108111570054</c:v>
                </c:pt>
                <c:pt idx="2276">
                  <c:v>134.50108111570054</c:v>
                </c:pt>
                <c:pt idx="2277">
                  <c:v>134.50108111570054</c:v>
                </c:pt>
                <c:pt idx="2278">
                  <c:v>134.50108111570054</c:v>
                </c:pt>
                <c:pt idx="2279">
                  <c:v>134.50108111570054</c:v>
                </c:pt>
                <c:pt idx="2280">
                  <c:v>134.50108111570054</c:v>
                </c:pt>
                <c:pt idx="2281">
                  <c:v>134.50108111570054</c:v>
                </c:pt>
                <c:pt idx="2282">
                  <c:v>134.50108111570054</c:v>
                </c:pt>
                <c:pt idx="2283">
                  <c:v>134.50108111570054</c:v>
                </c:pt>
                <c:pt idx="2284">
                  <c:v>134.50108111570054</c:v>
                </c:pt>
                <c:pt idx="2285">
                  <c:v>134.50108111570054</c:v>
                </c:pt>
                <c:pt idx="2286">
                  <c:v>134.50108111570054</c:v>
                </c:pt>
                <c:pt idx="2287">
                  <c:v>134.50108111570054</c:v>
                </c:pt>
                <c:pt idx="2288">
                  <c:v>134.50108111570054</c:v>
                </c:pt>
                <c:pt idx="2289">
                  <c:v>134.50108111570054</c:v>
                </c:pt>
                <c:pt idx="2290">
                  <c:v>134.50108111570054</c:v>
                </c:pt>
                <c:pt idx="2291">
                  <c:v>134.50108111570054</c:v>
                </c:pt>
                <c:pt idx="2292">
                  <c:v>134.50108111570054</c:v>
                </c:pt>
                <c:pt idx="2293">
                  <c:v>134.50108111570054</c:v>
                </c:pt>
                <c:pt idx="2294">
                  <c:v>134.50108111570054</c:v>
                </c:pt>
                <c:pt idx="2295">
                  <c:v>134.50108111570054</c:v>
                </c:pt>
                <c:pt idx="2296">
                  <c:v>134.50108111570054</c:v>
                </c:pt>
                <c:pt idx="2297">
                  <c:v>134.50108111570054</c:v>
                </c:pt>
                <c:pt idx="2298">
                  <c:v>134.50108111570054</c:v>
                </c:pt>
                <c:pt idx="2299">
                  <c:v>134.50108111570054</c:v>
                </c:pt>
                <c:pt idx="2300">
                  <c:v>134.50108111570054</c:v>
                </c:pt>
                <c:pt idx="2301">
                  <c:v>134.50108111570054</c:v>
                </c:pt>
                <c:pt idx="2302">
                  <c:v>134.50108111570054</c:v>
                </c:pt>
                <c:pt idx="2303">
                  <c:v>134.50108111570054</c:v>
                </c:pt>
                <c:pt idx="2304">
                  <c:v>134.50108111570054</c:v>
                </c:pt>
                <c:pt idx="2305">
                  <c:v>134.50108111570054</c:v>
                </c:pt>
                <c:pt idx="2306">
                  <c:v>134.50108111570054</c:v>
                </c:pt>
                <c:pt idx="2307">
                  <c:v>134.50108111570054</c:v>
                </c:pt>
                <c:pt idx="2308">
                  <c:v>134.50108111570054</c:v>
                </c:pt>
                <c:pt idx="2309">
                  <c:v>134.50108111570054</c:v>
                </c:pt>
                <c:pt idx="2310">
                  <c:v>134.50108111570054</c:v>
                </c:pt>
                <c:pt idx="2311">
                  <c:v>134.50108111570054</c:v>
                </c:pt>
                <c:pt idx="2312">
                  <c:v>134.50108111570054</c:v>
                </c:pt>
                <c:pt idx="2313">
                  <c:v>134.50108111570054</c:v>
                </c:pt>
                <c:pt idx="2314">
                  <c:v>134.50108111570054</c:v>
                </c:pt>
                <c:pt idx="2315">
                  <c:v>134.50108111570054</c:v>
                </c:pt>
                <c:pt idx="2316">
                  <c:v>134.50108111570054</c:v>
                </c:pt>
                <c:pt idx="2317">
                  <c:v>134.50108111570054</c:v>
                </c:pt>
                <c:pt idx="2318">
                  <c:v>134.50108111570054</c:v>
                </c:pt>
                <c:pt idx="2319">
                  <c:v>134.50108111570054</c:v>
                </c:pt>
                <c:pt idx="2320">
                  <c:v>134.50108111570054</c:v>
                </c:pt>
                <c:pt idx="2321">
                  <c:v>134.50108111570054</c:v>
                </c:pt>
                <c:pt idx="2322">
                  <c:v>134.50108111570054</c:v>
                </c:pt>
                <c:pt idx="2323">
                  <c:v>134.50108111570054</c:v>
                </c:pt>
                <c:pt idx="2324">
                  <c:v>134.50108111570054</c:v>
                </c:pt>
                <c:pt idx="2325">
                  <c:v>134.50108111570054</c:v>
                </c:pt>
                <c:pt idx="2326">
                  <c:v>134.50108111570054</c:v>
                </c:pt>
                <c:pt idx="2327">
                  <c:v>134.50108111570054</c:v>
                </c:pt>
                <c:pt idx="2328">
                  <c:v>134.50108111570054</c:v>
                </c:pt>
                <c:pt idx="2329">
                  <c:v>134.50108111570054</c:v>
                </c:pt>
                <c:pt idx="2330">
                  <c:v>134.50108111570054</c:v>
                </c:pt>
                <c:pt idx="2331">
                  <c:v>134.50108111570054</c:v>
                </c:pt>
                <c:pt idx="2332">
                  <c:v>134.50108111570054</c:v>
                </c:pt>
                <c:pt idx="2333">
                  <c:v>134.50108111570054</c:v>
                </c:pt>
                <c:pt idx="2334">
                  <c:v>134.50108111570054</c:v>
                </c:pt>
                <c:pt idx="2335">
                  <c:v>134.50108111570054</c:v>
                </c:pt>
                <c:pt idx="2336">
                  <c:v>134.50108111570054</c:v>
                </c:pt>
                <c:pt idx="2337">
                  <c:v>134.50108111570054</c:v>
                </c:pt>
                <c:pt idx="2338">
                  <c:v>134.50108111570054</c:v>
                </c:pt>
                <c:pt idx="2339">
                  <c:v>134.50108111570054</c:v>
                </c:pt>
                <c:pt idx="2340">
                  <c:v>134.50108111570054</c:v>
                </c:pt>
                <c:pt idx="2341">
                  <c:v>134.50108111570054</c:v>
                </c:pt>
                <c:pt idx="2342">
                  <c:v>134.50108111570054</c:v>
                </c:pt>
                <c:pt idx="2343">
                  <c:v>134.50108111570054</c:v>
                </c:pt>
                <c:pt idx="2344">
                  <c:v>134.50108111570054</c:v>
                </c:pt>
                <c:pt idx="2345">
                  <c:v>134.50108111570054</c:v>
                </c:pt>
                <c:pt idx="2346">
                  <c:v>134.50108111570054</c:v>
                </c:pt>
                <c:pt idx="2347">
                  <c:v>134.50108111570054</c:v>
                </c:pt>
                <c:pt idx="2348">
                  <c:v>134.50108111570054</c:v>
                </c:pt>
                <c:pt idx="2349">
                  <c:v>134.50108111570054</c:v>
                </c:pt>
                <c:pt idx="2350">
                  <c:v>134.50108111570054</c:v>
                </c:pt>
                <c:pt idx="2351">
                  <c:v>134.50108111570054</c:v>
                </c:pt>
                <c:pt idx="2352">
                  <c:v>134.50108111570054</c:v>
                </c:pt>
                <c:pt idx="2353">
                  <c:v>134.50108111570054</c:v>
                </c:pt>
                <c:pt idx="2354">
                  <c:v>134.50108111570054</c:v>
                </c:pt>
                <c:pt idx="2355">
                  <c:v>134.50108111570054</c:v>
                </c:pt>
                <c:pt idx="2356">
                  <c:v>134.50108111570054</c:v>
                </c:pt>
                <c:pt idx="2357">
                  <c:v>134.50108111570054</c:v>
                </c:pt>
                <c:pt idx="2358">
                  <c:v>134.50108111570054</c:v>
                </c:pt>
                <c:pt idx="2359">
                  <c:v>134.50108111570054</c:v>
                </c:pt>
                <c:pt idx="2360">
                  <c:v>134.50108111570054</c:v>
                </c:pt>
                <c:pt idx="2361">
                  <c:v>134.50108111570054</c:v>
                </c:pt>
                <c:pt idx="2362">
                  <c:v>134.50108111570054</c:v>
                </c:pt>
                <c:pt idx="2363">
                  <c:v>134.50108111570054</c:v>
                </c:pt>
                <c:pt idx="2364">
                  <c:v>134.50108111570054</c:v>
                </c:pt>
                <c:pt idx="2365">
                  <c:v>134.50108111570054</c:v>
                </c:pt>
                <c:pt idx="2366">
                  <c:v>134.50108111570054</c:v>
                </c:pt>
                <c:pt idx="2367">
                  <c:v>134.50108111570054</c:v>
                </c:pt>
                <c:pt idx="2368">
                  <c:v>134.50108111570054</c:v>
                </c:pt>
                <c:pt idx="2369">
                  <c:v>134.50108111570054</c:v>
                </c:pt>
                <c:pt idx="2370">
                  <c:v>134.50108111570054</c:v>
                </c:pt>
                <c:pt idx="2371">
                  <c:v>134.50108111570054</c:v>
                </c:pt>
                <c:pt idx="2372">
                  <c:v>134.50108111570054</c:v>
                </c:pt>
                <c:pt idx="2373">
                  <c:v>134.50108111570054</c:v>
                </c:pt>
                <c:pt idx="2374">
                  <c:v>134.50108111570054</c:v>
                </c:pt>
                <c:pt idx="2375">
                  <c:v>134.50108111570054</c:v>
                </c:pt>
                <c:pt idx="2376">
                  <c:v>134.50108111570054</c:v>
                </c:pt>
                <c:pt idx="2377">
                  <c:v>134.50108111570054</c:v>
                </c:pt>
                <c:pt idx="2378">
                  <c:v>134.50108111570054</c:v>
                </c:pt>
                <c:pt idx="2379">
                  <c:v>134.50108111570054</c:v>
                </c:pt>
                <c:pt idx="2380">
                  <c:v>134.50108111570054</c:v>
                </c:pt>
                <c:pt idx="2381">
                  <c:v>134.50108111570054</c:v>
                </c:pt>
                <c:pt idx="2382">
                  <c:v>134.50108111570054</c:v>
                </c:pt>
                <c:pt idx="2383">
                  <c:v>134.50108111570054</c:v>
                </c:pt>
                <c:pt idx="2384">
                  <c:v>134.50108111570054</c:v>
                </c:pt>
                <c:pt idx="2385">
                  <c:v>134.50108111570054</c:v>
                </c:pt>
                <c:pt idx="2386">
                  <c:v>134.50108111570054</c:v>
                </c:pt>
                <c:pt idx="2387">
                  <c:v>134.50108111570054</c:v>
                </c:pt>
                <c:pt idx="2388">
                  <c:v>134.50108111570054</c:v>
                </c:pt>
                <c:pt idx="2389">
                  <c:v>134.50108111570054</c:v>
                </c:pt>
                <c:pt idx="2390">
                  <c:v>134.50108111570054</c:v>
                </c:pt>
                <c:pt idx="2391">
                  <c:v>134.50108111570054</c:v>
                </c:pt>
                <c:pt idx="2392">
                  <c:v>134.50108111570054</c:v>
                </c:pt>
                <c:pt idx="2393">
                  <c:v>134.50108111570054</c:v>
                </c:pt>
                <c:pt idx="2394">
                  <c:v>134.50108111570054</c:v>
                </c:pt>
                <c:pt idx="2395">
                  <c:v>134.50108111570054</c:v>
                </c:pt>
                <c:pt idx="2396">
                  <c:v>134.50108111570054</c:v>
                </c:pt>
                <c:pt idx="2397">
                  <c:v>134.50108111570054</c:v>
                </c:pt>
                <c:pt idx="2398">
                  <c:v>134.50108111570054</c:v>
                </c:pt>
                <c:pt idx="2399">
                  <c:v>134.50108111570054</c:v>
                </c:pt>
                <c:pt idx="2400">
                  <c:v>134.50108111570054</c:v>
                </c:pt>
                <c:pt idx="2401">
                  <c:v>134.50108111570054</c:v>
                </c:pt>
                <c:pt idx="2402">
                  <c:v>134.50108111570054</c:v>
                </c:pt>
                <c:pt idx="2403">
                  <c:v>134.50108111570054</c:v>
                </c:pt>
                <c:pt idx="2404">
                  <c:v>134.50108111570054</c:v>
                </c:pt>
                <c:pt idx="2405">
                  <c:v>134.50108111570054</c:v>
                </c:pt>
                <c:pt idx="2406">
                  <c:v>134.50108111570054</c:v>
                </c:pt>
                <c:pt idx="2407">
                  <c:v>134.50108111570054</c:v>
                </c:pt>
                <c:pt idx="2408">
                  <c:v>134.50108111570054</c:v>
                </c:pt>
                <c:pt idx="2409">
                  <c:v>134.50108111570054</c:v>
                </c:pt>
                <c:pt idx="2410">
                  <c:v>134.50108111570054</c:v>
                </c:pt>
                <c:pt idx="2411">
                  <c:v>134.50108111570054</c:v>
                </c:pt>
                <c:pt idx="2412">
                  <c:v>134.50108111570054</c:v>
                </c:pt>
                <c:pt idx="2413">
                  <c:v>134.50108111570054</c:v>
                </c:pt>
                <c:pt idx="2414">
                  <c:v>134.50108111570054</c:v>
                </c:pt>
                <c:pt idx="2415">
                  <c:v>134.50108111570054</c:v>
                </c:pt>
                <c:pt idx="2416">
                  <c:v>134.50108111570054</c:v>
                </c:pt>
                <c:pt idx="2417">
                  <c:v>134.50108111570054</c:v>
                </c:pt>
                <c:pt idx="2418">
                  <c:v>134.50108111570054</c:v>
                </c:pt>
                <c:pt idx="2419">
                  <c:v>134.50108111570054</c:v>
                </c:pt>
                <c:pt idx="2420">
                  <c:v>134.50108111570054</c:v>
                </c:pt>
                <c:pt idx="2421">
                  <c:v>134.50108111570054</c:v>
                </c:pt>
                <c:pt idx="2422">
                  <c:v>134.50108111570054</c:v>
                </c:pt>
                <c:pt idx="2423">
                  <c:v>134.50108111570054</c:v>
                </c:pt>
                <c:pt idx="2424">
                  <c:v>134.50108111570054</c:v>
                </c:pt>
                <c:pt idx="2425">
                  <c:v>134.50108111570054</c:v>
                </c:pt>
                <c:pt idx="2426">
                  <c:v>134.50108111570054</c:v>
                </c:pt>
                <c:pt idx="2427">
                  <c:v>134.50108111570054</c:v>
                </c:pt>
                <c:pt idx="2428">
                  <c:v>134.50108111570054</c:v>
                </c:pt>
                <c:pt idx="2429">
                  <c:v>134.50108111570054</c:v>
                </c:pt>
                <c:pt idx="2430">
                  <c:v>134.50108111570054</c:v>
                </c:pt>
                <c:pt idx="2431">
                  <c:v>134.50108111570054</c:v>
                </c:pt>
                <c:pt idx="2432">
                  <c:v>134.50108111570054</c:v>
                </c:pt>
                <c:pt idx="2433">
                  <c:v>134.50108111570054</c:v>
                </c:pt>
                <c:pt idx="2434">
                  <c:v>134.50108111570054</c:v>
                </c:pt>
                <c:pt idx="2435">
                  <c:v>134.50108111570054</c:v>
                </c:pt>
                <c:pt idx="2436">
                  <c:v>134.50108111570054</c:v>
                </c:pt>
                <c:pt idx="2437">
                  <c:v>134.50108111570054</c:v>
                </c:pt>
                <c:pt idx="2438">
                  <c:v>134.50108111570054</c:v>
                </c:pt>
                <c:pt idx="2439">
                  <c:v>134.50108111570054</c:v>
                </c:pt>
                <c:pt idx="2440">
                  <c:v>134.50108111570054</c:v>
                </c:pt>
                <c:pt idx="2441">
                  <c:v>134.50108111570054</c:v>
                </c:pt>
                <c:pt idx="2442">
                  <c:v>134.50108111570054</c:v>
                </c:pt>
                <c:pt idx="2443">
                  <c:v>134.50108111570054</c:v>
                </c:pt>
                <c:pt idx="2444">
                  <c:v>134.50108111570054</c:v>
                </c:pt>
                <c:pt idx="2445">
                  <c:v>134.50108111570054</c:v>
                </c:pt>
                <c:pt idx="2446">
                  <c:v>134.50108111570054</c:v>
                </c:pt>
                <c:pt idx="2447">
                  <c:v>134.50108111570054</c:v>
                </c:pt>
                <c:pt idx="2448">
                  <c:v>134.50108111570054</c:v>
                </c:pt>
                <c:pt idx="2449">
                  <c:v>134.50108111570054</c:v>
                </c:pt>
                <c:pt idx="2450">
                  <c:v>134.50108111570054</c:v>
                </c:pt>
                <c:pt idx="2451">
                  <c:v>134.50108111570054</c:v>
                </c:pt>
                <c:pt idx="2452">
                  <c:v>134.50108111570054</c:v>
                </c:pt>
                <c:pt idx="2453">
                  <c:v>134.50108111570054</c:v>
                </c:pt>
                <c:pt idx="2454">
                  <c:v>134.50108111570054</c:v>
                </c:pt>
                <c:pt idx="2455">
                  <c:v>134.50108111570054</c:v>
                </c:pt>
                <c:pt idx="2456">
                  <c:v>134.50108111570054</c:v>
                </c:pt>
                <c:pt idx="2457">
                  <c:v>134.50108111570054</c:v>
                </c:pt>
                <c:pt idx="2458">
                  <c:v>134.50108111570054</c:v>
                </c:pt>
                <c:pt idx="2459">
                  <c:v>134.50108111570054</c:v>
                </c:pt>
                <c:pt idx="2460">
                  <c:v>134.50108111570054</c:v>
                </c:pt>
                <c:pt idx="2461">
                  <c:v>134.50108111570054</c:v>
                </c:pt>
                <c:pt idx="2462">
                  <c:v>134.50108111570054</c:v>
                </c:pt>
                <c:pt idx="2463">
                  <c:v>134.50108111570054</c:v>
                </c:pt>
                <c:pt idx="2464">
                  <c:v>134.50108111570054</c:v>
                </c:pt>
                <c:pt idx="2465">
                  <c:v>134.50108111570054</c:v>
                </c:pt>
                <c:pt idx="2466">
                  <c:v>134.50108111570054</c:v>
                </c:pt>
                <c:pt idx="2467">
                  <c:v>134.50108111570054</c:v>
                </c:pt>
                <c:pt idx="2468">
                  <c:v>134.50108111570054</c:v>
                </c:pt>
                <c:pt idx="2469">
                  <c:v>134.50108111570054</c:v>
                </c:pt>
                <c:pt idx="2470">
                  <c:v>134.50108111570054</c:v>
                </c:pt>
                <c:pt idx="2471">
                  <c:v>134.50108111570054</c:v>
                </c:pt>
                <c:pt idx="2472">
                  <c:v>134.50108111570054</c:v>
                </c:pt>
                <c:pt idx="2473">
                  <c:v>134.50108111570054</c:v>
                </c:pt>
                <c:pt idx="2474">
                  <c:v>134.50108111570054</c:v>
                </c:pt>
                <c:pt idx="2475">
                  <c:v>134.50108111570054</c:v>
                </c:pt>
                <c:pt idx="2476">
                  <c:v>134.50108111570054</c:v>
                </c:pt>
                <c:pt idx="2477">
                  <c:v>134.50108111570054</c:v>
                </c:pt>
                <c:pt idx="2478">
                  <c:v>134.50108111570054</c:v>
                </c:pt>
                <c:pt idx="2479">
                  <c:v>134.50108111570054</c:v>
                </c:pt>
                <c:pt idx="2480">
                  <c:v>134.50108111570054</c:v>
                </c:pt>
                <c:pt idx="2481">
                  <c:v>134.50108111570054</c:v>
                </c:pt>
                <c:pt idx="2482">
                  <c:v>134.50108111570054</c:v>
                </c:pt>
                <c:pt idx="2483">
                  <c:v>134.50108111570054</c:v>
                </c:pt>
                <c:pt idx="2484">
                  <c:v>134.50108111570054</c:v>
                </c:pt>
                <c:pt idx="2485">
                  <c:v>134.50108111570054</c:v>
                </c:pt>
                <c:pt idx="2486">
                  <c:v>134.50108111570054</c:v>
                </c:pt>
                <c:pt idx="2487">
                  <c:v>134.50108111570054</c:v>
                </c:pt>
                <c:pt idx="2488">
                  <c:v>134.50108111570054</c:v>
                </c:pt>
                <c:pt idx="2489">
                  <c:v>134.50108111570054</c:v>
                </c:pt>
                <c:pt idx="2490">
                  <c:v>134.50108111570054</c:v>
                </c:pt>
                <c:pt idx="2491">
                  <c:v>134.50108111570054</c:v>
                </c:pt>
                <c:pt idx="2492">
                  <c:v>134.50108111570054</c:v>
                </c:pt>
                <c:pt idx="2493">
                  <c:v>134.50108111570054</c:v>
                </c:pt>
                <c:pt idx="2494">
                  <c:v>134.50108111570054</c:v>
                </c:pt>
                <c:pt idx="2495">
                  <c:v>134.50108111570054</c:v>
                </c:pt>
                <c:pt idx="2496">
                  <c:v>134.50108111570054</c:v>
                </c:pt>
                <c:pt idx="2497">
                  <c:v>134.50108111570054</c:v>
                </c:pt>
                <c:pt idx="2498">
                  <c:v>134.50108111570054</c:v>
                </c:pt>
                <c:pt idx="2499">
                  <c:v>134.50108111570054</c:v>
                </c:pt>
                <c:pt idx="2500">
                  <c:v>134.50108111570054</c:v>
                </c:pt>
                <c:pt idx="2501">
                  <c:v>134.50108111570054</c:v>
                </c:pt>
                <c:pt idx="2502">
                  <c:v>134.50108111570054</c:v>
                </c:pt>
                <c:pt idx="2503">
                  <c:v>134.50108111570054</c:v>
                </c:pt>
                <c:pt idx="2504">
                  <c:v>134.50108111570054</c:v>
                </c:pt>
                <c:pt idx="2505">
                  <c:v>134.50108111570054</c:v>
                </c:pt>
                <c:pt idx="2506">
                  <c:v>134.50108111570054</c:v>
                </c:pt>
                <c:pt idx="2507">
                  <c:v>134.50108111570054</c:v>
                </c:pt>
                <c:pt idx="2508">
                  <c:v>134.50108111570054</c:v>
                </c:pt>
                <c:pt idx="2509">
                  <c:v>134.50108111570054</c:v>
                </c:pt>
                <c:pt idx="2510">
                  <c:v>134.50108111570054</c:v>
                </c:pt>
                <c:pt idx="2511">
                  <c:v>134.50108111570054</c:v>
                </c:pt>
                <c:pt idx="2512">
                  <c:v>134.50108111570054</c:v>
                </c:pt>
                <c:pt idx="2513">
                  <c:v>134.50108111570054</c:v>
                </c:pt>
                <c:pt idx="2514">
                  <c:v>134.50108111570054</c:v>
                </c:pt>
                <c:pt idx="2515">
                  <c:v>134.50108111570054</c:v>
                </c:pt>
                <c:pt idx="2516">
                  <c:v>134.50108111570054</c:v>
                </c:pt>
                <c:pt idx="2517">
                  <c:v>134.50108111570054</c:v>
                </c:pt>
                <c:pt idx="2518">
                  <c:v>134.50108111570054</c:v>
                </c:pt>
                <c:pt idx="2519">
                  <c:v>134.50108111570054</c:v>
                </c:pt>
                <c:pt idx="2520">
                  <c:v>134.50108111570054</c:v>
                </c:pt>
                <c:pt idx="2521">
                  <c:v>134.50108111570054</c:v>
                </c:pt>
                <c:pt idx="2522">
                  <c:v>134.50108111570054</c:v>
                </c:pt>
                <c:pt idx="2523">
                  <c:v>134.50108111570054</c:v>
                </c:pt>
                <c:pt idx="2524">
                  <c:v>134.50108111570054</c:v>
                </c:pt>
                <c:pt idx="2525">
                  <c:v>134.50108111570054</c:v>
                </c:pt>
                <c:pt idx="2526">
                  <c:v>134.50108111570054</c:v>
                </c:pt>
                <c:pt idx="2527">
                  <c:v>134.50108111570054</c:v>
                </c:pt>
                <c:pt idx="2528">
                  <c:v>134.50108111570054</c:v>
                </c:pt>
                <c:pt idx="2529">
                  <c:v>134.50108111570054</c:v>
                </c:pt>
                <c:pt idx="2530">
                  <c:v>134.50108111570054</c:v>
                </c:pt>
                <c:pt idx="2531">
                  <c:v>134.50108111570054</c:v>
                </c:pt>
                <c:pt idx="2532">
                  <c:v>134.50108111570054</c:v>
                </c:pt>
                <c:pt idx="2533">
                  <c:v>134.50108111570054</c:v>
                </c:pt>
                <c:pt idx="2534">
                  <c:v>134.50108111570054</c:v>
                </c:pt>
                <c:pt idx="2535">
                  <c:v>134.50108111570054</c:v>
                </c:pt>
                <c:pt idx="2536">
                  <c:v>134.50108111570054</c:v>
                </c:pt>
                <c:pt idx="2537">
                  <c:v>134.50108111570054</c:v>
                </c:pt>
                <c:pt idx="2538">
                  <c:v>134.50108111570054</c:v>
                </c:pt>
                <c:pt idx="2539">
                  <c:v>134.50108111570054</c:v>
                </c:pt>
                <c:pt idx="2540">
                  <c:v>134.50108111570054</c:v>
                </c:pt>
                <c:pt idx="2541">
                  <c:v>134.50108111570054</c:v>
                </c:pt>
                <c:pt idx="2542">
                  <c:v>134.50108111570054</c:v>
                </c:pt>
                <c:pt idx="2543">
                  <c:v>134.50108111570054</c:v>
                </c:pt>
                <c:pt idx="2544">
                  <c:v>134.50108111570054</c:v>
                </c:pt>
                <c:pt idx="2545">
                  <c:v>134.50108111570054</c:v>
                </c:pt>
                <c:pt idx="2546">
                  <c:v>134.50108111570054</c:v>
                </c:pt>
                <c:pt idx="2547">
                  <c:v>134.50108111570054</c:v>
                </c:pt>
                <c:pt idx="2548">
                  <c:v>134.50108111570054</c:v>
                </c:pt>
                <c:pt idx="2549">
                  <c:v>134.50108111570054</c:v>
                </c:pt>
                <c:pt idx="2550">
                  <c:v>134.50108111570054</c:v>
                </c:pt>
                <c:pt idx="2551">
                  <c:v>134.50108111570054</c:v>
                </c:pt>
                <c:pt idx="2552">
                  <c:v>134.50108111570054</c:v>
                </c:pt>
                <c:pt idx="2553">
                  <c:v>134.50108111570054</c:v>
                </c:pt>
                <c:pt idx="2554">
                  <c:v>134.50108111570054</c:v>
                </c:pt>
                <c:pt idx="2555">
                  <c:v>134.50108111570054</c:v>
                </c:pt>
                <c:pt idx="2556">
                  <c:v>134.50108111570054</c:v>
                </c:pt>
                <c:pt idx="2557">
                  <c:v>134.50108111570054</c:v>
                </c:pt>
                <c:pt idx="2558">
                  <c:v>134.50108111570054</c:v>
                </c:pt>
                <c:pt idx="2559">
                  <c:v>134.50108111570054</c:v>
                </c:pt>
                <c:pt idx="2560">
                  <c:v>134.50108111570054</c:v>
                </c:pt>
                <c:pt idx="2561">
                  <c:v>134.50108111570054</c:v>
                </c:pt>
                <c:pt idx="2562">
                  <c:v>134.50108111570054</c:v>
                </c:pt>
                <c:pt idx="2563">
                  <c:v>134.50108111570054</c:v>
                </c:pt>
                <c:pt idx="2564">
                  <c:v>134.50108111570054</c:v>
                </c:pt>
                <c:pt idx="2565">
                  <c:v>134.50108111570054</c:v>
                </c:pt>
                <c:pt idx="2566">
                  <c:v>134.50108111570054</c:v>
                </c:pt>
                <c:pt idx="2567">
                  <c:v>134.50108111570054</c:v>
                </c:pt>
                <c:pt idx="2568">
                  <c:v>134.50108111570054</c:v>
                </c:pt>
                <c:pt idx="2569">
                  <c:v>134.50108111570054</c:v>
                </c:pt>
                <c:pt idx="2570">
                  <c:v>134.50108111570054</c:v>
                </c:pt>
                <c:pt idx="2571">
                  <c:v>134.50108111570054</c:v>
                </c:pt>
                <c:pt idx="2572">
                  <c:v>134.50108111570054</c:v>
                </c:pt>
                <c:pt idx="2573">
                  <c:v>134.50108111570054</c:v>
                </c:pt>
                <c:pt idx="2574">
                  <c:v>134.50108111570054</c:v>
                </c:pt>
                <c:pt idx="2575">
                  <c:v>134.50108111570054</c:v>
                </c:pt>
                <c:pt idx="2576">
                  <c:v>134.50108111570054</c:v>
                </c:pt>
                <c:pt idx="2577">
                  <c:v>134.50108111570054</c:v>
                </c:pt>
                <c:pt idx="2578">
                  <c:v>134.50108111570054</c:v>
                </c:pt>
                <c:pt idx="2579">
                  <c:v>134.50108111570054</c:v>
                </c:pt>
                <c:pt idx="2580">
                  <c:v>134.50108111570054</c:v>
                </c:pt>
                <c:pt idx="2581">
                  <c:v>134.50108111570054</c:v>
                </c:pt>
                <c:pt idx="2582">
                  <c:v>134.50108111570054</c:v>
                </c:pt>
                <c:pt idx="2583">
                  <c:v>134.50108111570054</c:v>
                </c:pt>
                <c:pt idx="2584">
                  <c:v>134.50108111570054</c:v>
                </c:pt>
                <c:pt idx="2585">
                  <c:v>134.50108111570054</c:v>
                </c:pt>
                <c:pt idx="2586">
                  <c:v>134.50108111570054</c:v>
                </c:pt>
                <c:pt idx="2587">
                  <c:v>134.50108111570054</c:v>
                </c:pt>
                <c:pt idx="2588">
                  <c:v>134.50108111570054</c:v>
                </c:pt>
                <c:pt idx="2589">
                  <c:v>134.50108111570054</c:v>
                </c:pt>
                <c:pt idx="2590">
                  <c:v>134.50108111570054</c:v>
                </c:pt>
                <c:pt idx="2591">
                  <c:v>134.50108111570054</c:v>
                </c:pt>
                <c:pt idx="2592">
                  <c:v>134.50108111570054</c:v>
                </c:pt>
                <c:pt idx="2593">
                  <c:v>134.50108111570054</c:v>
                </c:pt>
                <c:pt idx="2594">
                  <c:v>134.50108111570054</c:v>
                </c:pt>
                <c:pt idx="2595">
                  <c:v>134.50108111570054</c:v>
                </c:pt>
                <c:pt idx="2596">
                  <c:v>134.50108111570054</c:v>
                </c:pt>
                <c:pt idx="2597">
                  <c:v>134.50108111570054</c:v>
                </c:pt>
                <c:pt idx="2598">
                  <c:v>134.50108111570054</c:v>
                </c:pt>
                <c:pt idx="2599">
                  <c:v>134.50108111570054</c:v>
                </c:pt>
                <c:pt idx="2600">
                  <c:v>134.50108111570054</c:v>
                </c:pt>
                <c:pt idx="2601">
                  <c:v>134.50108111570054</c:v>
                </c:pt>
                <c:pt idx="2602">
                  <c:v>134.50108111570054</c:v>
                </c:pt>
                <c:pt idx="2603">
                  <c:v>134.50108111570054</c:v>
                </c:pt>
                <c:pt idx="2604">
                  <c:v>134.50108111570054</c:v>
                </c:pt>
                <c:pt idx="2605">
                  <c:v>134.50108111570054</c:v>
                </c:pt>
                <c:pt idx="2606">
                  <c:v>134.50108111570054</c:v>
                </c:pt>
                <c:pt idx="2607">
                  <c:v>134.50108111570054</c:v>
                </c:pt>
                <c:pt idx="2608">
                  <c:v>134.50108111570054</c:v>
                </c:pt>
                <c:pt idx="2609">
                  <c:v>134.50108111570054</c:v>
                </c:pt>
                <c:pt idx="2610">
                  <c:v>134.50108111570054</c:v>
                </c:pt>
                <c:pt idx="2611">
                  <c:v>134.50108111570054</c:v>
                </c:pt>
                <c:pt idx="2612">
                  <c:v>134.50108111570054</c:v>
                </c:pt>
                <c:pt idx="2613">
                  <c:v>134.50108111570054</c:v>
                </c:pt>
                <c:pt idx="2614">
                  <c:v>134.50108111570054</c:v>
                </c:pt>
                <c:pt idx="2615">
                  <c:v>134.50108111570054</c:v>
                </c:pt>
                <c:pt idx="2616">
                  <c:v>134.50108111570054</c:v>
                </c:pt>
                <c:pt idx="2617">
                  <c:v>134.50108111570054</c:v>
                </c:pt>
                <c:pt idx="2618">
                  <c:v>134.50108111570054</c:v>
                </c:pt>
                <c:pt idx="2619">
                  <c:v>134.50108111570054</c:v>
                </c:pt>
                <c:pt idx="2620">
                  <c:v>134.50108111570054</c:v>
                </c:pt>
                <c:pt idx="2621">
                  <c:v>134.50108111570054</c:v>
                </c:pt>
                <c:pt idx="2622">
                  <c:v>134.50108111570054</c:v>
                </c:pt>
                <c:pt idx="2623">
                  <c:v>134.50108111570054</c:v>
                </c:pt>
                <c:pt idx="2624">
                  <c:v>134.50108111570054</c:v>
                </c:pt>
                <c:pt idx="2625">
                  <c:v>134.50108111570054</c:v>
                </c:pt>
                <c:pt idx="2626">
                  <c:v>134.50108111570054</c:v>
                </c:pt>
                <c:pt idx="2627">
                  <c:v>134.50108111570054</c:v>
                </c:pt>
                <c:pt idx="2628">
                  <c:v>134.50108111570054</c:v>
                </c:pt>
                <c:pt idx="2629">
                  <c:v>134.50108111570054</c:v>
                </c:pt>
                <c:pt idx="2630">
                  <c:v>134.50108111570054</c:v>
                </c:pt>
                <c:pt idx="2631">
                  <c:v>134.50108111570054</c:v>
                </c:pt>
                <c:pt idx="2632">
                  <c:v>134.50108111570054</c:v>
                </c:pt>
                <c:pt idx="2633">
                  <c:v>134.50108111570054</c:v>
                </c:pt>
                <c:pt idx="2634">
                  <c:v>134.50108111570054</c:v>
                </c:pt>
                <c:pt idx="2635">
                  <c:v>134.50108111570054</c:v>
                </c:pt>
                <c:pt idx="2636">
                  <c:v>134.50108111570054</c:v>
                </c:pt>
                <c:pt idx="2637">
                  <c:v>134.50108111570054</c:v>
                </c:pt>
                <c:pt idx="2638">
                  <c:v>134.50108111570054</c:v>
                </c:pt>
                <c:pt idx="2639">
                  <c:v>134.50108111570054</c:v>
                </c:pt>
                <c:pt idx="2640">
                  <c:v>134.50108111570054</c:v>
                </c:pt>
                <c:pt idx="2641">
                  <c:v>134.50108111570054</c:v>
                </c:pt>
                <c:pt idx="2642">
                  <c:v>134.50108111570054</c:v>
                </c:pt>
                <c:pt idx="2643">
                  <c:v>134.50108111570054</c:v>
                </c:pt>
                <c:pt idx="2644">
                  <c:v>134.50108111570054</c:v>
                </c:pt>
                <c:pt idx="2645">
                  <c:v>134.50108111570054</c:v>
                </c:pt>
                <c:pt idx="2646">
                  <c:v>134.50108111570054</c:v>
                </c:pt>
                <c:pt idx="2647">
                  <c:v>134.50108111570054</c:v>
                </c:pt>
                <c:pt idx="2648">
                  <c:v>134.50108111570054</c:v>
                </c:pt>
                <c:pt idx="2649">
                  <c:v>134.50108111570054</c:v>
                </c:pt>
                <c:pt idx="2650">
                  <c:v>134.50108111570054</c:v>
                </c:pt>
                <c:pt idx="2651">
                  <c:v>134.50108111570054</c:v>
                </c:pt>
                <c:pt idx="2652">
                  <c:v>134.50108111570054</c:v>
                </c:pt>
                <c:pt idx="2653">
                  <c:v>134.50108111570054</c:v>
                </c:pt>
                <c:pt idx="2654">
                  <c:v>134.50108111570054</c:v>
                </c:pt>
                <c:pt idx="2655">
                  <c:v>134.50108111570054</c:v>
                </c:pt>
                <c:pt idx="2656">
                  <c:v>134.50108111570054</c:v>
                </c:pt>
                <c:pt idx="2657">
                  <c:v>134.50108111570054</c:v>
                </c:pt>
                <c:pt idx="2658">
                  <c:v>134.50108111570054</c:v>
                </c:pt>
                <c:pt idx="2659">
                  <c:v>134.50108111570054</c:v>
                </c:pt>
                <c:pt idx="2660">
                  <c:v>134.50108111570054</c:v>
                </c:pt>
                <c:pt idx="2661">
                  <c:v>134.50108111570054</c:v>
                </c:pt>
                <c:pt idx="2662">
                  <c:v>134.50108111570054</c:v>
                </c:pt>
                <c:pt idx="2663">
                  <c:v>134.50108111570054</c:v>
                </c:pt>
                <c:pt idx="2664">
                  <c:v>134.50108111570054</c:v>
                </c:pt>
                <c:pt idx="2665">
                  <c:v>134.50108111570054</c:v>
                </c:pt>
                <c:pt idx="2666">
                  <c:v>134.50108111570054</c:v>
                </c:pt>
                <c:pt idx="2667">
                  <c:v>134.50108111570054</c:v>
                </c:pt>
                <c:pt idx="2668">
                  <c:v>134.50108111570054</c:v>
                </c:pt>
                <c:pt idx="2669">
                  <c:v>134.50108111570054</c:v>
                </c:pt>
                <c:pt idx="2670">
                  <c:v>134.50108111570054</c:v>
                </c:pt>
                <c:pt idx="2671">
                  <c:v>134.50108111570054</c:v>
                </c:pt>
                <c:pt idx="2672">
                  <c:v>134.50108111570054</c:v>
                </c:pt>
                <c:pt idx="2673">
                  <c:v>134.50108111570054</c:v>
                </c:pt>
                <c:pt idx="2674">
                  <c:v>134.50108111570054</c:v>
                </c:pt>
                <c:pt idx="2675">
                  <c:v>134.50108111570054</c:v>
                </c:pt>
                <c:pt idx="2676">
                  <c:v>134.50108111570054</c:v>
                </c:pt>
                <c:pt idx="2677">
                  <c:v>134.50108111570054</c:v>
                </c:pt>
                <c:pt idx="2678">
                  <c:v>134.50108111570054</c:v>
                </c:pt>
                <c:pt idx="2679">
                  <c:v>134.50108111570054</c:v>
                </c:pt>
                <c:pt idx="2680">
                  <c:v>134.50108111570054</c:v>
                </c:pt>
                <c:pt idx="2681">
                  <c:v>134.50108111570054</c:v>
                </c:pt>
                <c:pt idx="2682">
                  <c:v>134.50108111570054</c:v>
                </c:pt>
                <c:pt idx="2683">
                  <c:v>134.50108111570054</c:v>
                </c:pt>
                <c:pt idx="2684">
                  <c:v>134.50108111570054</c:v>
                </c:pt>
                <c:pt idx="2685">
                  <c:v>134.50108111570054</c:v>
                </c:pt>
                <c:pt idx="2686">
                  <c:v>134.50108111570054</c:v>
                </c:pt>
                <c:pt idx="2687">
                  <c:v>134.50108111570054</c:v>
                </c:pt>
                <c:pt idx="2688">
                  <c:v>134.50108111570054</c:v>
                </c:pt>
                <c:pt idx="2689">
                  <c:v>134.50108111570054</c:v>
                </c:pt>
                <c:pt idx="2690">
                  <c:v>134.50108111570054</c:v>
                </c:pt>
                <c:pt idx="2691">
                  <c:v>134.50108111570054</c:v>
                </c:pt>
                <c:pt idx="2692">
                  <c:v>134.50108111570054</c:v>
                </c:pt>
                <c:pt idx="2693">
                  <c:v>134.50108111570054</c:v>
                </c:pt>
                <c:pt idx="2694">
                  <c:v>134.50108111570054</c:v>
                </c:pt>
                <c:pt idx="2695">
                  <c:v>134.50108111570054</c:v>
                </c:pt>
                <c:pt idx="2696">
                  <c:v>134.50108111570054</c:v>
                </c:pt>
                <c:pt idx="2697">
                  <c:v>134.50108111570054</c:v>
                </c:pt>
                <c:pt idx="2698">
                  <c:v>134.50108111570054</c:v>
                </c:pt>
                <c:pt idx="2699">
                  <c:v>134.50108111570054</c:v>
                </c:pt>
                <c:pt idx="2700">
                  <c:v>134.50108111570054</c:v>
                </c:pt>
                <c:pt idx="2701">
                  <c:v>134.50108111570054</c:v>
                </c:pt>
                <c:pt idx="2702">
                  <c:v>134.50108111570054</c:v>
                </c:pt>
                <c:pt idx="2703">
                  <c:v>134.50108111570054</c:v>
                </c:pt>
                <c:pt idx="2704">
                  <c:v>134.50108111570054</c:v>
                </c:pt>
                <c:pt idx="2705">
                  <c:v>134.50108111570054</c:v>
                </c:pt>
                <c:pt idx="2706">
                  <c:v>134.50108111570054</c:v>
                </c:pt>
                <c:pt idx="2707">
                  <c:v>134.50108111570054</c:v>
                </c:pt>
                <c:pt idx="2708">
                  <c:v>134.50108111570054</c:v>
                </c:pt>
                <c:pt idx="2709">
                  <c:v>134.50108111570054</c:v>
                </c:pt>
                <c:pt idx="2710">
                  <c:v>134.50108111570054</c:v>
                </c:pt>
                <c:pt idx="2711">
                  <c:v>134.50108111570054</c:v>
                </c:pt>
                <c:pt idx="2712">
                  <c:v>134.50108111570054</c:v>
                </c:pt>
                <c:pt idx="2713">
                  <c:v>134.50108111570054</c:v>
                </c:pt>
                <c:pt idx="2714">
                  <c:v>134.50108111570054</c:v>
                </c:pt>
                <c:pt idx="2715">
                  <c:v>134.50108111570054</c:v>
                </c:pt>
                <c:pt idx="2716">
                  <c:v>134.50108111570054</c:v>
                </c:pt>
                <c:pt idx="2717">
                  <c:v>134.50108111570054</c:v>
                </c:pt>
                <c:pt idx="2718">
                  <c:v>134.50108111570054</c:v>
                </c:pt>
                <c:pt idx="2719">
                  <c:v>134.50108111570054</c:v>
                </c:pt>
                <c:pt idx="2720">
                  <c:v>134.50108111570054</c:v>
                </c:pt>
                <c:pt idx="2721">
                  <c:v>134.50108111570054</c:v>
                </c:pt>
                <c:pt idx="2722">
                  <c:v>134.50108111570054</c:v>
                </c:pt>
                <c:pt idx="2723">
                  <c:v>134.50108111570054</c:v>
                </c:pt>
                <c:pt idx="2724">
                  <c:v>134.50108111570054</c:v>
                </c:pt>
                <c:pt idx="2725">
                  <c:v>134.50108111570054</c:v>
                </c:pt>
                <c:pt idx="2726">
                  <c:v>134.50108111570054</c:v>
                </c:pt>
                <c:pt idx="2727">
                  <c:v>134.50108111570054</c:v>
                </c:pt>
                <c:pt idx="2728">
                  <c:v>134.50108111570054</c:v>
                </c:pt>
                <c:pt idx="2729">
                  <c:v>134.50108111570054</c:v>
                </c:pt>
                <c:pt idx="2730">
                  <c:v>134.50108111570054</c:v>
                </c:pt>
                <c:pt idx="2731">
                  <c:v>134.50108111570054</c:v>
                </c:pt>
                <c:pt idx="2732">
                  <c:v>134.50108111570054</c:v>
                </c:pt>
                <c:pt idx="2733">
                  <c:v>134.50108111570054</c:v>
                </c:pt>
                <c:pt idx="2734">
                  <c:v>134.50108111570054</c:v>
                </c:pt>
                <c:pt idx="2735">
                  <c:v>134.50108111570054</c:v>
                </c:pt>
                <c:pt idx="2736">
                  <c:v>134.50108111570054</c:v>
                </c:pt>
                <c:pt idx="2737">
                  <c:v>134.50108111570054</c:v>
                </c:pt>
                <c:pt idx="2738">
                  <c:v>134.50108111570054</c:v>
                </c:pt>
                <c:pt idx="2739">
                  <c:v>134.50108111570054</c:v>
                </c:pt>
                <c:pt idx="2740">
                  <c:v>134.50108111570054</c:v>
                </c:pt>
                <c:pt idx="2741">
                  <c:v>134.50108111570054</c:v>
                </c:pt>
                <c:pt idx="2742">
                  <c:v>134.50108111570054</c:v>
                </c:pt>
                <c:pt idx="2743">
                  <c:v>134.50108111570054</c:v>
                </c:pt>
                <c:pt idx="2744">
                  <c:v>134.50108111570054</c:v>
                </c:pt>
                <c:pt idx="2745">
                  <c:v>134.50108111570054</c:v>
                </c:pt>
                <c:pt idx="2746">
                  <c:v>134.50108111570054</c:v>
                </c:pt>
                <c:pt idx="2747">
                  <c:v>134.50108111570054</c:v>
                </c:pt>
                <c:pt idx="2748">
                  <c:v>134.50108111570054</c:v>
                </c:pt>
                <c:pt idx="2749">
                  <c:v>134.50108111570054</c:v>
                </c:pt>
                <c:pt idx="2750">
                  <c:v>134.50108111570054</c:v>
                </c:pt>
                <c:pt idx="2751">
                  <c:v>134.50108111570054</c:v>
                </c:pt>
                <c:pt idx="2752">
                  <c:v>134.50108111570054</c:v>
                </c:pt>
                <c:pt idx="2753">
                  <c:v>134.50108111570054</c:v>
                </c:pt>
                <c:pt idx="2754">
                  <c:v>134.50108111570054</c:v>
                </c:pt>
                <c:pt idx="2755">
                  <c:v>134.50108111570054</c:v>
                </c:pt>
                <c:pt idx="2756">
                  <c:v>134.50108111570054</c:v>
                </c:pt>
                <c:pt idx="2757">
                  <c:v>134.50108111570054</c:v>
                </c:pt>
                <c:pt idx="2758">
                  <c:v>134.50108111570054</c:v>
                </c:pt>
                <c:pt idx="2759">
                  <c:v>134.50108111570054</c:v>
                </c:pt>
                <c:pt idx="2760">
                  <c:v>134.50108111570054</c:v>
                </c:pt>
                <c:pt idx="2761">
                  <c:v>134.50108111570054</c:v>
                </c:pt>
                <c:pt idx="2762">
                  <c:v>134.50108111570054</c:v>
                </c:pt>
                <c:pt idx="2763">
                  <c:v>134.50108111570054</c:v>
                </c:pt>
                <c:pt idx="2764">
                  <c:v>134.50108111570054</c:v>
                </c:pt>
                <c:pt idx="2765">
                  <c:v>134.50108111570054</c:v>
                </c:pt>
                <c:pt idx="2766">
                  <c:v>134.50108111570054</c:v>
                </c:pt>
                <c:pt idx="2767">
                  <c:v>134.50108111570054</c:v>
                </c:pt>
                <c:pt idx="2768">
                  <c:v>134.50108111570054</c:v>
                </c:pt>
                <c:pt idx="2769">
                  <c:v>134.50108111570054</c:v>
                </c:pt>
                <c:pt idx="2770">
                  <c:v>134.50108111570054</c:v>
                </c:pt>
                <c:pt idx="2771">
                  <c:v>134.50108111570054</c:v>
                </c:pt>
                <c:pt idx="2772">
                  <c:v>134.50108111570054</c:v>
                </c:pt>
                <c:pt idx="2773">
                  <c:v>134.50108111570054</c:v>
                </c:pt>
                <c:pt idx="2774">
                  <c:v>134.50108111570054</c:v>
                </c:pt>
                <c:pt idx="2775">
                  <c:v>134.50108111570054</c:v>
                </c:pt>
                <c:pt idx="2776">
                  <c:v>134.50108111570054</c:v>
                </c:pt>
                <c:pt idx="2777">
                  <c:v>134.50108111570054</c:v>
                </c:pt>
                <c:pt idx="2778">
                  <c:v>134.50108111570054</c:v>
                </c:pt>
                <c:pt idx="2779">
                  <c:v>134.50108111570054</c:v>
                </c:pt>
                <c:pt idx="2780">
                  <c:v>134.50108111570054</c:v>
                </c:pt>
                <c:pt idx="2781">
                  <c:v>134.50108111570054</c:v>
                </c:pt>
                <c:pt idx="2782">
                  <c:v>134.50108111570054</c:v>
                </c:pt>
                <c:pt idx="2783">
                  <c:v>134.50108111570054</c:v>
                </c:pt>
                <c:pt idx="2784">
                  <c:v>134.50108111570054</c:v>
                </c:pt>
                <c:pt idx="2785">
                  <c:v>134.50108111570054</c:v>
                </c:pt>
                <c:pt idx="2786">
                  <c:v>134.50108111570054</c:v>
                </c:pt>
                <c:pt idx="2787">
                  <c:v>134.50108111570054</c:v>
                </c:pt>
                <c:pt idx="2788">
                  <c:v>134.50108111570054</c:v>
                </c:pt>
                <c:pt idx="2789">
                  <c:v>134.50108111570054</c:v>
                </c:pt>
                <c:pt idx="2790">
                  <c:v>134.50108111570054</c:v>
                </c:pt>
                <c:pt idx="2791">
                  <c:v>134.50108111570054</c:v>
                </c:pt>
                <c:pt idx="2792">
                  <c:v>134.50108111570054</c:v>
                </c:pt>
                <c:pt idx="2793">
                  <c:v>134.50108111570054</c:v>
                </c:pt>
                <c:pt idx="2794">
                  <c:v>134.50108111570054</c:v>
                </c:pt>
                <c:pt idx="2795">
                  <c:v>134.50108111570054</c:v>
                </c:pt>
                <c:pt idx="2796">
                  <c:v>134.50108111570054</c:v>
                </c:pt>
                <c:pt idx="2797">
                  <c:v>134.50108111570054</c:v>
                </c:pt>
                <c:pt idx="2798">
                  <c:v>134.50108111570054</c:v>
                </c:pt>
                <c:pt idx="2799">
                  <c:v>134.50108111570054</c:v>
                </c:pt>
                <c:pt idx="2800">
                  <c:v>134.50108111570054</c:v>
                </c:pt>
                <c:pt idx="2801">
                  <c:v>134.50108111570054</c:v>
                </c:pt>
                <c:pt idx="2802">
                  <c:v>134.50108111570054</c:v>
                </c:pt>
                <c:pt idx="2803">
                  <c:v>134.50108111570054</c:v>
                </c:pt>
                <c:pt idx="2804">
                  <c:v>134.50108111570054</c:v>
                </c:pt>
                <c:pt idx="2805">
                  <c:v>134.50108111570054</c:v>
                </c:pt>
                <c:pt idx="2806">
                  <c:v>134.50108111570054</c:v>
                </c:pt>
                <c:pt idx="2807">
                  <c:v>134.50108111570054</c:v>
                </c:pt>
                <c:pt idx="2808">
                  <c:v>134.50108111570054</c:v>
                </c:pt>
                <c:pt idx="2809">
                  <c:v>134.50108111570054</c:v>
                </c:pt>
                <c:pt idx="2810">
                  <c:v>134.50108111570054</c:v>
                </c:pt>
                <c:pt idx="2811">
                  <c:v>134.50108111570054</c:v>
                </c:pt>
                <c:pt idx="2812">
                  <c:v>134.50108111570054</c:v>
                </c:pt>
                <c:pt idx="2813">
                  <c:v>134.50108111570054</c:v>
                </c:pt>
                <c:pt idx="2814">
                  <c:v>134.50108111570054</c:v>
                </c:pt>
                <c:pt idx="2815">
                  <c:v>134.50108111570054</c:v>
                </c:pt>
                <c:pt idx="2816">
                  <c:v>134.50108111570054</c:v>
                </c:pt>
                <c:pt idx="2817">
                  <c:v>134.50108111570054</c:v>
                </c:pt>
                <c:pt idx="2818">
                  <c:v>134.50108111570054</c:v>
                </c:pt>
                <c:pt idx="2819">
                  <c:v>134.50108111570054</c:v>
                </c:pt>
                <c:pt idx="2820">
                  <c:v>134.50108111570054</c:v>
                </c:pt>
                <c:pt idx="2821">
                  <c:v>134.50108111570054</c:v>
                </c:pt>
                <c:pt idx="2822">
                  <c:v>134.50108111570054</c:v>
                </c:pt>
                <c:pt idx="2823">
                  <c:v>134.50108111570054</c:v>
                </c:pt>
                <c:pt idx="2824">
                  <c:v>134.50108111570054</c:v>
                </c:pt>
                <c:pt idx="2825">
                  <c:v>134.50108111570054</c:v>
                </c:pt>
                <c:pt idx="2826">
                  <c:v>134.50108111570054</c:v>
                </c:pt>
                <c:pt idx="2827">
                  <c:v>134.50108111570054</c:v>
                </c:pt>
                <c:pt idx="2828">
                  <c:v>134.50108111570054</c:v>
                </c:pt>
                <c:pt idx="2829">
                  <c:v>134.50108111570054</c:v>
                </c:pt>
                <c:pt idx="2830">
                  <c:v>134.50108111570054</c:v>
                </c:pt>
                <c:pt idx="2831">
                  <c:v>134.50108111570054</c:v>
                </c:pt>
                <c:pt idx="2832">
                  <c:v>134.50108111570054</c:v>
                </c:pt>
                <c:pt idx="2833">
                  <c:v>134.50108111570054</c:v>
                </c:pt>
                <c:pt idx="2834">
                  <c:v>134.50108111570054</c:v>
                </c:pt>
                <c:pt idx="2835">
                  <c:v>134.50108111570054</c:v>
                </c:pt>
                <c:pt idx="2836">
                  <c:v>134.50108111570054</c:v>
                </c:pt>
                <c:pt idx="2837">
                  <c:v>134.50108111570054</c:v>
                </c:pt>
                <c:pt idx="2838">
                  <c:v>134.50108111570054</c:v>
                </c:pt>
                <c:pt idx="2839">
                  <c:v>134.50108111570054</c:v>
                </c:pt>
                <c:pt idx="2840">
                  <c:v>134.50108111570054</c:v>
                </c:pt>
                <c:pt idx="2841">
                  <c:v>134.50108111570054</c:v>
                </c:pt>
                <c:pt idx="2842">
                  <c:v>134.50108111570054</c:v>
                </c:pt>
                <c:pt idx="2843">
                  <c:v>134.50108111570054</c:v>
                </c:pt>
                <c:pt idx="2844">
                  <c:v>134.50108111570054</c:v>
                </c:pt>
                <c:pt idx="2845">
                  <c:v>134.50108111570054</c:v>
                </c:pt>
                <c:pt idx="2846">
                  <c:v>134.50108111570054</c:v>
                </c:pt>
                <c:pt idx="2847">
                  <c:v>134.50108111570054</c:v>
                </c:pt>
                <c:pt idx="2848">
                  <c:v>134.50108111570054</c:v>
                </c:pt>
                <c:pt idx="2849">
                  <c:v>134.50108111570054</c:v>
                </c:pt>
                <c:pt idx="2850">
                  <c:v>134.50108111570054</c:v>
                </c:pt>
                <c:pt idx="2851">
                  <c:v>134.50108111570054</c:v>
                </c:pt>
                <c:pt idx="2852">
                  <c:v>134.50108111570054</c:v>
                </c:pt>
                <c:pt idx="2853">
                  <c:v>134.50108111570054</c:v>
                </c:pt>
                <c:pt idx="2854">
                  <c:v>134.50108111570054</c:v>
                </c:pt>
                <c:pt idx="2855">
                  <c:v>134.50108111570054</c:v>
                </c:pt>
                <c:pt idx="2856">
                  <c:v>134.50108111570054</c:v>
                </c:pt>
                <c:pt idx="2857">
                  <c:v>134.50108111570054</c:v>
                </c:pt>
                <c:pt idx="2858">
                  <c:v>134.50108111570054</c:v>
                </c:pt>
                <c:pt idx="2859">
                  <c:v>134.50108111570054</c:v>
                </c:pt>
                <c:pt idx="2860">
                  <c:v>134.50108111570054</c:v>
                </c:pt>
                <c:pt idx="2861">
                  <c:v>134.50108111570054</c:v>
                </c:pt>
                <c:pt idx="2862">
                  <c:v>134.50108111570054</c:v>
                </c:pt>
                <c:pt idx="2863">
                  <c:v>134.50108111570054</c:v>
                </c:pt>
                <c:pt idx="2864">
                  <c:v>134.50108111570054</c:v>
                </c:pt>
                <c:pt idx="2865">
                  <c:v>134.50108111570054</c:v>
                </c:pt>
                <c:pt idx="2866">
                  <c:v>134.50108111570054</c:v>
                </c:pt>
                <c:pt idx="2867">
                  <c:v>134.50108111570054</c:v>
                </c:pt>
                <c:pt idx="2868">
                  <c:v>134.50108111570054</c:v>
                </c:pt>
                <c:pt idx="2869">
                  <c:v>134.50108111570054</c:v>
                </c:pt>
                <c:pt idx="2870">
                  <c:v>134.50108111570054</c:v>
                </c:pt>
                <c:pt idx="2871">
                  <c:v>134.50108111570054</c:v>
                </c:pt>
                <c:pt idx="2872">
                  <c:v>134.50108111570054</c:v>
                </c:pt>
                <c:pt idx="2873">
                  <c:v>134.50108111570054</c:v>
                </c:pt>
                <c:pt idx="2874">
                  <c:v>134.50108111570054</c:v>
                </c:pt>
                <c:pt idx="2875">
                  <c:v>134.50108111570054</c:v>
                </c:pt>
                <c:pt idx="2876">
                  <c:v>134.50108111570054</c:v>
                </c:pt>
                <c:pt idx="2877">
                  <c:v>134.50108111570054</c:v>
                </c:pt>
                <c:pt idx="2878">
                  <c:v>134.50108111570054</c:v>
                </c:pt>
                <c:pt idx="2879">
                  <c:v>134.50108111570054</c:v>
                </c:pt>
                <c:pt idx="2880">
                  <c:v>134.50108111570054</c:v>
                </c:pt>
                <c:pt idx="2881">
                  <c:v>134.50108111570054</c:v>
                </c:pt>
                <c:pt idx="2882">
                  <c:v>134.50108111570054</c:v>
                </c:pt>
                <c:pt idx="2883">
                  <c:v>134.50108111570054</c:v>
                </c:pt>
                <c:pt idx="2884">
                  <c:v>134.50108111570054</c:v>
                </c:pt>
                <c:pt idx="2885">
                  <c:v>134.50108111570054</c:v>
                </c:pt>
                <c:pt idx="2886">
                  <c:v>134.50108111570054</c:v>
                </c:pt>
                <c:pt idx="2887">
                  <c:v>134.50108111570054</c:v>
                </c:pt>
                <c:pt idx="2888">
                  <c:v>134.50108111570054</c:v>
                </c:pt>
                <c:pt idx="2889">
                  <c:v>134.50108111570054</c:v>
                </c:pt>
                <c:pt idx="2890">
                  <c:v>134.50108111570054</c:v>
                </c:pt>
                <c:pt idx="2891">
                  <c:v>134.50108111570054</c:v>
                </c:pt>
                <c:pt idx="2892">
                  <c:v>134.50108111570054</c:v>
                </c:pt>
                <c:pt idx="2893">
                  <c:v>134.50108111570054</c:v>
                </c:pt>
                <c:pt idx="2894">
                  <c:v>134.50108111570054</c:v>
                </c:pt>
                <c:pt idx="2895">
                  <c:v>134.50108111570054</c:v>
                </c:pt>
                <c:pt idx="2896">
                  <c:v>134.50108111570054</c:v>
                </c:pt>
                <c:pt idx="2897">
                  <c:v>134.50108111570054</c:v>
                </c:pt>
                <c:pt idx="2898">
                  <c:v>134.50108111570054</c:v>
                </c:pt>
                <c:pt idx="2899">
                  <c:v>134.50108111570054</c:v>
                </c:pt>
                <c:pt idx="2900">
                  <c:v>134.50108111570054</c:v>
                </c:pt>
                <c:pt idx="2901">
                  <c:v>134.50108111570054</c:v>
                </c:pt>
                <c:pt idx="2902">
                  <c:v>134.50108111570054</c:v>
                </c:pt>
                <c:pt idx="2903">
                  <c:v>134.50108111570054</c:v>
                </c:pt>
                <c:pt idx="2904">
                  <c:v>134.50108111570054</c:v>
                </c:pt>
                <c:pt idx="2905">
                  <c:v>134.50108111570054</c:v>
                </c:pt>
                <c:pt idx="2906">
                  <c:v>134.50108111570054</c:v>
                </c:pt>
                <c:pt idx="2907">
                  <c:v>134.50108111570054</c:v>
                </c:pt>
                <c:pt idx="2908">
                  <c:v>134.50108111570054</c:v>
                </c:pt>
                <c:pt idx="2909">
                  <c:v>134.50108111570054</c:v>
                </c:pt>
                <c:pt idx="2910">
                  <c:v>134.50108111570054</c:v>
                </c:pt>
                <c:pt idx="2911">
                  <c:v>134.50108111570054</c:v>
                </c:pt>
                <c:pt idx="2912">
                  <c:v>134.50108111570054</c:v>
                </c:pt>
                <c:pt idx="2913">
                  <c:v>134.50108111570054</c:v>
                </c:pt>
                <c:pt idx="2914">
                  <c:v>134.50108111570054</c:v>
                </c:pt>
                <c:pt idx="2915">
                  <c:v>134.50108111570054</c:v>
                </c:pt>
                <c:pt idx="2916">
                  <c:v>134.50108111570054</c:v>
                </c:pt>
                <c:pt idx="2917">
                  <c:v>134.50108111570054</c:v>
                </c:pt>
                <c:pt idx="2918">
                  <c:v>134.50108111570054</c:v>
                </c:pt>
                <c:pt idx="2919">
                  <c:v>134.50108111570054</c:v>
                </c:pt>
                <c:pt idx="2920">
                  <c:v>134.50108111570054</c:v>
                </c:pt>
                <c:pt idx="2921">
                  <c:v>134.50108111570054</c:v>
                </c:pt>
                <c:pt idx="2922">
                  <c:v>134.50108111570054</c:v>
                </c:pt>
                <c:pt idx="2923">
                  <c:v>134.50108111570054</c:v>
                </c:pt>
                <c:pt idx="2924">
                  <c:v>134.50108111570054</c:v>
                </c:pt>
                <c:pt idx="2925">
                  <c:v>134.50108111570054</c:v>
                </c:pt>
                <c:pt idx="2926">
                  <c:v>134.50108111570054</c:v>
                </c:pt>
                <c:pt idx="2927">
                  <c:v>134.50108111570054</c:v>
                </c:pt>
                <c:pt idx="2928">
                  <c:v>134.50108111570054</c:v>
                </c:pt>
                <c:pt idx="2929">
                  <c:v>134.50108111570054</c:v>
                </c:pt>
                <c:pt idx="2930">
                  <c:v>134.50108111570054</c:v>
                </c:pt>
                <c:pt idx="2931">
                  <c:v>134.50108111570054</c:v>
                </c:pt>
                <c:pt idx="2932">
                  <c:v>134.50108111570054</c:v>
                </c:pt>
                <c:pt idx="2933">
                  <c:v>134.50108111570054</c:v>
                </c:pt>
                <c:pt idx="2934">
                  <c:v>134.50108111570054</c:v>
                </c:pt>
                <c:pt idx="2935">
                  <c:v>134.50108111570054</c:v>
                </c:pt>
                <c:pt idx="2936">
                  <c:v>134.50108111570054</c:v>
                </c:pt>
                <c:pt idx="2937">
                  <c:v>134.50108111570054</c:v>
                </c:pt>
                <c:pt idx="2938">
                  <c:v>134.50108111570054</c:v>
                </c:pt>
                <c:pt idx="2939">
                  <c:v>134.50108111570054</c:v>
                </c:pt>
                <c:pt idx="2940">
                  <c:v>134.50108111570054</c:v>
                </c:pt>
                <c:pt idx="2941">
                  <c:v>134.50108111570054</c:v>
                </c:pt>
                <c:pt idx="2942">
                  <c:v>134.50108111570054</c:v>
                </c:pt>
                <c:pt idx="2943">
                  <c:v>134.50108111570054</c:v>
                </c:pt>
                <c:pt idx="2944">
                  <c:v>134.50108111570054</c:v>
                </c:pt>
                <c:pt idx="2945">
                  <c:v>134.50108111570054</c:v>
                </c:pt>
                <c:pt idx="2946">
                  <c:v>134.50108111570054</c:v>
                </c:pt>
                <c:pt idx="2947">
                  <c:v>134.50108111570054</c:v>
                </c:pt>
                <c:pt idx="2948">
                  <c:v>134.50108111570054</c:v>
                </c:pt>
                <c:pt idx="2949">
                  <c:v>134.50108111570054</c:v>
                </c:pt>
                <c:pt idx="2950">
                  <c:v>134.50108111570054</c:v>
                </c:pt>
                <c:pt idx="2951">
                  <c:v>134.50108111570054</c:v>
                </c:pt>
                <c:pt idx="2952">
                  <c:v>134.50108111570054</c:v>
                </c:pt>
                <c:pt idx="2953">
                  <c:v>134.50108111570054</c:v>
                </c:pt>
                <c:pt idx="2954">
                  <c:v>134.50108111570054</c:v>
                </c:pt>
                <c:pt idx="2955">
                  <c:v>134.50108111570054</c:v>
                </c:pt>
                <c:pt idx="2956">
                  <c:v>134.50108111570054</c:v>
                </c:pt>
                <c:pt idx="2957">
                  <c:v>134.50108111570054</c:v>
                </c:pt>
                <c:pt idx="2958">
                  <c:v>134.50108111570054</c:v>
                </c:pt>
                <c:pt idx="2959">
                  <c:v>134.50108111570054</c:v>
                </c:pt>
                <c:pt idx="2960">
                  <c:v>134.50108111570054</c:v>
                </c:pt>
                <c:pt idx="2961">
                  <c:v>134.50108111570054</c:v>
                </c:pt>
                <c:pt idx="2962">
                  <c:v>134.50108111570054</c:v>
                </c:pt>
                <c:pt idx="2963">
                  <c:v>134.50108111570054</c:v>
                </c:pt>
                <c:pt idx="2964">
                  <c:v>134.50108111570054</c:v>
                </c:pt>
                <c:pt idx="2965">
                  <c:v>134.50108111570054</c:v>
                </c:pt>
                <c:pt idx="2966">
                  <c:v>134.50108111570054</c:v>
                </c:pt>
                <c:pt idx="2967">
                  <c:v>134.50108111570054</c:v>
                </c:pt>
                <c:pt idx="2968">
                  <c:v>134.50108111570054</c:v>
                </c:pt>
                <c:pt idx="2969">
                  <c:v>134.50108111570054</c:v>
                </c:pt>
                <c:pt idx="2970">
                  <c:v>134.50108111570054</c:v>
                </c:pt>
                <c:pt idx="2971">
                  <c:v>134.50108111570054</c:v>
                </c:pt>
                <c:pt idx="2972">
                  <c:v>134.50108111570054</c:v>
                </c:pt>
                <c:pt idx="2973">
                  <c:v>134.50108111570054</c:v>
                </c:pt>
                <c:pt idx="2974">
                  <c:v>134.50108111570054</c:v>
                </c:pt>
                <c:pt idx="2975">
                  <c:v>134.50108111570054</c:v>
                </c:pt>
                <c:pt idx="2976">
                  <c:v>134.50108111570054</c:v>
                </c:pt>
                <c:pt idx="2977">
                  <c:v>134.50108111570054</c:v>
                </c:pt>
                <c:pt idx="2978">
                  <c:v>134.50108111570054</c:v>
                </c:pt>
                <c:pt idx="2979">
                  <c:v>134.50108111570054</c:v>
                </c:pt>
                <c:pt idx="2980">
                  <c:v>134.50108111570054</c:v>
                </c:pt>
                <c:pt idx="2981">
                  <c:v>134.50108111570054</c:v>
                </c:pt>
                <c:pt idx="2982">
                  <c:v>134.50108111570054</c:v>
                </c:pt>
                <c:pt idx="2983">
                  <c:v>134.50108111570054</c:v>
                </c:pt>
                <c:pt idx="2984">
                  <c:v>134.50108111570054</c:v>
                </c:pt>
                <c:pt idx="2985">
                  <c:v>134.50108111570054</c:v>
                </c:pt>
                <c:pt idx="2986">
                  <c:v>134.50108111570054</c:v>
                </c:pt>
                <c:pt idx="2987">
                  <c:v>134.50108111570054</c:v>
                </c:pt>
                <c:pt idx="2988">
                  <c:v>134.50108111570054</c:v>
                </c:pt>
                <c:pt idx="2989">
                  <c:v>134.50108111570054</c:v>
                </c:pt>
                <c:pt idx="2990">
                  <c:v>134.50108111570054</c:v>
                </c:pt>
                <c:pt idx="2991">
                  <c:v>134.50108111570054</c:v>
                </c:pt>
                <c:pt idx="2992">
                  <c:v>134.50108111570054</c:v>
                </c:pt>
                <c:pt idx="2993">
                  <c:v>134.50108111570054</c:v>
                </c:pt>
                <c:pt idx="2994">
                  <c:v>134.50108111570054</c:v>
                </c:pt>
                <c:pt idx="2995">
                  <c:v>134.50108111570054</c:v>
                </c:pt>
                <c:pt idx="2996">
                  <c:v>134.50108111570054</c:v>
                </c:pt>
                <c:pt idx="2997">
                  <c:v>134.50108111570054</c:v>
                </c:pt>
                <c:pt idx="2998">
                  <c:v>134.50108111570054</c:v>
                </c:pt>
                <c:pt idx="2999">
                  <c:v>134.50108111570054</c:v>
                </c:pt>
                <c:pt idx="3000">
                  <c:v>134.50108111570054</c:v>
                </c:pt>
                <c:pt idx="3001">
                  <c:v>134.50108111570054</c:v>
                </c:pt>
                <c:pt idx="3002">
                  <c:v>134.50108111570054</c:v>
                </c:pt>
                <c:pt idx="3003">
                  <c:v>134.50108111570054</c:v>
                </c:pt>
                <c:pt idx="3004">
                  <c:v>134.50108111570054</c:v>
                </c:pt>
                <c:pt idx="3005">
                  <c:v>134.50108111570054</c:v>
                </c:pt>
                <c:pt idx="3006">
                  <c:v>134.50108111570054</c:v>
                </c:pt>
                <c:pt idx="3007">
                  <c:v>134.50108111570054</c:v>
                </c:pt>
                <c:pt idx="3008">
                  <c:v>134.50108111570054</c:v>
                </c:pt>
                <c:pt idx="3009">
                  <c:v>134.50108111570054</c:v>
                </c:pt>
                <c:pt idx="3010">
                  <c:v>134.50108111570054</c:v>
                </c:pt>
                <c:pt idx="3011">
                  <c:v>134.50108111570054</c:v>
                </c:pt>
                <c:pt idx="3012">
                  <c:v>134.50108111570054</c:v>
                </c:pt>
                <c:pt idx="3013">
                  <c:v>134.50108111570054</c:v>
                </c:pt>
                <c:pt idx="3014">
                  <c:v>134.50108111570054</c:v>
                </c:pt>
                <c:pt idx="3015">
                  <c:v>134.50108111570054</c:v>
                </c:pt>
                <c:pt idx="3016">
                  <c:v>134.50108111570054</c:v>
                </c:pt>
                <c:pt idx="3017">
                  <c:v>134.50108111570054</c:v>
                </c:pt>
                <c:pt idx="3018">
                  <c:v>134.50108111570054</c:v>
                </c:pt>
                <c:pt idx="3019">
                  <c:v>134.50108111570054</c:v>
                </c:pt>
                <c:pt idx="3020">
                  <c:v>134.50108111570054</c:v>
                </c:pt>
                <c:pt idx="3021">
                  <c:v>134.50108111570054</c:v>
                </c:pt>
                <c:pt idx="3022">
                  <c:v>134.50108111570054</c:v>
                </c:pt>
                <c:pt idx="3023">
                  <c:v>134.50108111570054</c:v>
                </c:pt>
                <c:pt idx="3024">
                  <c:v>134.50108111570054</c:v>
                </c:pt>
                <c:pt idx="3025">
                  <c:v>134.50108111570054</c:v>
                </c:pt>
                <c:pt idx="3026">
                  <c:v>134.50108111570054</c:v>
                </c:pt>
                <c:pt idx="3027">
                  <c:v>134.50108111570054</c:v>
                </c:pt>
                <c:pt idx="3028">
                  <c:v>134.50108111570054</c:v>
                </c:pt>
                <c:pt idx="3029">
                  <c:v>134.50108111570054</c:v>
                </c:pt>
                <c:pt idx="3030">
                  <c:v>134.50108111570054</c:v>
                </c:pt>
                <c:pt idx="3031">
                  <c:v>134.50108111570054</c:v>
                </c:pt>
                <c:pt idx="3032">
                  <c:v>134.50108111570054</c:v>
                </c:pt>
                <c:pt idx="3033">
                  <c:v>134.50108111570054</c:v>
                </c:pt>
                <c:pt idx="3034">
                  <c:v>134.50108111570054</c:v>
                </c:pt>
                <c:pt idx="3035">
                  <c:v>134.50108111570054</c:v>
                </c:pt>
                <c:pt idx="3036">
                  <c:v>134.50108111570054</c:v>
                </c:pt>
                <c:pt idx="3037">
                  <c:v>134.50108111570054</c:v>
                </c:pt>
                <c:pt idx="3038">
                  <c:v>134.50108111570054</c:v>
                </c:pt>
                <c:pt idx="3039">
                  <c:v>134.50108111570054</c:v>
                </c:pt>
                <c:pt idx="3040">
                  <c:v>134.50108111570054</c:v>
                </c:pt>
                <c:pt idx="3041">
                  <c:v>134.50108111570054</c:v>
                </c:pt>
                <c:pt idx="3042">
                  <c:v>134.50108111570054</c:v>
                </c:pt>
                <c:pt idx="3043">
                  <c:v>134.50108111570054</c:v>
                </c:pt>
                <c:pt idx="3044">
                  <c:v>134.50108111570054</c:v>
                </c:pt>
                <c:pt idx="3045">
                  <c:v>134.50108111570054</c:v>
                </c:pt>
                <c:pt idx="3046">
                  <c:v>134.50108111570054</c:v>
                </c:pt>
                <c:pt idx="3047">
                  <c:v>134.50108111570054</c:v>
                </c:pt>
                <c:pt idx="3048">
                  <c:v>134.50108111570054</c:v>
                </c:pt>
                <c:pt idx="3049">
                  <c:v>134.50108111570054</c:v>
                </c:pt>
                <c:pt idx="3050">
                  <c:v>134.50108111570054</c:v>
                </c:pt>
                <c:pt idx="3051">
                  <c:v>134.50108111570054</c:v>
                </c:pt>
                <c:pt idx="3052">
                  <c:v>134.50108111570054</c:v>
                </c:pt>
                <c:pt idx="3053">
                  <c:v>134.50108111570054</c:v>
                </c:pt>
                <c:pt idx="3054">
                  <c:v>134.50108111570054</c:v>
                </c:pt>
                <c:pt idx="3055">
                  <c:v>134.50108111570054</c:v>
                </c:pt>
                <c:pt idx="3056">
                  <c:v>134.50108111570054</c:v>
                </c:pt>
                <c:pt idx="3057">
                  <c:v>134.50108111570054</c:v>
                </c:pt>
                <c:pt idx="3058">
                  <c:v>134.50108111570054</c:v>
                </c:pt>
                <c:pt idx="3059">
                  <c:v>134.50108111570054</c:v>
                </c:pt>
                <c:pt idx="3060">
                  <c:v>134.50108111570054</c:v>
                </c:pt>
                <c:pt idx="3061">
                  <c:v>134.50108111570054</c:v>
                </c:pt>
                <c:pt idx="3062">
                  <c:v>134.50108111570054</c:v>
                </c:pt>
                <c:pt idx="3063">
                  <c:v>134.50108111570054</c:v>
                </c:pt>
                <c:pt idx="3064">
                  <c:v>134.50108111570054</c:v>
                </c:pt>
                <c:pt idx="3065">
                  <c:v>134.50108111570054</c:v>
                </c:pt>
                <c:pt idx="3066">
                  <c:v>134.50108111570054</c:v>
                </c:pt>
                <c:pt idx="3067">
                  <c:v>134.50108111570054</c:v>
                </c:pt>
                <c:pt idx="3068">
                  <c:v>134.50108111570054</c:v>
                </c:pt>
                <c:pt idx="3069">
                  <c:v>134.50108111570054</c:v>
                </c:pt>
                <c:pt idx="3070">
                  <c:v>134.50108111570054</c:v>
                </c:pt>
                <c:pt idx="3071">
                  <c:v>134.50108111570054</c:v>
                </c:pt>
                <c:pt idx="3072">
                  <c:v>134.50108111570054</c:v>
                </c:pt>
                <c:pt idx="3073">
                  <c:v>134.50108111570054</c:v>
                </c:pt>
                <c:pt idx="3074">
                  <c:v>134.50108111570054</c:v>
                </c:pt>
                <c:pt idx="3075">
                  <c:v>134.50108111570054</c:v>
                </c:pt>
                <c:pt idx="3076">
                  <c:v>134.50108111570054</c:v>
                </c:pt>
                <c:pt idx="3077">
                  <c:v>134.50108111570054</c:v>
                </c:pt>
                <c:pt idx="3078">
                  <c:v>134.50108111570054</c:v>
                </c:pt>
                <c:pt idx="3079">
                  <c:v>134.50108111570054</c:v>
                </c:pt>
                <c:pt idx="3080">
                  <c:v>134.50108111570054</c:v>
                </c:pt>
                <c:pt idx="3081">
                  <c:v>134.50108111570054</c:v>
                </c:pt>
                <c:pt idx="3082">
                  <c:v>134.50108111570054</c:v>
                </c:pt>
                <c:pt idx="3083">
                  <c:v>134.50108111570054</c:v>
                </c:pt>
                <c:pt idx="3084">
                  <c:v>134.50108111570054</c:v>
                </c:pt>
                <c:pt idx="3085">
                  <c:v>134.50108111570054</c:v>
                </c:pt>
                <c:pt idx="3086">
                  <c:v>134.50108111570054</c:v>
                </c:pt>
                <c:pt idx="3087">
                  <c:v>134.50108111570054</c:v>
                </c:pt>
                <c:pt idx="3088">
                  <c:v>134.50108111570054</c:v>
                </c:pt>
                <c:pt idx="3089">
                  <c:v>134.50108111570054</c:v>
                </c:pt>
                <c:pt idx="3090">
                  <c:v>134.50108111570054</c:v>
                </c:pt>
                <c:pt idx="3091">
                  <c:v>134.50108111570054</c:v>
                </c:pt>
                <c:pt idx="3092">
                  <c:v>134.50108111570054</c:v>
                </c:pt>
                <c:pt idx="3093">
                  <c:v>134.50108111570054</c:v>
                </c:pt>
                <c:pt idx="3094">
                  <c:v>134.50108111570054</c:v>
                </c:pt>
                <c:pt idx="3095">
                  <c:v>134.50108111570054</c:v>
                </c:pt>
                <c:pt idx="3096">
                  <c:v>134.50108111570054</c:v>
                </c:pt>
                <c:pt idx="3097">
                  <c:v>134.50108111570054</c:v>
                </c:pt>
                <c:pt idx="3098">
                  <c:v>134.50108111570054</c:v>
                </c:pt>
                <c:pt idx="3099">
                  <c:v>134.50108111570054</c:v>
                </c:pt>
                <c:pt idx="3100">
                  <c:v>134.50108111570054</c:v>
                </c:pt>
                <c:pt idx="3101">
                  <c:v>134.50108111570054</c:v>
                </c:pt>
                <c:pt idx="3102">
                  <c:v>134.50108111570054</c:v>
                </c:pt>
                <c:pt idx="3103">
                  <c:v>134.50108111570054</c:v>
                </c:pt>
                <c:pt idx="3104">
                  <c:v>134.50108111570054</c:v>
                </c:pt>
                <c:pt idx="3105">
                  <c:v>134.50108111570054</c:v>
                </c:pt>
                <c:pt idx="3106">
                  <c:v>134.50108111570054</c:v>
                </c:pt>
                <c:pt idx="3107">
                  <c:v>134.50108111570054</c:v>
                </c:pt>
                <c:pt idx="3108">
                  <c:v>134.50108111570054</c:v>
                </c:pt>
                <c:pt idx="3109">
                  <c:v>134.50108111570054</c:v>
                </c:pt>
                <c:pt idx="3110">
                  <c:v>134.50108111570054</c:v>
                </c:pt>
                <c:pt idx="3111">
                  <c:v>134.50108111570054</c:v>
                </c:pt>
                <c:pt idx="3112">
                  <c:v>134.50108111570054</c:v>
                </c:pt>
                <c:pt idx="3113">
                  <c:v>134.50108111570054</c:v>
                </c:pt>
                <c:pt idx="3114">
                  <c:v>134.50108111570054</c:v>
                </c:pt>
                <c:pt idx="3115">
                  <c:v>134.50108111570054</c:v>
                </c:pt>
                <c:pt idx="3116">
                  <c:v>134.50108111570054</c:v>
                </c:pt>
                <c:pt idx="3117">
                  <c:v>134.50108111570054</c:v>
                </c:pt>
                <c:pt idx="3118">
                  <c:v>134.50108111570054</c:v>
                </c:pt>
                <c:pt idx="3119">
                  <c:v>134.50108111570054</c:v>
                </c:pt>
                <c:pt idx="3120">
                  <c:v>134.50108111570054</c:v>
                </c:pt>
                <c:pt idx="3121">
                  <c:v>134.50108111570054</c:v>
                </c:pt>
                <c:pt idx="3122">
                  <c:v>134.50108111570054</c:v>
                </c:pt>
                <c:pt idx="3123">
                  <c:v>134.50108111570054</c:v>
                </c:pt>
                <c:pt idx="3124">
                  <c:v>134.50108111570054</c:v>
                </c:pt>
                <c:pt idx="3125">
                  <c:v>134.50108111570054</c:v>
                </c:pt>
                <c:pt idx="3126">
                  <c:v>134.50108111570054</c:v>
                </c:pt>
                <c:pt idx="3127">
                  <c:v>134.50108111570054</c:v>
                </c:pt>
                <c:pt idx="3128">
                  <c:v>134.50108111570054</c:v>
                </c:pt>
                <c:pt idx="3129">
                  <c:v>134.50108111570054</c:v>
                </c:pt>
                <c:pt idx="3130">
                  <c:v>134.50108111570054</c:v>
                </c:pt>
                <c:pt idx="3131">
                  <c:v>134.50108111570054</c:v>
                </c:pt>
                <c:pt idx="3132">
                  <c:v>134.50108111570054</c:v>
                </c:pt>
                <c:pt idx="3133">
                  <c:v>134.50108111570054</c:v>
                </c:pt>
                <c:pt idx="3134">
                  <c:v>134.50108111570054</c:v>
                </c:pt>
                <c:pt idx="3135">
                  <c:v>134.50108111570054</c:v>
                </c:pt>
                <c:pt idx="3136">
                  <c:v>134.50108111570054</c:v>
                </c:pt>
                <c:pt idx="3137">
                  <c:v>134.50108111570054</c:v>
                </c:pt>
                <c:pt idx="3138">
                  <c:v>134.50108111570054</c:v>
                </c:pt>
                <c:pt idx="3139">
                  <c:v>134.50108111570054</c:v>
                </c:pt>
                <c:pt idx="3140">
                  <c:v>134.50108111570054</c:v>
                </c:pt>
                <c:pt idx="3141">
                  <c:v>134.50108111570054</c:v>
                </c:pt>
                <c:pt idx="3142">
                  <c:v>134.50108111570054</c:v>
                </c:pt>
                <c:pt idx="3143">
                  <c:v>134.50108111570054</c:v>
                </c:pt>
                <c:pt idx="3144">
                  <c:v>134.50108111570054</c:v>
                </c:pt>
                <c:pt idx="3145">
                  <c:v>134.50108111570054</c:v>
                </c:pt>
                <c:pt idx="3146">
                  <c:v>134.50108111570054</c:v>
                </c:pt>
                <c:pt idx="3147">
                  <c:v>134.50108111570054</c:v>
                </c:pt>
                <c:pt idx="3148">
                  <c:v>134.50108111570054</c:v>
                </c:pt>
                <c:pt idx="3149">
                  <c:v>134.50108111570054</c:v>
                </c:pt>
                <c:pt idx="3150">
                  <c:v>134.50108111570054</c:v>
                </c:pt>
                <c:pt idx="3151">
                  <c:v>134.50108111570054</c:v>
                </c:pt>
                <c:pt idx="3152">
                  <c:v>134.50108111570054</c:v>
                </c:pt>
                <c:pt idx="3153">
                  <c:v>134.50108111570054</c:v>
                </c:pt>
                <c:pt idx="3154">
                  <c:v>134.50108111570054</c:v>
                </c:pt>
                <c:pt idx="3155">
                  <c:v>134.50108111570054</c:v>
                </c:pt>
                <c:pt idx="3156">
                  <c:v>134.50108111570054</c:v>
                </c:pt>
                <c:pt idx="3157">
                  <c:v>134.50108111570054</c:v>
                </c:pt>
                <c:pt idx="3158">
                  <c:v>134.50108111570054</c:v>
                </c:pt>
                <c:pt idx="3159">
                  <c:v>134.50108111570054</c:v>
                </c:pt>
                <c:pt idx="3160">
                  <c:v>134.50108111570054</c:v>
                </c:pt>
                <c:pt idx="3161">
                  <c:v>134.50108111570054</c:v>
                </c:pt>
                <c:pt idx="3162">
                  <c:v>134.50108111570054</c:v>
                </c:pt>
                <c:pt idx="3163">
                  <c:v>134.50108111570054</c:v>
                </c:pt>
                <c:pt idx="3164">
                  <c:v>134.50108111570054</c:v>
                </c:pt>
                <c:pt idx="3165">
                  <c:v>134.50108111570054</c:v>
                </c:pt>
                <c:pt idx="3166">
                  <c:v>134.50108111570054</c:v>
                </c:pt>
                <c:pt idx="3167">
                  <c:v>134.50108111570054</c:v>
                </c:pt>
                <c:pt idx="3168">
                  <c:v>134.50108111570054</c:v>
                </c:pt>
                <c:pt idx="3169">
                  <c:v>134.50108111570054</c:v>
                </c:pt>
                <c:pt idx="3170">
                  <c:v>134.50108111570054</c:v>
                </c:pt>
                <c:pt idx="3171">
                  <c:v>134.50108111570054</c:v>
                </c:pt>
                <c:pt idx="3172">
                  <c:v>134.50108111570054</c:v>
                </c:pt>
                <c:pt idx="3173">
                  <c:v>134.50108111570054</c:v>
                </c:pt>
                <c:pt idx="3174">
                  <c:v>134.50108111570054</c:v>
                </c:pt>
                <c:pt idx="3175">
                  <c:v>134.50108111570054</c:v>
                </c:pt>
                <c:pt idx="3176">
                  <c:v>134.50108111570054</c:v>
                </c:pt>
                <c:pt idx="3177">
                  <c:v>134.50108111570054</c:v>
                </c:pt>
                <c:pt idx="3178">
                  <c:v>134.50108111570054</c:v>
                </c:pt>
                <c:pt idx="3179">
                  <c:v>134.50108111570054</c:v>
                </c:pt>
                <c:pt idx="3180">
                  <c:v>134.50108111570054</c:v>
                </c:pt>
                <c:pt idx="3181">
                  <c:v>134.50108111570054</c:v>
                </c:pt>
                <c:pt idx="3182">
                  <c:v>134.50108111570054</c:v>
                </c:pt>
                <c:pt idx="3183">
                  <c:v>134.50108111570054</c:v>
                </c:pt>
                <c:pt idx="3184">
                  <c:v>134.50108111570054</c:v>
                </c:pt>
                <c:pt idx="3185">
                  <c:v>134.50108111570054</c:v>
                </c:pt>
                <c:pt idx="3186">
                  <c:v>134.50108111570054</c:v>
                </c:pt>
                <c:pt idx="3187">
                  <c:v>134.50108111570054</c:v>
                </c:pt>
                <c:pt idx="3188">
                  <c:v>134.50108111570054</c:v>
                </c:pt>
                <c:pt idx="3189">
                  <c:v>134.50108111570054</c:v>
                </c:pt>
                <c:pt idx="3190">
                  <c:v>134.50108111570054</c:v>
                </c:pt>
                <c:pt idx="3191">
                  <c:v>134.50108111570054</c:v>
                </c:pt>
                <c:pt idx="3192">
                  <c:v>134.50108111570054</c:v>
                </c:pt>
                <c:pt idx="3193">
                  <c:v>134.50108111570054</c:v>
                </c:pt>
                <c:pt idx="3194">
                  <c:v>134.50108111570054</c:v>
                </c:pt>
                <c:pt idx="3195">
                  <c:v>134.50108111570054</c:v>
                </c:pt>
                <c:pt idx="3196">
                  <c:v>134.50108111570054</c:v>
                </c:pt>
                <c:pt idx="3197">
                  <c:v>134.50108111570054</c:v>
                </c:pt>
                <c:pt idx="3198">
                  <c:v>134.50108111570054</c:v>
                </c:pt>
                <c:pt idx="3199">
                  <c:v>134.50108111570054</c:v>
                </c:pt>
                <c:pt idx="3200">
                  <c:v>134.50108111570054</c:v>
                </c:pt>
                <c:pt idx="3201">
                  <c:v>134.50108111570054</c:v>
                </c:pt>
                <c:pt idx="3202">
                  <c:v>134.50108111570054</c:v>
                </c:pt>
                <c:pt idx="3203">
                  <c:v>134.50108111570054</c:v>
                </c:pt>
                <c:pt idx="3204">
                  <c:v>134.50108111570054</c:v>
                </c:pt>
                <c:pt idx="3205">
                  <c:v>134.50108111570054</c:v>
                </c:pt>
                <c:pt idx="3206">
                  <c:v>134.50108111570054</c:v>
                </c:pt>
                <c:pt idx="3207">
                  <c:v>134.50108111570054</c:v>
                </c:pt>
                <c:pt idx="3208">
                  <c:v>134.50108111570054</c:v>
                </c:pt>
                <c:pt idx="3209">
                  <c:v>134.50108111570054</c:v>
                </c:pt>
                <c:pt idx="3210">
                  <c:v>134.50108111570054</c:v>
                </c:pt>
                <c:pt idx="3211">
                  <c:v>134.50108111570054</c:v>
                </c:pt>
                <c:pt idx="3212">
                  <c:v>134.50108111570054</c:v>
                </c:pt>
                <c:pt idx="3213">
                  <c:v>134.50108111570054</c:v>
                </c:pt>
                <c:pt idx="3214">
                  <c:v>134.50108111570054</c:v>
                </c:pt>
                <c:pt idx="3215">
                  <c:v>134.50108111570054</c:v>
                </c:pt>
                <c:pt idx="3216">
                  <c:v>134.50108111570054</c:v>
                </c:pt>
                <c:pt idx="3217">
                  <c:v>134.50108111570054</c:v>
                </c:pt>
                <c:pt idx="3218">
                  <c:v>134.50108111570054</c:v>
                </c:pt>
                <c:pt idx="3219">
                  <c:v>134.50108111570054</c:v>
                </c:pt>
                <c:pt idx="3220">
                  <c:v>134.50108111570054</c:v>
                </c:pt>
                <c:pt idx="3221">
                  <c:v>134.50108111570054</c:v>
                </c:pt>
                <c:pt idx="3222">
                  <c:v>134.50108111570054</c:v>
                </c:pt>
                <c:pt idx="3223">
                  <c:v>134.50108111570054</c:v>
                </c:pt>
                <c:pt idx="3224">
                  <c:v>134.50108111570054</c:v>
                </c:pt>
                <c:pt idx="3225">
                  <c:v>134.50108111570054</c:v>
                </c:pt>
                <c:pt idx="3226">
                  <c:v>134.50108111570054</c:v>
                </c:pt>
                <c:pt idx="3227">
                  <c:v>134.50108111570054</c:v>
                </c:pt>
                <c:pt idx="3228">
                  <c:v>134.50108111570054</c:v>
                </c:pt>
                <c:pt idx="3229">
                  <c:v>134.50108111570054</c:v>
                </c:pt>
                <c:pt idx="3230">
                  <c:v>134.50108111570054</c:v>
                </c:pt>
                <c:pt idx="3231">
                  <c:v>134.50108111570054</c:v>
                </c:pt>
                <c:pt idx="3232">
                  <c:v>134.50108111570054</c:v>
                </c:pt>
                <c:pt idx="3233">
                  <c:v>134.50108111570054</c:v>
                </c:pt>
                <c:pt idx="3234">
                  <c:v>134.50108111570054</c:v>
                </c:pt>
                <c:pt idx="3235">
                  <c:v>134.50108111570054</c:v>
                </c:pt>
                <c:pt idx="3236">
                  <c:v>134.50108111570054</c:v>
                </c:pt>
                <c:pt idx="3237">
                  <c:v>134.50108111570054</c:v>
                </c:pt>
                <c:pt idx="3238">
                  <c:v>134.50108111570054</c:v>
                </c:pt>
                <c:pt idx="3239">
                  <c:v>134.50108111570054</c:v>
                </c:pt>
                <c:pt idx="3240">
                  <c:v>134.50108111570054</c:v>
                </c:pt>
                <c:pt idx="3241">
                  <c:v>134.50108111570054</c:v>
                </c:pt>
                <c:pt idx="3242">
                  <c:v>134.50108111570054</c:v>
                </c:pt>
                <c:pt idx="3243">
                  <c:v>134.50108111570054</c:v>
                </c:pt>
                <c:pt idx="3244">
                  <c:v>134.50108111570054</c:v>
                </c:pt>
                <c:pt idx="3245">
                  <c:v>134.50108111570054</c:v>
                </c:pt>
                <c:pt idx="3246">
                  <c:v>134.50108111570054</c:v>
                </c:pt>
                <c:pt idx="3247">
                  <c:v>134.50108111570054</c:v>
                </c:pt>
                <c:pt idx="3248">
                  <c:v>134.50108111570054</c:v>
                </c:pt>
                <c:pt idx="3249">
                  <c:v>134.50108111570054</c:v>
                </c:pt>
                <c:pt idx="3250">
                  <c:v>134.50108111570054</c:v>
                </c:pt>
                <c:pt idx="3251">
                  <c:v>134.50108111570054</c:v>
                </c:pt>
                <c:pt idx="3252">
                  <c:v>134.50108111570054</c:v>
                </c:pt>
                <c:pt idx="3253">
                  <c:v>134.50108111570054</c:v>
                </c:pt>
                <c:pt idx="3254">
                  <c:v>134.50108111570054</c:v>
                </c:pt>
                <c:pt idx="3255">
                  <c:v>134.50108111570054</c:v>
                </c:pt>
                <c:pt idx="3256">
                  <c:v>134.50108111570054</c:v>
                </c:pt>
                <c:pt idx="3257">
                  <c:v>134.50108111570054</c:v>
                </c:pt>
                <c:pt idx="3258">
                  <c:v>134.50108111570054</c:v>
                </c:pt>
                <c:pt idx="3259">
                  <c:v>134.50108111570054</c:v>
                </c:pt>
                <c:pt idx="3260">
                  <c:v>134.50108111570054</c:v>
                </c:pt>
                <c:pt idx="3261">
                  <c:v>134.50108111570054</c:v>
                </c:pt>
                <c:pt idx="3262">
                  <c:v>134.50108111570054</c:v>
                </c:pt>
                <c:pt idx="3263">
                  <c:v>134.50108111570054</c:v>
                </c:pt>
                <c:pt idx="3264">
                  <c:v>134.50108111570054</c:v>
                </c:pt>
                <c:pt idx="3265">
                  <c:v>134.50108111570054</c:v>
                </c:pt>
                <c:pt idx="3266">
                  <c:v>134.50108111570054</c:v>
                </c:pt>
                <c:pt idx="3267">
                  <c:v>134.50108111570054</c:v>
                </c:pt>
                <c:pt idx="3268">
                  <c:v>134.50108111570054</c:v>
                </c:pt>
                <c:pt idx="3269">
                  <c:v>134.50108111570054</c:v>
                </c:pt>
                <c:pt idx="3270">
                  <c:v>134.50108111570054</c:v>
                </c:pt>
                <c:pt idx="3271">
                  <c:v>134.50108111570054</c:v>
                </c:pt>
                <c:pt idx="3272">
                  <c:v>134.50108111570054</c:v>
                </c:pt>
                <c:pt idx="3273">
                  <c:v>134.50108111570054</c:v>
                </c:pt>
                <c:pt idx="3274">
                  <c:v>134.50108111570054</c:v>
                </c:pt>
                <c:pt idx="3275">
                  <c:v>134.50108111570054</c:v>
                </c:pt>
                <c:pt idx="3276">
                  <c:v>134.50108111570054</c:v>
                </c:pt>
                <c:pt idx="3277">
                  <c:v>134.50108111570054</c:v>
                </c:pt>
                <c:pt idx="3278">
                  <c:v>134.50108111570054</c:v>
                </c:pt>
                <c:pt idx="3279">
                  <c:v>134.50108111570054</c:v>
                </c:pt>
                <c:pt idx="3280">
                  <c:v>134.50108111570054</c:v>
                </c:pt>
                <c:pt idx="3281">
                  <c:v>134.50108111570054</c:v>
                </c:pt>
                <c:pt idx="3282">
                  <c:v>134.50108111570054</c:v>
                </c:pt>
                <c:pt idx="3283">
                  <c:v>134.50108111570054</c:v>
                </c:pt>
                <c:pt idx="3284">
                  <c:v>134.50108111570054</c:v>
                </c:pt>
                <c:pt idx="3285">
                  <c:v>134.50108111570054</c:v>
                </c:pt>
                <c:pt idx="3286">
                  <c:v>134.50108111570054</c:v>
                </c:pt>
                <c:pt idx="3287">
                  <c:v>134.50108111570054</c:v>
                </c:pt>
                <c:pt idx="3288">
                  <c:v>134.50108111570054</c:v>
                </c:pt>
                <c:pt idx="3289">
                  <c:v>134.50108111570054</c:v>
                </c:pt>
                <c:pt idx="3290">
                  <c:v>134.50108111570054</c:v>
                </c:pt>
                <c:pt idx="3291">
                  <c:v>134.50108111570054</c:v>
                </c:pt>
                <c:pt idx="3292">
                  <c:v>134.50108111570054</c:v>
                </c:pt>
                <c:pt idx="3293">
                  <c:v>134.50108111570054</c:v>
                </c:pt>
                <c:pt idx="3294">
                  <c:v>134.50108111570054</c:v>
                </c:pt>
                <c:pt idx="3295">
                  <c:v>134.50108111570054</c:v>
                </c:pt>
                <c:pt idx="3296">
                  <c:v>134.50108111570054</c:v>
                </c:pt>
                <c:pt idx="3297">
                  <c:v>134.50108111570054</c:v>
                </c:pt>
                <c:pt idx="3298">
                  <c:v>134.50108111570054</c:v>
                </c:pt>
                <c:pt idx="3299">
                  <c:v>134.50108111570054</c:v>
                </c:pt>
                <c:pt idx="3300">
                  <c:v>134.50108111570054</c:v>
                </c:pt>
                <c:pt idx="3301">
                  <c:v>134.50108111570054</c:v>
                </c:pt>
                <c:pt idx="3302">
                  <c:v>134.50108111570054</c:v>
                </c:pt>
                <c:pt idx="3303">
                  <c:v>134.50108111570054</c:v>
                </c:pt>
                <c:pt idx="3304">
                  <c:v>134.50108111570054</c:v>
                </c:pt>
                <c:pt idx="3305">
                  <c:v>134.50108111570054</c:v>
                </c:pt>
                <c:pt idx="3306">
                  <c:v>134.50108111570054</c:v>
                </c:pt>
                <c:pt idx="3307">
                  <c:v>134.50108111570054</c:v>
                </c:pt>
                <c:pt idx="3308">
                  <c:v>134.50108111570054</c:v>
                </c:pt>
                <c:pt idx="3309">
                  <c:v>134.50108111570054</c:v>
                </c:pt>
                <c:pt idx="3310">
                  <c:v>134.50108111570054</c:v>
                </c:pt>
                <c:pt idx="3311">
                  <c:v>134.50108111570054</c:v>
                </c:pt>
                <c:pt idx="3312">
                  <c:v>134.50108111570054</c:v>
                </c:pt>
                <c:pt idx="3313">
                  <c:v>134.50108111570054</c:v>
                </c:pt>
                <c:pt idx="3314">
                  <c:v>134.50108111570054</c:v>
                </c:pt>
                <c:pt idx="3315">
                  <c:v>134.50108111570054</c:v>
                </c:pt>
                <c:pt idx="3316">
                  <c:v>134.50108111570054</c:v>
                </c:pt>
                <c:pt idx="3317">
                  <c:v>134.50108111570054</c:v>
                </c:pt>
                <c:pt idx="3318">
                  <c:v>134.50108111570054</c:v>
                </c:pt>
                <c:pt idx="3319">
                  <c:v>134.50108111570054</c:v>
                </c:pt>
                <c:pt idx="3320">
                  <c:v>134.50108111570054</c:v>
                </c:pt>
                <c:pt idx="3321">
                  <c:v>134.50108111570054</c:v>
                </c:pt>
                <c:pt idx="3322">
                  <c:v>134.50108111570054</c:v>
                </c:pt>
                <c:pt idx="3323">
                  <c:v>134.50108111570054</c:v>
                </c:pt>
                <c:pt idx="3324">
                  <c:v>134.50108111570054</c:v>
                </c:pt>
                <c:pt idx="3325">
                  <c:v>134.50108111570054</c:v>
                </c:pt>
                <c:pt idx="3326">
                  <c:v>134.50108111570054</c:v>
                </c:pt>
                <c:pt idx="3327">
                  <c:v>134.50108111570054</c:v>
                </c:pt>
                <c:pt idx="3328">
                  <c:v>134.50108111570054</c:v>
                </c:pt>
                <c:pt idx="3329">
                  <c:v>134.50108111570054</c:v>
                </c:pt>
                <c:pt idx="3330">
                  <c:v>134.50108111570054</c:v>
                </c:pt>
                <c:pt idx="3331">
                  <c:v>134.50108111570054</c:v>
                </c:pt>
                <c:pt idx="3332">
                  <c:v>134.50108111570054</c:v>
                </c:pt>
                <c:pt idx="3333">
                  <c:v>134.50108111570054</c:v>
                </c:pt>
                <c:pt idx="3334">
                  <c:v>134.50108111570054</c:v>
                </c:pt>
                <c:pt idx="3335">
                  <c:v>134.50108111570054</c:v>
                </c:pt>
                <c:pt idx="3336">
                  <c:v>134.50108111570054</c:v>
                </c:pt>
                <c:pt idx="3337">
                  <c:v>134.50108111570054</c:v>
                </c:pt>
                <c:pt idx="3338">
                  <c:v>134.50108111570054</c:v>
                </c:pt>
                <c:pt idx="3339">
                  <c:v>134.50108111570054</c:v>
                </c:pt>
                <c:pt idx="3340">
                  <c:v>134.50108111570054</c:v>
                </c:pt>
                <c:pt idx="3341">
                  <c:v>134.50108111570054</c:v>
                </c:pt>
                <c:pt idx="3342">
                  <c:v>134.50108111570054</c:v>
                </c:pt>
                <c:pt idx="3343">
                  <c:v>134.50108111570054</c:v>
                </c:pt>
                <c:pt idx="3344">
                  <c:v>134.50108111570054</c:v>
                </c:pt>
                <c:pt idx="3345">
                  <c:v>134.50108111570054</c:v>
                </c:pt>
                <c:pt idx="3346">
                  <c:v>134.50108111570054</c:v>
                </c:pt>
                <c:pt idx="3347">
                  <c:v>134.50108111570054</c:v>
                </c:pt>
                <c:pt idx="3348">
                  <c:v>134.50108111570054</c:v>
                </c:pt>
                <c:pt idx="3349">
                  <c:v>134.50108111570054</c:v>
                </c:pt>
                <c:pt idx="3350">
                  <c:v>134.50108111570054</c:v>
                </c:pt>
                <c:pt idx="3351">
                  <c:v>134.50108111570054</c:v>
                </c:pt>
                <c:pt idx="3352">
                  <c:v>134.50108111570054</c:v>
                </c:pt>
                <c:pt idx="3353">
                  <c:v>134.50108111570054</c:v>
                </c:pt>
                <c:pt idx="3354">
                  <c:v>134.50108111570054</c:v>
                </c:pt>
                <c:pt idx="3355">
                  <c:v>134.50108111570054</c:v>
                </c:pt>
                <c:pt idx="3356">
                  <c:v>134.50108111570054</c:v>
                </c:pt>
                <c:pt idx="3357">
                  <c:v>134.50108111570054</c:v>
                </c:pt>
                <c:pt idx="3358">
                  <c:v>134.50108111570054</c:v>
                </c:pt>
                <c:pt idx="3359">
                  <c:v>134.50108111570054</c:v>
                </c:pt>
                <c:pt idx="3360">
                  <c:v>134.50108111570054</c:v>
                </c:pt>
                <c:pt idx="3361">
                  <c:v>134.50108111570054</c:v>
                </c:pt>
                <c:pt idx="3362">
                  <c:v>134.50108111570054</c:v>
                </c:pt>
                <c:pt idx="3363">
                  <c:v>134.50108111570054</c:v>
                </c:pt>
                <c:pt idx="3364">
                  <c:v>134.50108111570054</c:v>
                </c:pt>
                <c:pt idx="3365">
                  <c:v>134.50108111570054</c:v>
                </c:pt>
                <c:pt idx="3366">
                  <c:v>134.50108111570054</c:v>
                </c:pt>
                <c:pt idx="3367">
                  <c:v>134.50108111570054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65B4-446D-A4E9-27E538627F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71371471"/>
        <c:axId val="1871377295"/>
      </c:lineChart>
      <c:catAx>
        <c:axId val="18713714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871377295"/>
        <c:crosses val="autoZero"/>
        <c:auto val="1"/>
        <c:lblAlgn val="ctr"/>
        <c:lblOffset val="100"/>
        <c:noMultiLvlLbl val="0"/>
      </c:catAx>
      <c:valAx>
        <c:axId val="1871377295"/>
        <c:scaling>
          <c:orientation val="minMax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1871371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834697133446551E-2"/>
          <c:y val="2.5071229570626928E-2"/>
          <c:w val="0.94057207554937983"/>
          <c:h val="0.81887947935114147"/>
        </c:manualLayout>
      </c:layout>
      <c:lineChart>
        <c:grouping val="standard"/>
        <c:varyColors val="0"/>
        <c:ser>
          <c:idx val="0"/>
          <c:order val="0"/>
          <c:tx>
            <c:strRef>
              <c:f>'  ارز-دلار نیمایی      '!$C$1</c:f>
              <c:strCache>
                <c:ptCount val="1"/>
                <c:pt idx="0">
                  <c:v> دلار نیمایی 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00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C3E-4570-8713-19B2CAE2BD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  ارز-دلار نیمایی      '!$B$2:$B$2099</c:f>
              <c:strCache>
                <c:ptCount val="2010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09</c:v>
                </c:pt>
                <c:pt idx="5">
                  <c:v>1397-01-14</c:v>
                </c:pt>
                <c:pt idx="6">
                  <c:v>1397-01-15</c:v>
                </c:pt>
                <c:pt idx="7">
                  <c:v>1397-01-16</c:v>
                </c:pt>
                <c:pt idx="8">
                  <c:v>1397-01-18</c:v>
                </c:pt>
                <c:pt idx="9">
                  <c:v>1397-01-19</c:v>
                </c:pt>
                <c:pt idx="10">
                  <c:v>1397-01-20</c:v>
                </c:pt>
                <c:pt idx="11">
                  <c:v>1397-01-21</c:v>
                </c:pt>
                <c:pt idx="12">
                  <c:v>1397-01-22</c:v>
                </c:pt>
                <c:pt idx="13">
                  <c:v>1397-01-26</c:v>
                </c:pt>
                <c:pt idx="14">
                  <c:v>1397-01-27</c:v>
                </c:pt>
                <c:pt idx="15">
                  <c:v>1397-01-28</c:v>
                </c:pt>
                <c:pt idx="16">
                  <c:v>1397-01-29</c:v>
                </c:pt>
                <c:pt idx="17">
                  <c:v>1397-01-30</c:v>
                </c:pt>
                <c:pt idx="18">
                  <c:v>1397-02-01</c:v>
                </c:pt>
                <c:pt idx="19">
                  <c:v>1397-02-02</c:v>
                </c:pt>
                <c:pt idx="20">
                  <c:v>1397-02-03</c:v>
                </c:pt>
                <c:pt idx="21">
                  <c:v>1397-02-04</c:v>
                </c:pt>
                <c:pt idx="22">
                  <c:v>1397-02-05</c:v>
                </c:pt>
                <c:pt idx="23">
                  <c:v>1397-02-06</c:v>
                </c:pt>
                <c:pt idx="24">
                  <c:v>1397-02-08</c:v>
                </c:pt>
                <c:pt idx="25">
                  <c:v>1397-02-09</c:v>
                </c:pt>
                <c:pt idx="26">
                  <c:v>1397-02-10</c:v>
                </c:pt>
                <c:pt idx="27">
                  <c:v>1397-02-11</c:v>
                </c:pt>
                <c:pt idx="28">
                  <c:v>1397-02-12</c:v>
                </c:pt>
                <c:pt idx="29">
                  <c:v>1397-02-13</c:v>
                </c:pt>
                <c:pt idx="30">
                  <c:v>1397-02-15</c:v>
                </c:pt>
                <c:pt idx="31">
                  <c:v>1397-02-16</c:v>
                </c:pt>
                <c:pt idx="32">
                  <c:v>1397-02-17</c:v>
                </c:pt>
                <c:pt idx="33">
                  <c:v>1397-02-18</c:v>
                </c:pt>
                <c:pt idx="34">
                  <c:v>1397-02-19</c:v>
                </c:pt>
                <c:pt idx="35">
                  <c:v>1397-02-20</c:v>
                </c:pt>
                <c:pt idx="36">
                  <c:v>1397-02-22</c:v>
                </c:pt>
                <c:pt idx="37">
                  <c:v>1397-02-23</c:v>
                </c:pt>
                <c:pt idx="38">
                  <c:v>1397-02-24</c:v>
                </c:pt>
                <c:pt idx="39">
                  <c:v>1397-02-25</c:v>
                </c:pt>
                <c:pt idx="40">
                  <c:v>1397-02-26</c:v>
                </c:pt>
                <c:pt idx="41">
                  <c:v>1397-02-27</c:v>
                </c:pt>
                <c:pt idx="42">
                  <c:v>1397-02-29</c:v>
                </c:pt>
                <c:pt idx="43">
                  <c:v>1397-02-30</c:v>
                </c:pt>
                <c:pt idx="44">
                  <c:v>1397-02-31</c:v>
                </c:pt>
                <c:pt idx="45">
                  <c:v>1397-03-01</c:v>
                </c:pt>
                <c:pt idx="46">
                  <c:v>1397-03-02</c:v>
                </c:pt>
                <c:pt idx="47">
                  <c:v>1397-03-03</c:v>
                </c:pt>
                <c:pt idx="48">
                  <c:v>1397-03-05</c:v>
                </c:pt>
                <c:pt idx="49">
                  <c:v>1397-03-06</c:v>
                </c:pt>
                <c:pt idx="50">
                  <c:v>1397-03-07</c:v>
                </c:pt>
                <c:pt idx="51">
                  <c:v>1397-03-08</c:v>
                </c:pt>
                <c:pt idx="52">
                  <c:v>1397-03-09</c:v>
                </c:pt>
                <c:pt idx="53">
                  <c:v>1397-03-10</c:v>
                </c:pt>
                <c:pt idx="54">
                  <c:v>1397-03-12</c:v>
                </c:pt>
                <c:pt idx="55">
                  <c:v>1397-03-13</c:v>
                </c:pt>
                <c:pt idx="56">
                  <c:v>1397-03-14</c:v>
                </c:pt>
                <c:pt idx="57">
                  <c:v>1397-03-15</c:v>
                </c:pt>
                <c:pt idx="58">
                  <c:v>1397-03-16</c:v>
                </c:pt>
                <c:pt idx="59">
                  <c:v>1397-03-17</c:v>
                </c:pt>
                <c:pt idx="60">
                  <c:v>1397-03-19</c:v>
                </c:pt>
                <c:pt idx="61">
                  <c:v>1397-03-20</c:v>
                </c:pt>
                <c:pt idx="62">
                  <c:v>1397-03-21</c:v>
                </c:pt>
                <c:pt idx="63">
                  <c:v>1397-03-22</c:v>
                </c:pt>
                <c:pt idx="64">
                  <c:v>1397-03-23</c:v>
                </c:pt>
                <c:pt idx="65">
                  <c:v>1397-03-24</c:v>
                </c:pt>
                <c:pt idx="66">
                  <c:v>1397-03-26</c:v>
                </c:pt>
                <c:pt idx="67">
                  <c:v>1397-03-27</c:v>
                </c:pt>
                <c:pt idx="68">
                  <c:v>1397-03-28</c:v>
                </c:pt>
                <c:pt idx="69">
                  <c:v>1397-03-29</c:v>
                </c:pt>
                <c:pt idx="70">
                  <c:v>1397-03-30</c:v>
                </c:pt>
                <c:pt idx="71">
                  <c:v>1397-03-31</c:v>
                </c:pt>
                <c:pt idx="72">
                  <c:v>1397-04-02</c:v>
                </c:pt>
                <c:pt idx="73">
                  <c:v>1397-04-03</c:v>
                </c:pt>
                <c:pt idx="74">
                  <c:v>1397-04-04</c:v>
                </c:pt>
                <c:pt idx="75">
                  <c:v>1397-04-05</c:v>
                </c:pt>
                <c:pt idx="76">
                  <c:v>1397-04-06</c:v>
                </c:pt>
                <c:pt idx="77">
                  <c:v>1397-04-07</c:v>
                </c:pt>
                <c:pt idx="78">
                  <c:v>1397-04-09</c:v>
                </c:pt>
                <c:pt idx="79">
                  <c:v>1397-04-10</c:v>
                </c:pt>
                <c:pt idx="80">
                  <c:v>1397-04-11</c:v>
                </c:pt>
                <c:pt idx="81">
                  <c:v>1397-04-12</c:v>
                </c:pt>
                <c:pt idx="82">
                  <c:v>1397-04-13</c:v>
                </c:pt>
                <c:pt idx="83">
                  <c:v>1397-04-14</c:v>
                </c:pt>
                <c:pt idx="84">
                  <c:v>1397-04-16</c:v>
                </c:pt>
                <c:pt idx="85">
                  <c:v>1397-04-17</c:v>
                </c:pt>
                <c:pt idx="86">
                  <c:v>1397-04-18</c:v>
                </c:pt>
                <c:pt idx="87">
                  <c:v>1397-04-19</c:v>
                </c:pt>
                <c:pt idx="88">
                  <c:v>1397-04-20</c:v>
                </c:pt>
                <c:pt idx="89">
                  <c:v>1397-04-21</c:v>
                </c:pt>
                <c:pt idx="90">
                  <c:v>1397-04-23</c:v>
                </c:pt>
                <c:pt idx="91">
                  <c:v>1397-04-24</c:v>
                </c:pt>
                <c:pt idx="92">
                  <c:v>1397-04-25</c:v>
                </c:pt>
                <c:pt idx="93">
                  <c:v>1397-04-26</c:v>
                </c:pt>
                <c:pt idx="94">
                  <c:v>1397-04-27</c:v>
                </c:pt>
                <c:pt idx="95">
                  <c:v>1397-04-28</c:v>
                </c:pt>
                <c:pt idx="96">
                  <c:v>1397-04-30</c:v>
                </c:pt>
                <c:pt idx="97">
                  <c:v>1397-04-31</c:v>
                </c:pt>
                <c:pt idx="98">
                  <c:v>1397-05-01</c:v>
                </c:pt>
                <c:pt idx="99">
                  <c:v>1397-05-02</c:v>
                </c:pt>
                <c:pt idx="100">
                  <c:v>1397-05-03</c:v>
                </c:pt>
                <c:pt idx="101">
                  <c:v>1397-05-04</c:v>
                </c:pt>
                <c:pt idx="102">
                  <c:v>1397-05-05</c:v>
                </c:pt>
                <c:pt idx="103">
                  <c:v>1397-05-06</c:v>
                </c:pt>
                <c:pt idx="104">
                  <c:v>1397-05-07</c:v>
                </c:pt>
                <c:pt idx="105">
                  <c:v>1397-05-08</c:v>
                </c:pt>
                <c:pt idx="106">
                  <c:v>1397-05-09</c:v>
                </c:pt>
                <c:pt idx="107">
                  <c:v>1397-05-10</c:v>
                </c:pt>
                <c:pt idx="108">
                  <c:v>1397-05-11</c:v>
                </c:pt>
                <c:pt idx="109">
                  <c:v>1397-05-12</c:v>
                </c:pt>
                <c:pt idx="110">
                  <c:v>1397-05-13</c:v>
                </c:pt>
                <c:pt idx="111">
                  <c:v>1397-05-14</c:v>
                </c:pt>
                <c:pt idx="112">
                  <c:v>1397-05-15</c:v>
                </c:pt>
                <c:pt idx="113">
                  <c:v>1397-05-16</c:v>
                </c:pt>
                <c:pt idx="114">
                  <c:v>1397-05-17</c:v>
                </c:pt>
                <c:pt idx="115">
                  <c:v>1397-05-18</c:v>
                </c:pt>
                <c:pt idx="116">
                  <c:v>1397-05-19</c:v>
                </c:pt>
                <c:pt idx="117">
                  <c:v>1397-05-20</c:v>
                </c:pt>
                <c:pt idx="118">
                  <c:v>1397-05-21</c:v>
                </c:pt>
                <c:pt idx="119">
                  <c:v>1397-05-22</c:v>
                </c:pt>
                <c:pt idx="120">
                  <c:v>1397-05-23</c:v>
                </c:pt>
                <c:pt idx="121">
                  <c:v>1397-05-24</c:v>
                </c:pt>
                <c:pt idx="122">
                  <c:v>1397-05-25</c:v>
                </c:pt>
                <c:pt idx="123">
                  <c:v>1397-05-26</c:v>
                </c:pt>
                <c:pt idx="124">
                  <c:v>1397-05-27</c:v>
                </c:pt>
                <c:pt idx="125">
                  <c:v>1397-05-28</c:v>
                </c:pt>
                <c:pt idx="126">
                  <c:v>1397-05-29</c:v>
                </c:pt>
                <c:pt idx="127">
                  <c:v>1397-05-30</c:v>
                </c:pt>
                <c:pt idx="128">
                  <c:v>1397-05-31</c:v>
                </c:pt>
                <c:pt idx="129">
                  <c:v>1397-06-01</c:v>
                </c:pt>
                <c:pt idx="130">
                  <c:v>1397-06-02</c:v>
                </c:pt>
                <c:pt idx="131">
                  <c:v>1397-06-03</c:v>
                </c:pt>
                <c:pt idx="132">
                  <c:v>1397-06-04</c:v>
                </c:pt>
                <c:pt idx="133">
                  <c:v>1397-06-05</c:v>
                </c:pt>
                <c:pt idx="134">
                  <c:v>1397-06-06</c:v>
                </c:pt>
                <c:pt idx="135">
                  <c:v>1397-06-07</c:v>
                </c:pt>
                <c:pt idx="136">
                  <c:v>1397-06-08</c:v>
                </c:pt>
                <c:pt idx="137">
                  <c:v>1397-06-09</c:v>
                </c:pt>
                <c:pt idx="138">
                  <c:v>1397-06-10</c:v>
                </c:pt>
                <c:pt idx="139">
                  <c:v>1397-06-11</c:v>
                </c:pt>
                <c:pt idx="140">
                  <c:v>1397-06-12</c:v>
                </c:pt>
                <c:pt idx="141">
                  <c:v>1397-06-13</c:v>
                </c:pt>
                <c:pt idx="142">
                  <c:v>1397-06-14</c:v>
                </c:pt>
                <c:pt idx="143">
                  <c:v>1397-06-15</c:v>
                </c:pt>
                <c:pt idx="144">
                  <c:v>1397-06-17</c:v>
                </c:pt>
                <c:pt idx="145">
                  <c:v>1397-06-18</c:v>
                </c:pt>
                <c:pt idx="146">
                  <c:v>1397-06-19</c:v>
                </c:pt>
                <c:pt idx="147">
                  <c:v>1397-06-20</c:v>
                </c:pt>
                <c:pt idx="148">
                  <c:v>1397-06-21</c:v>
                </c:pt>
                <c:pt idx="149">
                  <c:v>1397-06-22</c:v>
                </c:pt>
                <c:pt idx="150">
                  <c:v>1397-06-24</c:v>
                </c:pt>
                <c:pt idx="151">
                  <c:v>1397-06-25</c:v>
                </c:pt>
                <c:pt idx="152">
                  <c:v>1397-06-26</c:v>
                </c:pt>
                <c:pt idx="153">
                  <c:v>1397-06-27</c:v>
                </c:pt>
                <c:pt idx="154">
                  <c:v>1397-06-31</c:v>
                </c:pt>
                <c:pt idx="155">
                  <c:v>1397-07-01</c:v>
                </c:pt>
                <c:pt idx="156">
                  <c:v>1397-07-02</c:v>
                </c:pt>
                <c:pt idx="157">
                  <c:v>1397-07-03</c:v>
                </c:pt>
                <c:pt idx="158">
                  <c:v>1397-07-04</c:v>
                </c:pt>
                <c:pt idx="159">
                  <c:v>1397-07-05</c:v>
                </c:pt>
                <c:pt idx="160">
                  <c:v>1397-07-07</c:v>
                </c:pt>
                <c:pt idx="161">
                  <c:v>1397-07-08</c:v>
                </c:pt>
                <c:pt idx="162">
                  <c:v>1397-07-09</c:v>
                </c:pt>
                <c:pt idx="163">
                  <c:v>1397-07-10</c:v>
                </c:pt>
                <c:pt idx="164">
                  <c:v>1397-07-11</c:v>
                </c:pt>
                <c:pt idx="165">
                  <c:v>1397-07-12</c:v>
                </c:pt>
                <c:pt idx="166">
                  <c:v>1397-07-14</c:v>
                </c:pt>
                <c:pt idx="167">
                  <c:v>1397-07-15</c:v>
                </c:pt>
                <c:pt idx="168">
                  <c:v>1397-07-16</c:v>
                </c:pt>
                <c:pt idx="169">
                  <c:v>1397-07-17</c:v>
                </c:pt>
                <c:pt idx="170">
                  <c:v>1397-07-18</c:v>
                </c:pt>
                <c:pt idx="171">
                  <c:v>1397-07-19</c:v>
                </c:pt>
                <c:pt idx="172">
                  <c:v>1397-07-21</c:v>
                </c:pt>
                <c:pt idx="173">
                  <c:v>1397-07-22</c:v>
                </c:pt>
                <c:pt idx="174">
                  <c:v>1397-07-23</c:v>
                </c:pt>
                <c:pt idx="175">
                  <c:v>1397-07-24</c:v>
                </c:pt>
                <c:pt idx="176">
                  <c:v>1397-07-25</c:v>
                </c:pt>
                <c:pt idx="177">
                  <c:v>1397-07-26</c:v>
                </c:pt>
                <c:pt idx="178">
                  <c:v>1397-07-28</c:v>
                </c:pt>
                <c:pt idx="179">
                  <c:v>1397-07-29</c:v>
                </c:pt>
                <c:pt idx="180">
                  <c:v>1397-07-30</c:v>
                </c:pt>
                <c:pt idx="181">
                  <c:v>1397-08-01</c:v>
                </c:pt>
                <c:pt idx="182">
                  <c:v>1397-08-02</c:v>
                </c:pt>
                <c:pt idx="183">
                  <c:v>1397-08-03</c:v>
                </c:pt>
                <c:pt idx="184">
                  <c:v>1397-08-04</c:v>
                </c:pt>
                <c:pt idx="185">
                  <c:v>1397-08-05</c:v>
                </c:pt>
                <c:pt idx="186">
                  <c:v>1397-08-06</c:v>
                </c:pt>
                <c:pt idx="187">
                  <c:v>1397-08-07</c:v>
                </c:pt>
                <c:pt idx="188">
                  <c:v>1397-08-09</c:v>
                </c:pt>
                <c:pt idx="189">
                  <c:v>1397-08-10</c:v>
                </c:pt>
                <c:pt idx="190">
                  <c:v>1397-08-11</c:v>
                </c:pt>
                <c:pt idx="191">
                  <c:v>1397-08-12</c:v>
                </c:pt>
                <c:pt idx="192">
                  <c:v>1397-08-13</c:v>
                </c:pt>
                <c:pt idx="193">
                  <c:v>1397-08-14</c:v>
                </c:pt>
                <c:pt idx="194">
                  <c:v>1397-08-15</c:v>
                </c:pt>
                <c:pt idx="195">
                  <c:v>1397-08-18</c:v>
                </c:pt>
                <c:pt idx="196">
                  <c:v>1397-08-19</c:v>
                </c:pt>
                <c:pt idx="197">
                  <c:v>1397-08-20</c:v>
                </c:pt>
                <c:pt idx="198">
                  <c:v>1397-08-21</c:v>
                </c:pt>
                <c:pt idx="199">
                  <c:v>1397-08-22</c:v>
                </c:pt>
                <c:pt idx="200">
                  <c:v>1397-08-23</c:v>
                </c:pt>
                <c:pt idx="201">
                  <c:v>1397-08-24</c:v>
                </c:pt>
                <c:pt idx="202">
                  <c:v>1397-08-25</c:v>
                </c:pt>
                <c:pt idx="203">
                  <c:v>1397-08-26</c:v>
                </c:pt>
                <c:pt idx="204">
                  <c:v>1397-08-27</c:v>
                </c:pt>
                <c:pt idx="205">
                  <c:v>1397-08-28</c:v>
                </c:pt>
                <c:pt idx="206">
                  <c:v>1397-08-29</c:v>
                </c:pt>
                <c:pt idx="207">
                  <c:v>1397-08-30</c:v>
                </c:pt>
                <c:pt idx="208">
                  <c:v>1397-09-01</c:v>
                </c:pt>
                <c:pt idx="209">
                  <c:v>1397-09-03</c:v>
                </c:pt>
                <c:pt idx="210">
                  <c:v>1397-09-05</c:v>
                </c:pt>
                <c:pt idx="211">
                  <c:v>1397-09-06</c:v>
                </c:pt>
                <c:pt idx="212">
                  <c:v>1397-09-07</c:v>
                </c:pt>
                <c:pt idx="213">
                  <c:v>1397-09-08</c:v>
                </c:pt>
                <c:pt idx="214">
                  <c:v>1397-09-10</c:v>
                </c:pt>
                <c:pt idx="215">
                  <c:v>1397-09-11</c:v>
                </c:pt>
                <c:pt idx="216">
                  <c:v>1397-09-12</c:v>
                </c:pt>
                <c:pt idx="217">
                  <c:v>1397-09-13</c:v>
                </c:pt>
                <c:pt idx="218">
                  <c:v>1397-09-14</c:v>
                </c:pt>
                <c:pt idx="219">
                  <c:v>1397-09-15</c:v>
                </c:pt>
                <c:pt idx="220">
                  <c:v>1397-09-17</c:v>
                </c:pt>
                <c:pt idx="221">
                  <c:v>1397-09-18</c:v>
                </c:pt>
                <c:pt idx="222">
                  <c:v>1397-09-19</c:v>
                </c:pt>
                <c:pt idx="223">
                  <c:v>1397-09-20</c:v>
                </c:pt>
                <c:pt idx="224">
                  <c:v>1397-09-21</c:v>
                </c:pt>
                <c:pt idx="225">
                  <c:v>1397-09-22</c:v>
                </c:pt>
                <c:pt idx="226">
                  <c:v>1397-09-24</c:v>
                </c:pt>
                <c:pt idx="227">
                  <c:v>1397-09-25</c:v>
                </c:pt>
                <c:pt idx="228">
                  <c:v>1397-09-26</c:v>
                </c:pt>
                <c:pt idx="229">
                  <c:v>1397-09-27</c:v>
                </c:pt>
                <c:pt idx="230">
                  <c:v>1397-09-28</c:v>
                </c:pt>
                <c:pt idx="231">
                  <c:v>1397-09-29</c:v>
                </c:pt>
                <c:pt idx="232">
                  <c:v>1397-10-01</c:v>
                </c:pt>
                <c:pt idx="233">
                  <c:v>1397-10-02</c:v>
                </c:pt>
                <c:pt idx="234">
                  <c:v>1397-10-03</c:v>
                </c:pt>
                <c:pt idx="235">
                  <c:v>1397-10-04</c:v>
                </c:pt>
                <c:pt idx="236">
                  <c:v>1397-10-05</c:v>
                </c:pt>
                <c:pt idx="237">
                  <c:v>1397-10-06</c:v>
                </c:pt>
                <c:pt idx="238">
                  <c:v>1397-10-08</c:v>
                </c:pt>
                <c:pt idx="239">
                  <c:v>1397-10-09</c:v>
                </c:pt>
                <c:pt idx="240">
                  <c:v>1397-10-10</c:v>
                </c:pt>
                <c:pt idx="241">
                  <c:v>1397-10-11</c:v>
                </c:pt>
                <c:pt idx="242">
                  <c:v>1397-10-12</c:v>
                </c:pt>
                <c:pt idx="243">
                  <c:v>1397-10-13</c:v>
                </c:pt>
                <c:pt idx="244">
                  <c:v>1397-10-15</c:v>
                </c:pt>
                <c:pt idx="245">
                  <c:v>1397-10-16</c:v>
                </c:pt>
                <c:pt idx="246">
                  <c:v>1397-10-17</c:v>
                </c:pt>
                <c:pt idx="247">
                  <c:v>1397-10-18</c:v>
                </c:pt>
                <c:pt idx="248">
                  <c:v>1397-10-19</c:v>
                </c:pt>
                <c:pt idx="249">
                  <c:v>1397-10-20</c:v>
                </c:pt>
                <c:pt idx="250">
                  <c:v>1397-10-22</c:v>
                </c:pt>
                <c:pt idx="251">
                  <c:v>1397-10-23</c:v>
                </c:pt>
                <c:pt idx="252">
                  <c:v>1397-10-24</c:v>
                </c:pt>
                <c:pt idx="253">
                  <c:v>1397-10-25</c:v>
                </c:pt>
                <c:pt idx="254">
                  <c:v>1397-10-26</c:v>
                </c:pt>
                <c:pt idx="255">
                  <c:v>1397-10-27</c:v>
                </c:pt>
                <c:pt idx="256">
                  <c:v>1397-10-29</c:v>
                </c:pt>
                <c:pt idx="257">
                  <c:v>1397-10-30</c:v>
                </c:pt>
                <c:pt idx="258">
                  <c:v>1397-11-01</c:v>
                </c:pt>
                <c:pt idx="259">
                  <c:v>1397-11-02</c:v>
                </c:pt>
                <c:pt idx="260">
                  <c:v>1397-11-03</c:v>
                </c:pt>
                <c:pt idx="261">
                  <c:v>1397-11-04</c:v>
                </c:pt>
                <c:pt idx="262">
                  <c:v>1397-11-06</c:v>
                </c:pt>
                <c:pt idx="263">
                  <c:v>1397-11-07</c:v>
                </c:pt>
                <c:pt idx="264">
                  <c:v>1397-11-08</c:v>
                </c:pt>
                <c:pt idx="265">
                  <c:v>1397-11-09</c:v>
                </c:pt>
                <c:pt idx="266">
                  <c:v>1397-11-10</c:v>
                </c:pt>
                <c:pt idx="267">
                  <c:v>1397-11-11</c:v>
                </c:pt>
                <c:pt idx="268">
                  <c:v>1397-11-13</c:v>
                </c:pt>
                <c:pt idx="269">
                  <c:v>1397-11-14</c:v>
                </c:pt>
                <c:pt idx="270">
                  <c:v>1397-11-15</c:v>
                </c:pt>
                <c:pt idx="271">
                  <c:v>1397-11-16</c:v>
                </c:pt>
                <c:pt idx="272">
                  <c:v>1397-11-17</c:v>
                </c:pt>
                <c:pt idx="273">
                  <c:v>1397-11-18</c:v>
                </c:pt>
                <c:pt idx="274">
                  <c:v>1397-11-21</c:v>
                </c:pt>
                <c:pt idx="275">
                  <c:v>1397-11-23</c:v>
                </c:pt>
                <c:pt idx="276">
                  <c:v>1397-11-24</c:v>
                </c:pt>
                <c:pt idx="277">
                  <c:v>1397-11-27</c:v>
                </c:pt>
                <c:pt idx="278">
                  <c:v>1397-11-28</c:v>
                </c:pt>
                <c:pt idx="279">
                  <c:v>1397-11-29</c:v>
                </c:pt>
                <c:pt idx="280">
                  <c:v>1397-11-30</c:v>
                </c:pt>
                <c:pt idx="281">
                  <c:v>1397-12-01</c:v>
                </c:pt>
                <c:pt idx="282">
                  <c:v>1397-12-02</c:v>
                </c:pt>
                <c:pt idx="283">
                  <c:v>1397-12-04</c:v>
                </c:pt>
                <c:pt idx="284">
                  <c:v>1397-12-05</c:v>
                </c:pt>
                <c:pt idx="285">
                  <c:v>1397-12-06</c:v>
                </c:pt>
                <c:pt idx="286">
                  <c:v>1397-12-07</c:v>
                </c:pt>
                <c:pt idx="287">
                  <c:v>1397-12-08</c:v>
                </c:pt>
                <c:pt idx="288">
                  <c:v>1397-12-09</c:v>
                </c:pt>
                <c:pt idx="289">
                  <c:v>1397-12-11</c:v>
                </c:pt>
                <c:pt idx="290">
                  <c:v>1397-12-12</c:v>
                </c:pt>
                <c:pt idx="291">
                  <c:v>1397-12-13</c:v>
                </c:pt>
                <c:pt idx="292">
                  <c:v>1397-12-14</c:v>
                </c:pt>
                <c:pt idx="293">
                  <c:v>1397-12-15</c:v>
                </c:pt>
                <c:pt idx="294">
                  <c:v>1397-12-16</c:v>
                </c:pt>
                <c:pt idx="295">
                  <c:v>1397-12-18</c:v>
                </c:pt>
                <c:pt idx="296">
                  <c:v>1397-12-19</c:v>
                </c:pt>
                <c:pt idx="297">
                  <c:v>1397-12-20</c:v>
                </c:pt>
                <c:pt idx="298">
                  <c:v>1397-12-21</c:v>
                </c:pt>
                <c:pt idx="299">
                  <c:v>1397-12-22</c:v>
                </c:pt>
                <c:pt idx="300">
                  <c:v>1397-12-23</c:v>
                </c:pt>
                <c:pt idx="301">
                  <c:v>1397-12-25</c:v>
                </c:pt>
                <c:pt idx="302">
                  <c:v>1397-12-26</c:v>
                </c:pt>
                <c:pt idx="303">
                  <c:v>1397-12-27</c:v>
                </c:pt>
                <c:pt idx="304">
                  <c:v>1397-12-28</c:v>
                </c:pt>
                <c:pt idx="305">
                  <c:v>1398-01-05</c:v>
                </c:pt>
                <c:pt idx="306">
                  <c:v>1398-01-06</c:v>
                </c:pt>
                <c:pt idx="307">
                  <c:v>1398-01-07</c:v>
                </c:pt>
                <c:pt idx="308">
                  <c:v>1398-01-10</c:v>
                </c:pt>
                <c:pt idx="309">
                  <c:v>1398-01-11</c:v>
                </c:pt>
                <c:pt idx="310">
                  <c:v>1398-01-17</c:v>
                </c:pt>
                <c:pt idx="311">
                  <c:v>1398-01-18</c:v>
                </c:pt>
                <c:pt idx="312">
                  <c:v>1398-01-19</c:v>
                </c:pt>
                <c:pt idx="313">
                  <c:v>1398-01-20</c:v>
                </c:pt>
                <c:pt idx="314">
                  <c:v>1398-01-21</c:v>
                </c:pt>
                <c:pt idx="315">
                  <c:v>1398-01-24</c:v>
                </c:pt>
                <c:pt idx="316">
                  <c:v>1398-01-25</c:v>
                </c:pt>
                <c:pt idx="317">
                  <c:v>1398-01-26</c:v>
                </c:pt>
                <c:pt idx="318">
                  <c:v>1398-01-27</c:v>
                </c:pt>
                <c:pt idx="319">
                  <c:v>1398-01-28</c:v>
                </c:pt>
                <c:pt idx="320">
                  <c:v>1398-01-31</c:v>
                </c:pt>
                <c:pt idx="321">
                  <c:v>1398-02-02</c:v>
                </c:pt>
                <c:pt idx="322">
                  <c:v>1398-02-03</c:v>
                </c:pt>
                <c:pt idx="323">
                  <c:v>1398-02-04</c:v>
                </c:pt>
                <c:pt idx="324">
                  <c:v>1398-02-07</c:v>
                </c:pt>
                <c:pt idx="325">
                  <c:v>1398-02-08</c:v>
                </c:pt>
                <c:pt idx="326">
                  <c:v>1398-02-09</c:v>
                </c:pt>
                <c:pt idx="327">
                  <c:v>1398-02-10</c:v>
                </c:pt>
                <c:pt idx="328">
                  <c:v>1398-02-11</c:v>
                </c:pt>
                <c:pt idx="329">
                  <c:v>1398-02-12</c:v>
                </c:pt>
                <c:pt idx="330">
                  <c:v>1398-02-14</c:v>
                </c:pt>
                <c:pt idx="331">
                  <c:v>1398-02-15</c:v>
                </c:pt>
                <c:pt idx="332">
                  <c:v>1398-02-16</c:v>
                </c:pt>
                <c:pt idx="333">
                  <c:v>1398-02-17</c:v>
                </c:pt>
                <c:pt idx="334">
                  <c:v>1398-02-18</c:v>
                </c:pt>
                <c:pt idx="335">
                  <c:v>1398-02-19</c:v>
                </c:pt>
                <c:pt idx="336">
                  <c:v>1398-02-21</c:v>
                </c:pt>
                <c:pt idx="337">
                  <c:v>1398-02-22</c:v>
                </c:pt>
                <c:pt idx="338">
                  <c:v>1398-02-23</c:v>
                </c:pt>
                <c:pt idx="339">
                  <c:v>1398-02-24</c:v>
                </c:pt>
                <c:pt idx="340">
                  <c:v>1398-02-25</c:v>
                </c:pt>
                <c:pt idx="341">
                  <c:v>1398-02-26</c:v>
                </c:pt>
                <c:pt idx="342">
                  <c:v>1398-02-28</c:v>
                </c:pt>
                <c:pt idx="343">
                  <c:v>1398-02-29</c:v>
                </c:pt>
                <c:pt idx="344">
                  <c:v>1398-02-30</c:v>
                </c:pt>
                <c:pt idx="345">
                  <c:v>1398-02-31</c:v>
                </c:pt>
                <c:pt idx="346">
                  <c:v>1398-03-01</c:v>
                </c:pt>
                <c:pt idx="347">
                  <c:v>1398-03-02</c:v>
                </c:pt>
                <c:pt idx="348">
                  <c:v>1398-03-04</c:v>
                </c:pt>
                <c:pt idx="349">
                  <c:v>1398-03-05</c:v>
                </c:pt>
                <c:pt idx="350">
                  <c:v>1398-03-07</c:v>
                </c:pt>
                <c:pt idx="351">
                  <c:v>1398-03-08</c:v>
                </c:pt>
                <c:pt idx="352">
                  <c:v>1398-03-09</c:v>
                </c:pt>
                <c:pt idx="353">
                  <c:v>1398-03-11</c:v>
                </c:pt>
                <c:pt idx="354">
                  <c:v>1398-03-12</c:v>
                </c:pt>
                <c:pt idx="355">
                  <c:v>1398-03-13</c:v>
                </c:pt>
                <c:pt idx="356">
                  <c:v>1398-03-18</c:v>
                </c:pt>
                <c:pt idx="357">
                  <c:v>1398-03-19</c:v>
                </c:pt>
                <c:pt idx="358">
                  <c:v>1398-03-20</c:v>
                </c:pt>
                <c:pt idx="359">
                  <c:v>1398-03-21</c:v>
                </c:pt>
                <c:pt idx="360">
                  <c:v>1398-03-22</c:v>
                </c:pt>
                <c:pt idx="361">
                  <c:v>1398-03-25</c:v>
                </c:pt>
                <c:pt idx="362">
                  <c:v>1398-03-26</c:v>
                </c:pt>
                <c:pt idx="363">
                  <c:v>1398-03-27</c:v>
                </c:pt>
                <c:pt idx="364">
                  <c:v>1398-03-28</c:v>
                </c:pt>
                <c:pt idx="365">
                  <c:v>1398-03-29</c:v>
                </c:pt>
                <c:pt idx="366">
                  <c:v>1398-03-30</c:v>
                </c:pt>
                <c:pt idx="367">
                  <c:v>1398-04-01</c:v>
                </c:pt>
                <c:pt idx="368">
                  <c:v>1398-04-02</c:v>
                </c:pt>
                <c:pt idx="369">
                  <c:v>1398-04-03</c:v>
                </c:pt>
                <c:pt idx="370">
                  <c:v>1398-04-04</c:v>
                </c:pt>
                <c:pt idx="371">
                  <c:v>1398-04-05</c:v>
                </c:pt>
                <c:pt idx="372">
                  <c:v>1398-04-06</c:v>
                </c:pt>
                <c:pt idx="373">
                  <c:v>1398-04-09</c:v>
                </c:pt>
                <c:pt idx="374">
                  <c:v>1398-04-10</c:v>
                </c:pt>
                <c:pt idx="375">
                  <c:v>1398-04-11</c:v>
                </c:pt>
                <c:pt idx="376">
                  <c:v>1398-04-12</c:v>
                </c:pt>
                <c:pt idx="377">
                  <c:v>1398-04-13</c:v>
                </c:pt>
                <c:pt idx="378">
                  <c:v>1398-04-15</c:v>
                </c:pt>
                <c:pt idx="379">
                  <c:v>1398-04-16</c:v>
                </c:pt>
                <c:pt idx="380">
                  <c:v>1398-04-17</c:v>
                </c:pt>
                <c:pt idx="381">
                  <c:v>1398-04-18</c:v>
                </c:pt>
                <c:pt idx="382">
                  <c:v>1398-04-19</c:v>
                </c:pt>
                <c:pt idx="383">
                  <c:v>1398-04-20</c:v>
                </c:pt>
                <c:pt idx="384">
                  <c:v>1398-04-22</c:v>
                </c:pt>
                <c:pt idx="385">
                  <c:v>1398-04-23</c:v>
                </c:pt>
                <c:pt idx="386">
                  <c:v>1398-04-24</c:v>
                </c:pt>
                <c:pt idx="387">
                  <c:v>1398-04-25</c:v>
                </c:pt>
                <c:pt idx="388">
                  <c:v>1398-04-26</c:v>
                </c:pt>
                <c:pt idx="389">
                  <c:v>1398-04-27</c:v>
                </c:pt>
                <c:pt idx="390">
                  <c:v>1398-04-29</c:v>
                </c:pt>
                <c:pt idx="391">
                  <c:v>1398-04-30</c:v>
                </c:pt>
                <c:pt idx="392">
                  <c:v>1398-04-31</c:v>
                </c:pt>
                <c:pt idx="393">
                  <c:v>1398-05-01</c:v>
                </c:pt>
                <c:pt idx="394">
                  <c:v>1398-05-02</c:v>
                </c:pt>
                <c:pt idx="395">
                  <c:v>1398-05-03</c:v>
                </c:pt>
                <c:pt idx="396">
                  <c:v>1398-05-05</c:v>
                </c:pt>
                <c:pt idx="397">
                  <c:v>1398-05-06</c:v>
                </c:pt>
                <c:pt idx="398">
                  <c:v>1398-05-07</c:v>
                </c:pt>
                <c:pt idx="399">
                  <c:v>1398-05-08</c:v>
                </c:pt>
                <c:pt idx="400">
                  <c:v>1398-05-09</c:v>
                </c:pt>
                <c:pt idx="401">
                  <c:v>1398-05-10</c:v>
                </c:pt>
                <c:pt idx="402">
                  <c:v>1398-05-12</c:v>
                </c:pt>
                <c:pt idx="403">
                  <c:v>1398-05-13</c:v>
                </c:pt>
                <c:pt idx="404">
                  <c:v>1398-05-14</c:v>
                </c:pt>
                <c:pt idx="405">
                  <c:v>1398-05-15</c:v>
                </c:pt>
                <c:pt idx="406">
                  <c:v>1398-05-16</c:v>
                </c:pt>
                <c:pt idx="407">
                  <c:v>1398-05-17</c:v>
                </c:pt>
                <c:pt idx="408">
                  <c:v>1398-05-19</c:v>
                </c:pt>
                <c:pt idx="409">
                  <c:v>1398-05-20</c:v>
                </c:pt>
                <c:pt idx="410">
                  <c:v>1398-05-22</c:v>
                </c:pt>
                <c:pt idx="411">
                  <c:v>1398-05-23</c:v>
                </c:pt>
                <c:pt idx="412">
                  <c:v>1398-05-24</c:v>
                </c:pt>
                <c:pt idx="413">
                  <c:v>1398-05-26</c:v>
                </c:pt>
                <c:pt idx="414">
                  <c:v>1398-05-27</c:v>
                </c:pt>
                <c:pt idx="415">
                  <c:v>1398-05-28</c:v>
                </c:pt>
                <c:pt idx="416">
                  <c:v>1398-05-30</c:v>
                </c:pt>
                <c:pt idx="417">
                  <c:v>1398-05-31</c:v>
                </c:pt>
                <c:pt idx="418">
                  <c:v>1398-06-02</c:v>
                </c:pt>
                <c:pt idx="419">
                  <c:v>1398-06-03</c:v>
                </c:pt>
                <c:pt idx="420">
                  <c:v>1398-06-04</c:v>
                </c:pt>
                <c:pt idx="421">
                  <c:v>1398-06-05</c:v>
                </c:pt>
                <c:pt idx="422">
                  <c:v>1398-06-06</c:v>
                </c:pt>
                <c:pt idx="423">
                  <c:v>1398-06-07</c:v>
                </c:pt>
                <c:pt idx="424">
                  <c:v>1398-06-09</c:v>
                </c:pt>
                <c:pt idx="425">
                  <c:v>1398-06-10</c:v>
                </c:pt>
                <c:pt idx="426">
                  <c:v>1398-06-11</c:v>
                </c:pt>
                <c:pt idx="427">
                  <c:v>1398-06-12</c:v>
                </c:pt>
                <c:pt idx="428">
                  <c:v>1398-06-13</c:v>
                </c:pt>
                <c:pt idx="429">
                  <c:v>1398-06-14</c:v>
                </c:pt>
                <c:pt idx="430">
                  <c:v>1398-06-16</c:v>
                </c:pt>
                <c:pt idx="431">
                  <c:v>1398-06-17</c:v>
                </c:pt>
                <c:pt idx="432">
                  <c:v>1398-06-20</c:v>
                </c:pt>
                <c:pt idx="433">
                  <c:v>1398-06-21</c:v>
                </c:pt>
                <c:pt idx="434">
                  <c:v>1398-06-23</c:v>
                </c:pt>
                <c:pt idx="435">
                  <c:v>1398-06-24</c:v>
                </c:pt>
                <c:pt idx="436">
                  <c:v>1398-06-25</c:v>
                </c:pt>
                <c:pt idx="437">
                  <c:v>1398-06-26</c:v>
                </c:pt>
                <c:pt idx="438">
                  <c:v>1398-06-27</c:v>
                </c:pt>
                <c:pt idx="439">
                  <c:v>1398-06-28</c:v>
                </c:pt>
                <c:pt idx="440">
                  <c:v>1398-06-30</c:v>
                </c:pt>
                <c:pt idx="441">
                  <c:v>1398-06-31</c:v>
                </c:pt>
                <c:pt idx="442">
                  <c:v>1398-07-01</c:v>
                </c:pt>
                <c:pt idx="443">
                  <c:v>1398-07-02</c:v>
                </c:pt>
                <c:pt idx="444">
                  <c:v>1398-07-03</c:v>
                </c:pt>
                <c:pt idx="445">
                  <c:v>1398-07-04</c:v>
                </c:pt>
                <c:pt idx="446">
                  <c:v>1398-07-06</c:v>
                </c:pt>
                <c:pt idx="447">
                  <c:v>1398-07-07</c:v>
                </c:pt>
                <c:pt idx="448">
                  <c:v>1398-07-08</c:v>
                </c:pt>
                <c:pt idx="449">
                  <c:v>1398-07-09</c:v>
                </c:pt>
                <c:pt idx="450">
                  <c:v>1398-07-10</c:v>
                </c:pt>
                <c:pt idx="451">
                  <c:v>1398-07-11</c:v>
                </c:pt>
                <c:pt idx="452">
                  <c:v>1398-07-13</c:v>
                </c:pt>
                <c:pt idx="453">
                  <c:v>1398-07-14</c:v>
                </c:pt>
                <c:pt idx="454">
                  <c:v>1398-07-15</c:v>
                </c:pt>
                <c:pt idx="455">
                  <c:v>1398-07-16</c:v>
                </c:pt>
                <c:pt idx="456">
                  <c:v>1398-07-17</c:v>
                </c:pt>
                <c:pt idx="457">
                  <c:v>1398-07-18</c:v>
                </c:pt>
                <c:pt idx="458">
                  <c:v>1398-07-20</c:v>
                </c:pt>
                <c:pt idx="459">
                  <c:v>1398-07-21</c:v>
                </c:pt>
                <c:pt idx="460">
                  <c:v>1398-07-22</c:v>
                </c:pt>
                <c:pt idx="461">
                  <c:v>1398-07-23</c:v>
                </c:pt>
                <c:pt idx="462">
                  <c:v>1398-07-24</c:v>
                </c:pt>
                <c:pt idx="463">
                  <c:v>1398-07-25</c:v>
                </c:pt>
                <c:pt idx="464">
                  <c:v>1398-07-28</c:v>
                </c:pt>
                <c:pt idx="465">
                  <c:v>1398-07-29</c:v>
                </c:pt>
                <c:pt idx="466">
                  <c:v>1398-07-30</c:v>
                </c:pt>
                <c:pt idx="467">
                  <c:v>1398-08-01</c:v>
                </c:pt>
                <c:pt idx="468">
                  <c:v>1398-08-02</c:v>
                </c:pt>
                <c:pt idx="469">
                  <c:v>1398-08-04</c:v>
                </c:pt>
                <c:pt idx="470">
                  <c:v>1398-08-06</c:v>
                </c:pt>
                <c:pt idx="471">
                  <c:v>1398-08-08</c:v>
                </c:pt>
                <c:pt idx="472">
                  <c:v>1398-08-09</c:v>
                </c:pt>
                <c:pt idx="473">
                  <c:v>1398-08-11</c:v>
                </c:pt>
                <c:pt idx="474">
                  <c:v>1398-08-12</c:v>
                </c:pt>
                <c:pt idx="475">
                  <c:v>1398-08-13</c:v>
                </c:pt>
                <c:pt idx="476">
                  <c:v>1398-08-14</c:v>
                </c:pt>
                <c:pt idx="477">
                  <c:v>1398-08-16</c:v>
                </c:pt>
                <c:pt idx="478">
                  <c:v>1398-08-18</c:v>
                </c:pt>
                <c:pt idx="479">
                  <c:v>1398-08-19</c:v>
                </c:pt>
                <c:pt idx="480">
                  <c:v>1398-08-20</c:v>
                </c:pt>
                <c:pt idx="481">
                  <c:v>1398-08-21</c:v>
                </c:pt>
                <c:pt idx="482">
                  <c:v>1398-08-22</c:v>
                </c:pt>
                <c:pt idx="483">
                  <c:v>1398-08-23</c:v>
                </c:pt>
                <c:pt idx="484">
                  <c:v>1398-08-25</c:v>
                </c:pt>
                <c:pt idx="485">
                  <c:v>1398-08-26</c:v>
                </c:pt>
                <c:pt idx="486">
                  <c:v>1398-08-27</c:v>
                </c:pt>
                <c:pt idx="487">
                  <c:v>1398-08-28</c:v>
                </c:pt>
                <c:pt idx="488">
                  <c:v>1398-08-29</c:v>
                </c:pt>
                <c:pt idx="489">
                  <c:v>1398-08-30</c:v>
                </c:pt>
                <c:pt idx="490">
                  <c:v>1398-09-02</c:v>
                </c:pt>
                <c:pt idx="491">
                  <c:v>1398-09-03</c:v>
                </c:pt>
                <c:pt idx="492">
                  <c:v>1398-09-04</c:v>
                </c:pt>
                <c:pt idx="493">
                  <c:v>1398-09-05</c:v>
                </c:pt>
                <c:pt idx="494">
                  <c:v>1398-09-06</c:v>
                </c:pt>
                <c:pt idx="495">
                  <c:v>1398-09-07</c:v>
                </c:pt>
                <c:pt idx="496">
                  <c:v>1398-09-09</c:v>
                </c:pt>
                <c:pt idx="497">
                  <c:v>1398-09-10</c:v>
                </c:pt>
                <c:pt idx="498">
                  <c:v>1398-09-11</c:v>
                </c:pt>
                <c:pt idx="499">
                  <c:v>1398-09-12</c:v>
                </c:pt>
                <c:pt idx="500">
                  <c:v>1398-09-13</c:v>
                </c:pt>
                <c:pt idx="501">
                  <c:v>1398-09-14</c:v>
                </c:pt>
                <c:pt idx="502">
                  <c:v>1398-09-16</c:v>
                </c:pt>
                <c:pt idx="503">
                  <c:v>1398-09-17</c:v>
                </c:pt>
                <c:pt idx="504">
                  <c:v>1398-09-18</c:v>
                </c:pt>
                <c:pt idx="505">
                  <c:v>1398-09-19</c:v>
                </c:pt>
                <c:pt idx="506">
                  <c:v>1398-09-20</c:v>
                </c:pt>
                <c:pt idx="507">
                  <c:v>1398-09-21</c:v>
                </c:pt>
                <c:pt idx="508">
                  <c:v>1398-09-23</c:v>
                </c:pt>
                <c:pt idx="509">
                  <c:v>1398-09-24</c:v>
                </c:pt>
                <c:pt idx="510">
                  <c:v>1398-09-25</c:v>
                </c:pt>
                <c:pt idx="511">
                  <c:v>1398-09-26</c:v>
                </c:pt>
                <c:pt idx="512">
                  <c:v>1398-09-27</c:v>
                </c:pt>
                <c:pt idx="513">
                  <c:v>1398-09-28</c:v>
                </c:pt>
                <c:pt idx="514">
                  <c:v>1398-09-30</c:v>
                </c:pt>
                <c:pt idx="515">
                  <c:v>1398-10-01</c:v>
                </c:pt>
                <c:pt idx="516">
                  <c:v>1398-10-02</c:v>
                </c:pt>
                <c:pt idx="517">
                  <c:v>1398-10-03</c:v>
                </c:pt>
                <c:pt idx="518">
                  <c:v>1398-10-04</c:v>
                </c:pt>
                <c:pt idx="519">
                  <c:v>1398-10-05</c:v>
                </c:pt>
                <c:pt idx="520">
                  <c:v>1398-10-07</c:v>
                </c:pt>
                <c:pt idx="521">
                  <c:v>1398-10-08</c:v>
                </c:pt>
                <c:pt idx="522">
                  <c:v>1398-10-09</c:v>
                </c:pt>
                <c:pt idx="523">
                  <c:v>1398-10-10</c:v>
                </c:pt>
                <c:pt idx="524">
                  <c:v>1398-10-11</c:v>
                </c:pt>
                <c:pt idx="525">
                  <c:v>1398-10-12</c:v>
                </c:pt>
                <c:pt idx="526">
                  <c:v>1398-10-14</c:v>
                </c:pt>
                <c:pt idx="527">
                  <c:v>1398-10-15</c:v>
                </c:pt>
                <c:pt idx="528">
                  <c:v>1398-10-16</c:v>
                </c:pt>
                <c:pt idx="529">
                  <c:v>1398-10-17</c:v>
                </c:pt>
                <c:pt idx="530">
                  <c:v>1398-10-18</c:v>
                </c:pt>
                <c:pt idx="531">
                  <c:v>1398-10-19</c:v>
                </c:pt>
                <c:pt idx="532">
                  <c:v>1398-10-21</c:v>
                </c:pt>
                <c:pt idx="533">
                  <c:v>1398-10-22</c:v>
                </c:pt>
                <c:pt idx="534">
                  <c:v>1398-10-23</c:v>
                </c:pt>
                <c:pt idx="535">
                  <c:v>1398-10-24</c:v>
                </c:pt>
                <c:pt idx="536">
                  <c:v>1398-10-25</c:v>
                </c:pt>
                <c:pt idx="537">
                  <c:v>1398-10-26</c:v>
                </c:pt>
                <c:pt idx="538">
                  <c:v>1398-10-28</c:v>
                </c:pt>
                <c:pt idx="539">
                  <c:v>1398-10-29</c:v>
                </c:pt>
                <c:pt idx="540">
                  <c:v>1398-10-30</c:v>
                </c:pt>
                <c:pt idx="541">
                  <c:v>1398-11-01</c:v>
                </c:pt>
                <c:pt idx="542">
                  <c:v>1398-11-02</c:v>
                </c:pt>
                <c:pt idx="543">
                  <c:v>1398-11-03</c:v>
                </c:pt>
                <c:pt idx="544">
                  <c:v>1398-11-05</c:v>
                </c:pt>
                <c:pt idx="545">
                  <c:v>1398-11-06</c:v>
                </c:pt>
                <c:pt idx="546">
                  <c:v>1398-11-07</c:v>
                </c:pt>
                <c:pt idx="547">
                  <c:v>1398-11-08</c:v>
                </c:pt>
                <c:pt idx="548">
                  <c:v>1398-11-10</c:v>
                </c:pt>
                <c:pt idx="549">
                  <c:v>1398-11-12</c:v>
                </c:pt>
                <c:pt idx="550">
                  <c:v>1398-11-13</c:v>
                </c:pt>
                <c:pt idx="551">
                  <c:v>1398-11-14</c:v>
                </c:pt>
                <c:pt idx="552">
                  <c:v>1398-11-15</c:v>
                </c:pt>
                <c:pt idx="553">
                  <c:v>1398-11-16</c:v>
                </c:pt>
                <c:pt idx="554">
                  <c:v>1398-11-17</c:v>
                </c:pt>
                <c:pt idx="555">
                  <c:v>1398-11-19</c:v>
                </c:pt>
                <c:pt idx="556">
                  <c:v>1398-11-20</c:v>
                </c:pt>
                <c:pt idx="557">
                  <c:v>1398-11-21</c:v>
                </c:pt>
                <c:pt idx="558">
                  <c:v>1398-11-23</c:v>
                </c:pt>
                <c:pt idx="559">
                  <c:v>1398-11-24</c:v>
                </c:pt>
                <c:pt idx="560">
                  <c:v>1398-11-26</c:v>
                </c:pt>
                <c:pt idx="561">
                  <c:v>1398-11-27</c:v>
                </c:pt>
                <c:pt idx="562">
                  <c:v>1398-11-28</c:v>
                </c:pt>
                <c:pt idx="563">
                  <c:v>1398-11-29</c:v>
                </c:pt>
                <c:pt idx="564">
                  <c:v>1398-11-30</c:v>
                </c:pt>
                <c:pt idx="565">
                  <c:v>1398-12-01</c:v>
                </c:pt>
                <c:pt idx="566">
                  <c:v>1398-12-03</c:v>
                </c:pt>
                <c:pt idx="567">
                  <c:v>1398-12-04</c:v>
                </c:pt>
                <c:pt idx="568">
                  <c:v>1398-12-05</c:v>
                </c:pt>
                <c:pt idx="569">
                  <c:v>1398-12-06</c:v>
                </c:pt>
                <c:pt idx="570">
                  <c:v>1398-12-07</c:v>
                </c:pt>
                <c:pt idx="571">
                  <c:v>1398-12-08</c:v>
                </c:pt>
                <c:pt idx="572">
                  <c:v>1398-12-10</c:v>
                </c:pt>
                <c:pt idx="573">
                  <c:v>1398-12-11</c:v>
                </c:pt>
                <c:pt idx="574">
                  <c:v>1398-12-12</c:v>
                </c:pt>
                <c:pt idx="575">
                  <c:v>1398-12-13</c:v>
                </c:pt>
                <c:pt idx="576">
                  <c:v>1398-12-14</c:v>
                </c:pt>
                <c:pt idx="577">
                  <c:v>1398-12-15</c:v>
                </c:pt>
                <c:pt idx="578">
                  <c:v>1398-12-17</c:v>
                </c:pt>
                <c:pt idx="579">
                  <c:v>1398-12-19</c:v>
                </c:pt>
                <c:pt idx="580">
                  <c:v>1398-12-20</c:v>
                </c:pt>
                <c:pt idx="581">
                  <c:v>1398-12-21</c:v>
                </c:pt>
                <c:pt idx="582">
                  <c:v>1398-12-22</c:v>
                </c:pt>
                <c:pt idx="583">
                  <c:v>1398-12-24</c:v>
                </c:pt>
                <c:pt idx="584">
                  <c:v>1398-12-25</c:v>
                </c:pt>
                <c:pt idx="585">
                  <c:v>1398-12-26</c:v>
                </c:pt>
                <c:pt idx="586">
                  <c:v>1398-12-27</c:v>
                </c:pt>
                <c:pt idx="587">
                  <c:v>1398-12-28</c:v>
                </c:pt>
                <c:pt idx="588">
                  <c:v>1399-01-05</c:v>
                </c:pt>
                <c:pt idx="589">
                  <c:v>1399-01-06</c:v>
                </c:pt>
                <c:pt idx="590">
                  <c:v>1399-01-09</c:v>
                </c:pt>
                <c:pt idx="591">
                  <c:v>1399-01-10</c:v>
                </c:pt>
                <c:pt idx="592">
                  <c:v>1399-01-11</c:v>
                </c:pt>
                <c:pt idx="593">
                  <c:v>1399-01-14</c:v>
                </c:pt>
                <c:pt idx="594">
                  <c:v>1399-01-16</c:v>
                </c:pt>
                <c:pt idx="595">
                  <c:v>1399-01-17</c:v>
                </c:pt>
                <c:pt idx="596">
                  <c:v>1399-01-18</c:v>
                </c:pt>
                <c:pt idx="597">
                  <c:v>1399-01-19</c:v>
                </c:pt>
                <c:pt idx="598">
                  <c:v>1399-01-20</c:v>
                </c:pt>
                <c:pt idx="599">
                  <c:v>1399-01-23</c:v>
                </c:pt>
                <c:pt idx="600">
                  <c:v>1399-01-24</c:v>
                </c:pt>
                <c:pt idx="601">
                  <c:v>1399-01-25</c:v>
                </c:pt>
                <c:pt idx="602">
                  <c:v>1399-01-26</c:v>
                </c:pt>
                <c:pt idx="603">
                  <c:v>1399-01-27</c:v>
                </c:pt>
                <c:pt idx="604">
                  <c:v>1399-01-30</c:v>
                </c:pt>
                <c:pt idx="605">
                  <c:v>1399-01-31</c:v>
                </c:pt>
                <c:pt idx="606">
                  <c:v>1399-02-01</c:v>
                </c:pt>
                <c:pt idx="607">
                  <c:v>1399-02-02</c:v>
                </c:pt>
                <c:pt idx="608">
                  <c:v>1399-02-03</c:v>
                </c:pt>
                <c:pt idx="609">
                  <c:v>1399-02-04</c:v>
                </c:pt>
                <c:pt idx="610">
                  <c:v>1399-02-06</c:v>
                </c:pt>
                <c:pt idx="611">
                  <c:v>1399-02-07</c:v>
                </c:pt>
                <c:pt idx="612">
                  <c:v>1399-02-08</c:v>
                </c:pt>
                <c:pt idx="613">
                  <c:v>1399-02-09</c:v>
                </c:pt>
                <c:pt idx="614">
                  <c:v>1399-02-10</c:v>
                </c:pt>
                <c:pt idx="615">
                  <c:v>1399-02-11</c:v>
                </c:pt>
                <c:pt idx="616">
                  <c:v>1399-02-13</c:v>
                </c:pt>
                <c:pt idx="617">
                  <c:v>1399-02-14</c:v>
                </c:pt>
                <c:pt idx="618">
                  <c:v>1399-02-15</c:v>
                </c:pt>
                <c:pt idx="619">
                  <c:v>1399-02-16</c:v>
                </c:pt>
                <c:pt idx="620">
                  <c:v>1399-02-17</c:v>
                </c:pt>
                <c:pt idx="621">
                  <c:v>1399-02-18</c:v>
                </c:pt>
                <c:pt idx="622">
                  <c:v>1399-02-20</c:v>
                </c:pt>
                <c:pt idx="623">
                  <c:v>1399-02-21</c:v>
                </c:pt>
                <c:pt idx="624">
                  <c:v>1399-02-22</c:v>
                </c:pt>
                <c:pt idx="625">
                  <c:v>1399-02-23</c:v>
                </c:pt>
                <c:pt idx="626">
                  <c:v>1399-02-24</c:v>
                </c:pt>
                <c:pt idx="627">
                  <c:v>1399-02-25</c:v>
                </c:pt>
                <c:pt idx="628">
                  <c:v>1399-02-27</c:v>
                </c:pt>
                <c:pt idx="629">
                  <c:v>1399-02-28</c:v>
                </c:pt>
                <c:pt idx="630">
                  <c:v>1399-02-29</c:v>
                </c:pt>
                <c:pt idx="631">
                  <c:v>1399-02-30</c:v>
                </c:pt>
                <c:pt idx="632">
                  <c:v>1399-02-31</c:v>
                </c:pt>
                <c:pt idx="633">
                  <c:v>1399-03-01</c:v>
                </c:pt>
                <c:pt idx="634">
                  <c:v>1399-03-03</c:v>
                </c:pt>
                <c:pt idx="635">
                  <c:v>1399-03-06</c:v>
                </c:pt>
                <c:pt idx="636">
                  <c:v>1399-03-07</c:v>
                </c:pt>
                <c:pt idx="637">
                  <c:v>1399-03-08</c:v>
                </c:pt>
                <c:pt idx="638">
                  <c:v>1399-03-10</c:v>
                </c:pt>
                <c:pt idx="639">
                  <c:v>1399-03-11</c:v>
                </c:pt>
                <c:pt idx="640">
                  <c:v>1399-03-12</c:v>
                </c:pt>
                <c:pt idx="641">
                  <c:v>1399-03-13</c:v>
                </c:pt>
                <c:pt idx="642">
                  <c:v>1399-03-17</c:v>
                </c:pt>
                <c:pt idx="643">
                  <c:v>1399-03-18</c:v>
                </c:pt>
                <c:pt idx="644">
                  <c:v>1399-03-19</c:v>
                </c:pt>
                <c:pt idx="645">
                  <c:v>1399-03-20</c:v>
                </c:pt>
                <c:pt idx="646">
                  <c:v>1399-03-21</c:v>
                </c:pt>
                <c:pt idx="647">
                  <c:v>1399-03-22</c:v>
                </c:pt>
                <c:pt idx="648">
                  <c:v>1399-03-24</c:v>
                </c:pt>
                <c:pt idx="649">
                  <c:v>1399-03-25</c:v>
                </c:pt>
                <c:pt idx="650">
                  <c:v>1399-03-26</c:v>
                </c:pt>
                <c:pt idx="651">
                  <c:v>1399-03-27</c:v>
                </c:pt>
                <c:pt idx="652">
                  <c:v>1399-03-29</c:v>
                </c:pt>
                <c:pt idx="653">
                  <c:v>1399-03-31</c:v>
                </c:pt>
                <c:pt idx="654">
                  <c:v>1399-04-01</c:v>
                </c:pt>
                <c:pt idx="655">
                  <c:v>1399-04-02</c:v>
                </c:pt>
                <c:pt idx="656">
                  <c:v>1399-04-03</c:v>
                </c:pt>
                <c:pt idx="657">
                  <c:v>1399-04-04</c:v>
                </c:pt>
                <c:pt idx="658">
                  <c:v>1399-04-05</c:v>
                </c:pt>
                <c:pt idx="659">
                  <c:v>1399-04-07</c:v>
                </c:pt>
                <c:pt idx="660">
                  <c:v>1399-04-08</c:v>
                </c:pt>
                <c:pt idx="661">
                  <c:v>1399-04-09</c:v>
                </c:pt>
                <c:pt idx="662">
                  <c:v>1399-04-10</c:v>
                </c:pt>
                <c:pt idx="663">
                  <c:v>1399-04-11</c:v>
                </c:pt>
                <c:pt idx="664">
                  <c:v>1399-04-12</c:v>
                </c:pt>
                <c:pt idx="665">
                  <c:v>1399-04-14</c:v>
                </c:pt>
                <c:pt idx="666">
                  <c:v>1399-04-15</c:v>
                </c:pt>
                <c:pt idx="667">
                  <c:v>1399-04-16</c:v>
                </c:pt>
                <c:pt idx="668">
                  <c:v>1399-04-17</c:v>
                </c:pt>
                <c:pt idx="669">
                  <c:v>1399-04-18</c:v>
                </c:pt>
                <c:pt idx="670">
                  <c:v>1399-04-19</c:v>
                </c:pt>
                <c:pt idx="671">
                  <c:v>1399-04-21</c:v>
                </c:pt>
                <c:pt idx="672">
                  <c:v>1399-04-22</c:v>
                </c:pt>
                <c:pt idx="673">
                  <c:v>1399-04-23</c:v>
                </c:pt>
                <c:pt idx="674">
                  <c:v>1399-04-24</c:v>
                </c:pt>
                <c:pt idx="675">
                  <c:v>1399-04-25</c:v>
                </c:pt>
                <c:pt idx="676">
                  <c:v>1399-04-26</c:v>
                </c:pt>
                <c:pt idx="677">
                  <c:v>1399-04-28</c:v>
                </c:pt>
                <c:pt idx="678">
                  <c:v>1399-04-29</c:v>
                </c:pt>
                <c:pt idx="679">
                  <c:v>1399-04-30</c:v>
                </c:pt>
                <c:pt idx="680">
                  <c:v>1399-04-31</c:v>
                </c:pt>
                <c:pt idx="681">
                  <c:v>1399-05-01</c:v>
                </c:pt>
                <c:pt idx="682">
                  <c:v>1399-05-02</c:v>
                </c:pt>
                <c:pt idx="683">
                  <c:v>1399-05-04</c:v>
                </c:pt>
                <c:pt idx="684">
                  <c:v>1399-05-05</c:v>
                </c:pt>
                <c:pt idx="685">
                  <c:v>1399-05-06</c:v>
                </c:pt>
                <c:pt idx="686">
                  <c:v>1399-05-07</c:v>
                </c:pt>
                <c:pt idx="687">
                  <c:v>1399-05-08</c:v>
                </c:pt>
                <c:pt idx="688">
                  <c:v>1399-05-09</c:v>
                </c:pt>
                <c:pt idx="689">
                  <c:v>1399-05-11</c:v>
                </c:pt>
                <c:pt idx="690">
                  <c:v>1399-05-12</c:v>
                </c:pt>
                <c:pt idx="691">
                  <c:v>1399-05-13</c:v>
                </c:pt>
                <c:pt idx="692">
                  <c:v>1399-05-14</c:v>
                </c:pt>
                <c:pt idx="693">
                  <c:v>1399-05-15</c:v>
                </c:pt>
                <c:pt idx="694">
                  <c:v>1399-05-16</c:v>
                </c:pt>
                <c:pt idx="695">
                  <c:v>1399-05-19</c:v>
                </c:pt>
                <c:pt idx="696">
                  <c:v>1399-05-20</c:v>
                </c:pt>
                <c:pt idx="697">
                  <c:v>1399-05-21</c:v>
                </c:pt>
                <c:pt idx="698">
                  <c:v>1399-05-22</c:v>
                </c:pt>
                <c:pt idx="699">
                  <c:v>1399-05-23</c:v>
                </c:pt>
                <c:pt idx="700">
                  <c:v>1399-05-25</c:v>
                </c:pt>
                <c:pt idx="701">
                  <c:v>1399-05-26</c:v>
                </c:pt>
                <c:pt idx="702">
                  <c:v>1399-05-27</c:v>
                </c:pt>
                <c:pt idx="703">
                  <c:v>1399-05-28</c:v>
                </c:pt>
                <c:pt idx="704">
                  <c:v>1399-05-29</c:v>
                </c:pt>
                <c:pt idx="705">
                  <c:v>1399-05-30</c:v>
                </c:pt>
                <c:pt idx="706">
                  <c:v>1399-06-01</c:v>
                </c:pt>
                <c:pt idx="707">
                  <c:v>1399-06-02</c:v>
                </c:pt>
                <c:pt idx="708">
                  <c:v>1399-06-03</c:v>
                </c:pt>
                <c:pt idx="709">
                  <c:v>1399-06-04</c:v>
                </c:pt>
                <c:pt idx="710">
                  <c:v>1399-06-05</c:v>
                </c:pt>
                <c:pt idx="711">
                  <c:v>1399-06-06</c:v>
                </c:pt>
                <c:pt idx="712">
                  <c:v>1399-06-10</c:v>
                </c:pt>
                <c:pt idx="713">
                  <c:v>1399-06-11</c:v>
                </c:pt>
                <c:pt idx="714">
                  <c:v>1399-06-12</c:v>
                </c:pt>
                <c:pt idx="715">
                  <c:v>1399-06-13</c:v>
                </c:pt>
                <c:pt idx="716">
                  <c:v>1399-06-15</c:v>
                </c:pt>
                <c:pt idx="717">
                  <c:v>1399-06-16</c:v>
                </c:pt>
                <c:pt idx="718">
                  <c:v>1399-06-17</c:v>
                </c:pt>
                <c:pt idx="719">
                  <c:v>1399-06-18</c:v>
                </c:pt>
                <c:pt idx="720">
                  <c:v>1399-06-19</c:v>
                </c:pt>
                <c:pt idx="721">
                  <c:v>1399-06-20</c:v>
                </c:pt>
                <c:pt idx="722">
                  <c:v>1399-06-22</c:v>
                </c:pt>
                <c:pt idx="723">
                  <c:v>1399-06-23</c:v>
                </c:pt>
                <c:pt idx="724">
                  <c:v>1399-06-24</c:v>
                </c:pt>
                <c:pt idx="725">
                  <c:v>1399-06-25</c:v>
                </c:pt>
                <c:pt idx="726">
                  <c:v>1399-06-26</c:v>
                </c:pt>
                <c:pt idx="727">
                  <c:v>1399-06-27</c:v>
                </c:pt>
                <c:pt idx="728">
                  <c:v>1399-06-29</c:v>
                </c:pt>
                <c:pt idx="729">
                  <c:v>1399-06-30</c:v>
                </c:pt>
                <c:pt idx="730">
                  <c:v>1399-06-31</c:v>
                </c:pt>
                <c:pt idx="731">
                  <c:v>1399-07-01</c:v>
                </c:pt>
                <c:pt idx="732">
                  <c:v>1399-07-02</c:v>
                </c:pt>
                <c:pt idx="733">
                  <c:v>1399-07-03</c:v>
                </c:pt>
                <c:pt idx="734">
                  <c:v>1399-07-05</c:v>
                </c:pt>
                <c:pt idx="735">
                  <c:v>1399-07-06</c:v>
                </c:pt>
                <c:pt idx="736">
                  <c:v>1399-07-07</c:v>
                </c:pt>
                <c:pt idx="737">
                  <c:v>1399-07-08</c:v>
                </c:pt>
                <c:pt idx="738">
                  <c:v>1399-07-09</c:v>
                </c:pt>
                <c:pt idx="739">
                  <c:v>1399-07-10</c:v>
                </c:pt>
                <c:pt idx="740">
                  <c:v>1399-07-12</c:v>
                </c:pt>
                <c:pt idx="741">
                  <c:v>1399-07-13</c:v>
                </c:pt>
                <c:pt idx="742">
                  <c:v>1399-07-14</c:v>
                </c:pt>
                <c:pt idx="743">
                  <c:v>1399-07-15</c:v>
                </c:pt>
                <c:pt idx="744">
                  <c:v>1399-07-16</c:v>
                </c:pt>
                <c:pt idx="745">
                  <c:v>1399-07-19</c:v>
                </c:pt>
                <c:pt idx="746">
                  <c:v>1399-07-20</c:v>
                </c:pt>
                <c:pt idx="747">
                  <c:v>1399-07-21</c:v>
                </c:pt>
                <c:pt idx="748">
                  <c:v>1399-07-22</c:v>
                </c:pt>
                <c:pt idx="749">
                  <c:v>1399-07-23</c:v>
                </c:pt>
                <c:pt idx="750">
                  <c:v>1399-07-24</c:v>
                </c:pt>
                <c:pt idx="751">
                  <c:v>1399-07-27</c:v>
                </c:pt>
                <c:pt idx="752">
                  <c:v>1399-07-28</c:v>
                </c:pt>
                <c:pt idx="753">
                  <c:v>1399-07-29</c:v>
                </c:pt>
                <c:pt idx="754">
                  <c:v>1399-07-30</c:v>
                </c:pt>
                <c:pt idx="755">
                  <c:v>1399-08-01</c:v>
                </c:pt>
                <c:pt idx="756">
                  <c:v>1399-08-03</c:v>
                </c:pt>
                <c:pt idx="757">
                  <c:v>1399-08-05</c:v>
                </c:pt>
                <c:pt idx="758">
                  <c:v>1399-08-06</c:v>
                </c:pt>
                <c:pt idx="759">
                  <c:v>1399-08-07</c:v>
                </c:pt>
                <c:pt idx="760">
                  <c:v>1399-08-08</c:v>
                </c:pt>
                <c:pt idx="761">
                  <c:v>1399-08-10</c:v>
                </c:pt>
                <c:pt idx="762">
                  <c:v>1399-08-11</c:v>
                </c:pt>
                <c:pt idx="763">
                  <c:v>1399-08-12</c:v>
                </c:pt>
                <c:pt idx="764">
                  <c:v>1399-08-14</c:v>
                </c:pt>
                <c:pt idx="765">
                  <c:v>1399-08-15</c:v>
                </c:pt>
                <c:pt idx="766">
                  <c:v>1399-08-17</c:v>
                </c:pt>
                <c:pt idx="767">
                  <c:v>1399-08-18</c:v>
                </c:pt>
                <c:pt idx="768">
                  <c:v>1399-08-19</c:v>
                </c:pt>
                <c:pt idx="769">
                  <c:v>1399-08-20</c:v>
                </c:pt>
                <c:pt idx="770">
                  <c:v>1399-08-21</c:v>
                </c:pt>
                <c:pt idx="771">
                  <c:v>1399-08-22</c:v>
                </c:pt>
                <c:pt idx="772">
                  <c:v>1399-08-24</c:v>
                </c:pt>
                <c:pt idx="773">
                  <c:v>1399-08-25</c:v>
                </c:pt>
                <c:pt idx="774">
                  <c:v>1399-08-26</c:v>
                </c:pt>
                <c:pt idx="775">
                  <c:v>1399-08-27</c:v>
                </c:pt>
                <c:pt idx="776">
                  <c:v>1399-08-28</c:v>
                </c:pt>
                <c:pt idx="777">
                  <c:v>1399-08-29</c:v>
                </c:pt>
                <c:pt idx="778">
                  <c:v>1399-09-01</c:v>
                </c:pt>
                <c:pt idx="779">
                  <c:v>1399-09-02</c:v>
                </c:pt>
                <c:pt idx="780">
                  <c:v>1399-09-03</c:v>
                </c:pt>
                <c:pt idx="781">
                  <c:v>1399-09-04</c:v>
                </c:pt>
                <c:pt idx="782">
                  <c:v>1399-09-05</c:v>
                </c:pt>
                <c:pt idx="783">
                  <c:v>1399-09-08</c:v>
                </c:pt>
                <c:pt idx="784">
                  <c:v>1399-09-09</c:v>
                </c:pt>
                <c:pt idx="785">
                  <c:v>1399-09-10</c:v>
                </c:pt>
                <c:pt idx="786">
                  <c:v>1399-09-11</c:v>
                </c:pt>
                <c:pt idx="787">
                  <c:v>1399-09-12</c:v>
                </c:pt>
                <c:pt idx="788">
                  <c:v>1399-09-13</c:v>
                </c:pt>
                <c:pt idx="789">
                  <c:v>1399-09-15</c:v>
                </c:pt>
                <c:pt idx="790">
                  <c:v>1399-09-16</c:v>
                </c:pt>
                <c:pt idx="791">
                  <c:v>1399-09-17</c:v>
                </c:pt>
                <c:pt idx="792">
                  <c:v>1399-09-18</c:v>
                </c:pt>
                <c:pt idx="793">
                  <c:v>1399-09-19</c:v>
                </c:pt>
                <c:pt idx="794">
                  <c:v>1399-09-20</c:v>
                </c:pt>
                <c:pt idx="795">
                  <c:v>1399-09-21</c:v>
                </c:pt>
                <c:pt idx="796">
                  <c:v>1399-09-22</c:v>
                </c:pt>
                <c:pt idx="797">
                  <c:v>1399-09-23</c:v>
                </c:pt>
                <c:pt idx="798">
                  <c:v>1399-09-24</c:v>
                </c:pt>
                <c:pt idx="799">
                  <c:v>1399-09-25</c:v>
                </c:pt>
                <c:pt idx="800">
                  <c:v>1399-09-26</c:v>
                </c:pt>
                <c:pt idx="801">
                  <c:v>1399-09-27</c:v>
                </c:pt>
                <c:pt idx="802">
                  <c:v>1399-09-29</c:v>
                </c:pt>
                <c:pt idx="803">
                  <c:v>1399-09-30</c:v>
                </c:pt>
                <c:pt idx="804">
                  <c:v>1399-10-01</c:v>
                </c:pt>
                <c:pt idx="805">
                  <c:v>1399-10-02</c:v>
                </c:pt>
                <c:pt idx="806">
                  <c:v>1399-10-03</c:v>
                </c:pt>
                <c:pt idx="807">
                  <c:v>1399-10-04</c:v>
                </c:pt>
                <c:pt idx="808">
                  <c:v>1399-10-06</c:v>
                </c:pt>
                <c:pt idx="809">
                  <c:v>1399-10-07</c:v>
                </c:pt>
                <c:pt idx="810">
                  <c:v>1399-10-08</c:v>
                </c:pt>
                <c:pt idx="811">
                  <c:v>1399-10-09</c:v>
                </c:pt>
                <c:pt idx="812">
                  <c:v>1399-10-10</c:v>
                </c:pt>
                <c:pt idx="813">
                  <c:v>1399-10-11</c:v>
                </c:pt>
                <c:pt idx="814">
                  <c:v>1399-10-13</c:v>
                </c:pt>
                <c:pt idx="815">
                  <c:v>1399-10-14</c:v>
                </c:pt>
                <c:pt idx="816">
                  <c:v>1399-10-15</c:v>
                </c:pt>
                <c:pt idx="817">
                  <c:v>1399-10-16</c:v>
                </c:pt>
                <c:pt idx="818">
                  <c:v>1399-10-17</c:v>
                </c:pt>
                <c:pt idx="819">
                  <c:v>1399-10-18</c:v>
                </c:pt>
                <c:pt idx="820">
                  <c:v>1399-10-20</c:v>
                </c:pt>
                <c:pt idx="821">
                  <c:v>1399-10-21</c:v>
                </c:pt>
                <c:pt idx="822">
                  <c:v>1399-10-22</c:v>
                </c:pt>
                <c:pt idx="823">
                  <c:v>1399-10-23</c:v>
                </c:pt>
                <c:pt idx="824">
                  <c:v>1399-10-24</c:v>
                </c:pt>
                <c:pt idx="825">
                  <c:v>1399-10-25</c:v>
                </c:pt>
                <c:pt idx="826">
                  <c:v>1399-10-27</c:v>
                </c:pt>
                <c:pt idx="827">
                  <c:v>1399-10-29</c:v>
                </c:pt>
                <c:pt idx="828">
                  <c:v>1399-10-30</c:v>
                </c:pt>
                <c:pt idx="829">
                  <c:v>1399-11-01</c:v>
                </c:pt>
                <c:pt idx="830">
                  <c:v>1399-11-02</c:v>
                </c:pt>
                <c:pt idx="831">
                  <c:v>1399-11-04</c:v>
                </c:pt>
                <c:pt idx="832">
                  <c:v>1399-11-05</c:v>
                </c:pt>
                <c:pt idx="833">
                  <c:v>1399-11-06</c:v>
                </c:pt>
                <c:pt idx="834">
                  <c:v>1399-11-07</c:v>
                </c:pt>
                <c:pt idx="835">
                  <c:v>1399-11-08</c:v>
                </c:pt>
                <c:pt idx="836">
                  <c:v>1399-11-09</c:v>
                </c:pt>
                <c:pt idx="837">
                  <c:v>1399-11-11</c:v>
                </c:pt>
                <c:pt idx="838">
                  <c:v>1399-11-12</c:v>
                </c:pt>
                <c:pt idx="839">
                  <c:v>1399-11-13</c:v>
                </c:pt>
                <c:pt idx="840">
                  <c:v>1399-11-14</c:v>
                </c:pt>
                <c:pt idx="841">
                  <c:v>1399-11-15</c:v>
                </c:pt>
                <c:pt idx="842">
                  <c:v>1399-11-16</c:v>
                </c:pt>
                <c:pt idx="843">
                  <c:v>1399-11-18</c:v>
                </c:pt>
                <c:pt idx="844">
                  <c:v>1399-11-19</c:v>
                </c:pt>
                <c:pt idx="845">
                  <c:v>1399-11-20</c:v>
                </c:pt>
                <c:pt idx="846">
                  <c:v>1399-11-21</c:v>
                </c:pt>
                <c:pt idx="847">
                  <c:v>1399-11-23</c:v>
                </c:pt>
                <c:pt idx="848">
                  <c:v>1399-11-25</c:v>
                </c:pt>
                <c:pt idx="849">
                  <c:v>1399-11-26</c:v>
                </c:pt>
                <c:pt idx="850">
                  <c:v>1399-11-27</c:v>
                </c:pt>
                <c:pt idx="851">
                  <c:v>1399-11-28</c:v>
                </c:pt>
                <c:pt idx="852">
                  <c:v>1399-11-29</c:v>
                </c:pt>
                <c:pt idx="853">
                  <c:v>1399-11-30</c:v>
                </c:pt>
                <c:pt idx="854">
                  <c:v>1399-12-02</c:v>
                </c:pt>
                <c:pt idx="855">
                  <c:v>1399-12-03</c:v>
                </c:pt>
                <c:pt idx="856">
                  <c:v>1399-12-04</c:v>
                </c:pt>
                <c:pt idx="857">
                  <c:v>1399-12-05</c:v>
                </c:pt>
                <c:pt idx="858">
                  <c:v>1399-12-06</c:v>
                </c:pt>
                <c:pt idx="859">
                  <c:v>1399-12-07</c:v>
                </c:pt>
                <c:pt idx="860">
                  <c:v>1399-12-09</c:v>
                </c:pt>
                <c:pt idx="861">
                  <c:v>1399-12-10</c:v>
                </c:pt>
                <c:pt idx="862">
                  <c:v>1399-12-11</c:v>
                </c:pt>
                <c:pt idx="863">
                  <c:v>1399-12-12</c:v>
                </c:pt>
                <c:pt idx="864">
                  <c:v>1399-12-13</c:v>
                </c:pt>
                <c:pt idx="865">
                  <c:v>1399-12-14</c:v>
                </c:pt>
                <c:pt idx="866">
                  <c:v>1399-12-16</c:v>
                </c:pt>
                <c:pt idx="867">
                  <c:v>1399-12-17</c:v>
                </c:pt>
                <c:pt idx="868">
                  <c:v>1399-12-18</c:v>
                </c:pt>
                <c:pt idx="869">
                  <c:v>1399-12-19</c:v>
                </c:pt>
                <c:pt idx="870">
                  <c:v>1399-12-20</c:v>
                </c:pt>
                <c:pt idx="871">
                  <c:v>1399-12-21</c:v>
                </c:pt>
                <c:pt idx="872">
                  <c:v>1399-12-23</c:v>
                </c:pt>
                <c:pt idx="873">
                  <c:v>1399-12-24</c:v>
                </c:pt>
                <c:pt idx="874">
                  <c:v>1399-12-25</c:v>
                </c:pt>
                <c:pt idx="875">
                  <c:v>1399-12-26</c:v>
                </c:pt>
                <c:pt idx="876">
                  <c:v>1399-12-27</c:v>
                </c:pt>
                <c:pt idx="877">
                  <c:v>1399-12-28</c:v>
                </c:pt>
                <c:pt idx="878">
                  <c:v>1400-01-07</c:v>
                </c:pt>
                <c:pt idx="879">
                  <c:v>1400-01-08</c:v>
                </c:pt>
                <c:pt idx="880">
                  <c:v>1400-01-10</c:v>
                </c:pt>
                <c:pt idx="881">
                  <c:v>1400-01-11</c:v>
                </c:pt>
                <c:pt idx="882">
                  <c:v>1400-01-12</c:v>
                </c:pt>
                <c:pt idx="883">
                  <c:v>1400-01-14</c:v>
                </c:pt>
                <c:pt idx="884">
                  <c:v>1400-01-15</c:v>
                </c:pt>
                <c:pt idx="885">
                  <c:v>1400-01-16</c:v>
                </c:pt>
                <c:pt idx="886">
                  <c:v>1400-01-17</c:v>
                </c:pt>
                <c:pt idx="887">
                  <c:v>1400-01-18</c:v>
                </c:pt>
                <c:pt idx="888">
                  <c:v>1400-01-19</c:v>
                </c:pt>
                <c:pt idx="889">
                  <c:v>1400-01-21</c:v>
                </c:pt>
                <c:pt idx="890">
                  <c:v>1400-01-22</c:v>
                </c:pt>
                <c:pt idx="891">
                  <c:v>1400-01-23</c:v>
                </c:pt>
                <c:pt idx="892">
                  <c:v>1400-01-24</c:v>
                </c:pt>
                <c:pt idx="893">
                  <c:v>1400-01-25</c:v>
                </c:pt>
                <c:pt idx="894">
                  <c:v>1400-01-26</c:v>
                </c:pt>
                <c:pt idx="895">
                  <c:v>1400-01-28</c:v>
                </c:pt>
                <c:pt idx="896">
                  <c:v>1400-01-29</c:v>
                </c:pt>
                <c:pt idx="897">
                  <c:v>1400-01-30</c:v>
                </c:pt>
                <c:pt idx="898">
                  <c:v>1400-01-31</c:v>
                </c:pt>
                <c:pt idx="899">
                  <c:v>1400-02-01</c:v>
                </c:pt>
                <c:pt idx="900">
                  <c:v>1400-02-02</c:v>
                </c:pt>
                <c:pt idx="901">
                  <c:v>1400-02-04</c:v>
                </c:pt>
                <c:pt idx="902">
                  <c:v>1400-02-05</c:v>
                </c:pt>
                <c:pt idx="903">
                  <c:v>1400-02-06</c:v>
                </c:pt>
                <c:pt idx="904">
                  <c:v>1400-02-07</c:v>
                </c:pt>
                <c:pt idx="905">
                  <c:v>1400-02-08</c:v>
                </c:pt>
                <c:pt idx="906">
                  <c:v>1400-02-09</c:v>
                </c:pt>
                <c:pt idx="907">
                  <c:v>1400-02-11</c:v>
                </c:pt>
                <c:pt idx="908">
                  <c:v>1400-02-12</c:v>
                </c:pt>
                <c:pt idx="909">
                  <c:v>1400-02-13</c:v>
                </c:pt>
                <c:pt idx="910">
                  <c:v>1400-02-15</c:v>
                </c:pt>
                <c:pt idx="911">
                  <c:v>1400-02-16</c:v>
                </c:pt>
                <c:pt idx="912">
                  <c:v>1400-02-18</c:v>
                </c:pt>
                <c:pt idx="913">
                  <c:v>1400-02-19</c:v>
                </c:pt>
                <c:pt idx="914">
                  <c:v>1400-02-20</c:v>
                </c:pt>
                <c:pt idx="915">
                  <c:v>1400-02-21</c:v>
                </c:pt>
                <c:pt idx="916">
                  <c:v>1400-02-22</c:v>
                </c:pt>
                <c:pt idx="917">
                  <c:v>1400-02-23</c:v>
                </c:pt>
                <c:pt idx="918">
                  <c:v>1400-02-25</c:v>
                </c:pt>
                <c:pt idx="919">
                  <c:v>1400-02-26</c:v>
                </c:pt>
                <c:pt idx="920">
                  <c:v>1400-02-27</c:v>
                </c:pt>
                <c:pt idx="921">
                  <c:v>1400-02-28</c:v>
                </c:pt>
                <c:pt idx="922">
                  <c:v>1400-02-29</c:v>
                </c:pt>
                <c:pt idx="923">
                  <c:v>1400-02-30</c:v>
                </c:pt>
                <c:pt idx="924">
                  <c:v>1400-03-01</c:v>
                </c:pt>
                <c:pt idx="925">
                  <c:v>1400-03-02</c:v>
                </c:pt>
                <c:pt idx="926">
                  <c:v>1400-03-03</c:v>
                </c:pt>
                <c:pt idx="927">
                  <c:v>1400-03-04</c:v>
                </c:pt>
                <c:pt idx="928">
                  <c:v>1400-03-05</c:v>
                </c:pt>
                <c:pt idx="929">
                  <c:v>1400-03-06</c:v>
                </c:pt>
                <c:pt idx="930">
                  <c:v>1400-03-08</c:v>
                </c:pt>
                <c:pt idx="931">
                  <c:v>1400-03-09</c:v>
                </c:pt>
                <c:pt idx="932">
                  <c:v>1400-03-10</c:v>
                </c:pt>
                <c:pt idx="933">
                  <c:v>1400-03-11</c:v>
                </c:pt>
                <c:pt idx="934">
                  <c:v>1400-03-12</c:v>
                </c:pt>
                <c:pt idx="935">
                  <c:v>1400-03-13</c:v>
                </c:pt>
                <c:pt idx="936">
                  <c:v>1400-03-17</c:v>
                </c:pt>
                <c:pt idx="937">
                  <c:v>1400-03-18</c:v>
                </c:pt>
                <c:pt idx="938">
                  <c:v>1400-03-19</c:v>
                </c:pt>
                <c:pt idx="939">
                  <c:v>1400-03-20</c:v>
                </c:pt>
                <c:pt idx="940">
                  <c:v>1400-03-22</c:v>
                </c:pt>
                <c:pt idx="941">
                  <c:v>1400-03-23</c:v>
                </c:pt>
                <c:pt idx="942">
                  <c:v>1400-03-24</c:v>
                </c:pt>
                <c:pt idx="943">
                  <c:v>1400-03-25</c:v>
                </c:pt>
                <c:pt idx="944">
                  <c:v>1400-03-26</c:v>
                </c:pt>
                <c:pt idx="945">
                  <c:v>1400-03-27</c:v>
                </c:pt>
                <c:pt idx="946">
                  <c:v>1400-03-29</c:v>
                </c:pt>
                <c:pt idx="947">
                  <c:v>1400-03-30</c:v>
                </c:pt>
                <c:pt idx="948">
                  <c:v>1400-03-31</c:v>
                </c:pt>
                <c:pt idx="949">
                  <c:v>1400-04-01</c:v>
                </c:pt>
                <c:pt idx="950">
                  <c:v>1400-04-02</c:v>
                </c:pt>
                <c:pt idx="951">
                  <c:v>1400-04-03</c:v>
                </c:pt>
                <c:pt idx="952">
                  <c:v>1400-04-05</c:v>
                </c:pt>
                <c:pt idx="953">
                  <c:v>1400-04-06</c:v>
                </c:pt>
                <c:pt idx="954">
                  <c:v>1400-04-07</c:v>
                </c:pt>
                <c:pt idx="955">
                  <c:v>1400-04-08</c:v>
                </c:pt>
                <c:pt idx="956">
                  <c:v>1400-04-09</c:v>
                </c:pt>
                <c:pt idx="957">
                  <c:v>1400-04-10</c:v>
                </c:pt>
                <c:pt idx="958">
                  <c:v>1400-04-12</c:v>
                </c:pt>
                <c:pt idx="959">
                  <c:v>1400-04-13</c:v>
                </c:pt>
                <c:pt idx="960">
                  <c:v>1400-04-14</c:v>
                </c:pt>
                <c:pt idx="961">
                  <c:v>1400-04-15</c:v>
                </c:pt>
                <c:pt idx="962">
                  <c:v>1400-04-16</c:v>
                </c:pt>
                <c:pt idx="963">
                  <c:v>1400-04-17</c:v>
                </c:pt>
                <c:pt idx="964">
                  <c:v>1400-04-19</c:v>
                </c:pt>
                <c:pt idx="965">
                  <c:v>1400-04-20</c:v>
                </c:pt>
                <c:pt idx="966">
                  <c:v>1400-04-21</c:v>
                </c:pt>
                <c:pt idx="967">
                  <c:v>1400-04-22</c:v>
                </c:pt>
                <c:pt idx="968">
                  <c:v>1400-04-23</c:v>
                </c:pt>
                <c:pt idx="969">
                  <c:v>1400-04-24</c:v>
                </c:pt>
                <c:pt idx="970">
                  <c:v>1400-04-26</c:v>
                </c:pt>
                <c:pt idx="971">
                  <c:v>1400-04-27</c:v>
                </c:pt>
                <c:pt idx="972">
                  <c:v>1400-04-28</c:v>
                </c:pt>
                <c:pt idx="973">
                  <c:v>1400-04-31</c:v>
                </c:pt>
                <c:pt idx="974">
                  <c:v>1400-05-04</c:v>
                </c:pt>
                <c:pt idx="975">
                  <c:v>1400-05-05</c:v>
                </c:pt>
                <c:pt idx="976">
                  <c:v>1400-05-06</c:v>
                </c:pt>
                <c:pt idx="977">
                  <c:v>1400-05-07</c:v>
                </c:pt>
                <c:pt idx="978">
                  <c:v>1400-05-09</c:v>
                </c:pt>
                <c:pt idx="979">
                  <c:v>1400-05-10</c:v>
                </c:pt>
                <c:pt idx="980">
                  <c:v>1400-05-11</c:v>
                </c:pt>
                <c:pt idx="981">
                  <c:v>1400-05-12</c:v>
                </c:pt>
                <c:pt idx="982">
                  <c:v>1400-05-13</c:v>
                </c:pt>
                <c:pt idx="983">
                  <c:v>1400-05-14</c:v>
                </c:pt>
                <c:pt idx="984">
                  <c:v>1400-05-16</c:v>
                </c:pt>
                <c:pt idx="985">
                  <c:v>1400-05-17</c:v>
                </c:pt>
                <c:pt idx="986">
                  <c:v>1400-05-18</c:v>
                </c:pt>
                <c:pt idx="987">
                  <c:v>1400-05-19</c:v>
                </c:pt>
                <c:pt idx="988">
                  <c:v>1400-05-20</c:v>
                </c:pt>
                <c:pt idx="989">
                  <c:v>1400-05-21</c:v>
                </c:pt>
                <c:pt idx="990">
                  <c:v>1400-05-23</c:v>
                </c:pt>
                <c:pt idx="991">
                  <c:v>1400-05-24</c:v>
                </c:pt>
                <c:pt idx="992">
                  <c:v>1400-05-28</c:v>
                </c:pt>
                <c:pt idx="993">
                  <c:v>1400-05-31</c:v>
                </c:pt>
                <c:pt idx="994">
                  <c:v>1400-06-01</c:v>
                </c:pt>
                <c:pt idx="995">
                  <c:v>1400-06-02</c:v>
                </c:pt>
                <c:pt idx="996">
                  <c:v>1400-06-03</c:v>
                </c:pt>
                <c:pt idx="997">
                  <c:v>1400-06-04</c:v>
                </c:pt>
                <c:pt idx="998">
                  <c:v>1400-06-06</c:v>
                </c:pt>
                <c:pt idx="999">
                  <c:v>1400-06-07</c:v>
                </c:pt>
                <c:pt idx="1000">
                  <c:v>1400-06-08</c:v>
                </c:pt>
                <c:pt idx="1001">
                  <c:v>1400-06-09</c:v>
                </c:pt>
                <c:pt idx="1002">
                  <c:v>1400-06-10</c:v>
                </c:pt>
                <c:pt idx="1003">
                  <c:v>1400-06-11</c:v>
                </c:pt>
                <c:pt idx="1004">
                  <c:v>1400-06-13</c:v>
                </c:pt>
                <c:pt idx="1005">
                  <c:v>1400-06-14</c:v>
                </c:pt>
                <c:pt idx="1006">
                  <c:v>1400-06-15</c:v>
                </c:pt>
                <c:pt idx="1007">
                  <c:v>1400-06-16</c:v>
                </c:pt>
                <c:pt idx="1008">
                  <c:v>1400-06-17</c:v>
                </c:pt>
                <c:pt idx="1009">
                  <c:v>1400-06-18</c:v>
                </c:pt>
                <c:pt idx="1010">
                  <c:v>1400-06-20</c:v>
                </c:pt>
                <c:pt idx="1011">
                  <c:v>1400-06-21</c:v>
                </c:pt>
                <c:pt idx="1012">
                  <c:v>1400-06-22</c:v>
                </c:pt>
                <c:pt idx="1013">
                  <c:v>1400-06-23</c:v>
                </c:pt>
                <c:pt idx="1014">
                  <c:v>1400-06-24</c:v>
                </c:pt>
                <c:pt idx="1015">
                  <c:v>1400-06-25</c:v>
                </c:pt>
                <c:pt idx="1016">
                  <c:v>1400-06-27</c:v>
                </c:pt>
                <c:pt idx="1017">
                  <c:v>1400-06-28</c:v>
                </c:pt>
                <c:pt idx="1018">
                  <c:v>1400-06-29</c:v>
                </c:pt>
                <c:pt idx="1019">
                  <c:v>1400-06-30</c:v>
                </c:pt>
                <c:pt idx="1020">
                  <c:v>1400-06-31</c:v>
                </c:pt>
                <c:pt idx="1021">
                  <c:v>1400-07-01</c:v>
                </c:pt>
                <c:pt idx="1022">
                  <c:v>1400-07-03</c:v>
                </c:pt>
                <c:pt idx="1023">
                  <c:v>1400-07-04</c:v>
                </c:pt>
                <c:pt idx="1024">
                  <c:v>1400-07-06</c:v>
                </c:pt>
                <c:pt idx="1025">
                  <c:v>1400-07-07</c:v>
                </c:pt>
                <c:pt idx="1026">
                  <c:v>1400-07-08</c:v>
                </c:pt>
                <c:pt idx="1027">
                  <c:v>1400-07-10</c:v>
                </c:pt>
                <c:pt idx="1028">
                  <c:v>1400-07-11</c:v>
                </c:pt>
                <c:pt idx="1029">
                  <c:v>1400-07-12</c:v>
                </c:pt>
                <c:pt idx="1030">
                  <c:v>1400-07-14</c:v>
                </c:pt>
                <c:pt idx="1031">
                  <c:v>1400-07-15</c:v>
                </c:pt>
                <c:pt idx="1032">
                  <c:v>1400-07-17</c:v>
                </c:pt>
                <c:pt idx="1033">
                  <c:v>1400-07-18</c:v>
                </c:pt>
                <c:pt idx="1034">
                  <c:v>1400-07-19</c:v>
                </c:pt>
                <c:pt idx="1035">
                  <c:v>1400-07-20</c:v>
                </c:pt>
                <c:pt idx="1036">
                  <c:v>1400-07-21</c:v>
                </c:pt>
                <c:pt idx="1037">
                  <c:v>1400-07-22</c:v>
                </c:pt>
                <c:pt idx="1038">
                  <c:v>1400-07-24</c:v>
                </c:pt>
                <c:pt idx="1039">
                  <c:v>1400-07-25</c:v>
                </c:pt>
                <c:pt idx="1040">
                  <c:v>1400-07-26</c:v>
                </c:pt>
                <c:pt idx="1041">
                  <c:v>1400-07-27</c:v>
                </c:pt>
                <c:pt idx="1042">
                  <c:v>1400-07-28</c:v>
                </c:pt>
                <c:pt idx="1043">
                  <c:v>1400-07-29</c:v>
                </c:pt>
                <c:pt idx="1044">
                  <c:v>1400-08-01</c:v>
                </c:pt>
                <c:pt idx="1045">
                  <c:v>1400-08-03</c:v>
                </c:pt>
                <c:pt idx="1046">
                  <c:v>1400-08-04</c:v>
                </c:pt>
                <c:pt idx="1047">
                  <c:v>1400-08-05</c:v>
                </c:pt>
                <c:pt idx="1048">
                  <c:v>1400-08-06</c:v>
                </c:pt>
                <c:pt idx="1049">
                  <c:v>1400-08-08</c:v>
                </c:pt>
                <c:pt idx="1050">
                  <c:v>1400-08-09</c:v>
                </c:pt>
                <c:pt idx="1051">
                  <c:v>1400-08-10</c:v>
                </c:pt>
                <c:pt idx="1052">
                  <c:v>1400-08-11</c:v>
                </c:pt>
                <c:pt idx="1053">
                  <c:v>1400-08-12</c:v>
                </c:pt>
                <c:pt idx="1054">
                  <c:v>1400-08-13</c:v>
                </c:pt>
                <c:pt idx="1055">
                  <c:v>1400-08-15</c:v>
                </c:pt>
                <c:pt idx="1056">
                  <c:v>1400-08-16</c:v>
                </c:pt>
                <c:pt idx="1057">
                  <c:v>1400-08-17</c:v>
                </c:pt>
                <c:pt idx="1058">
                  <c:v>1400-08-18</c:v>
                </c:pt>
                <c:pt idx="1059">
                  <c:v>1400-08-19</c:v>
                </c:pt>
                <c:pt idx="1060">
                  <c:v>1400-08-20</c:v>
                </c:pt>
                <c:pt idx="1061">
                  <c:v>1400-08-22</c:v>
                </c:pt>
                <c:pt idx="1062">
                  <c:v>1400-08-23</c:v>
                </c:pt>
                <c:pt idx="1063">
                  <c:v>1400-08-24</c:v>
                </c:pt>
                <c:pt idx="1064">
                  <c:v>1400-08-25</c:v>
                </c:pt>
                <c:pt idx="1065">
                  <c:v>1400-08-26</c:v>
                </c:pt>
                <c:pt idx="1066">
                  <c:v>1400-08-27</c:v>
                </c:pt>
                <c:pt idx="1067">
                  <c:v>1400-08-29</c:v>
                </c:pt>
                <c:pt idx="1068">
                  <c:v>1400-08-30</c:v>
                </c:pt>
                <c:pt idx="1069">
                  <c:v>1400-09-01</c:v>
                </c:pt>
                <c:pt idx="1070">
                  <c:v>1400-09-02</c:v>
                </c:pt>
                <c:pt idx="1071">
                  <c:v>1400-09-03</c:v>
                </c:pt>
                <c:pt idx="1072">
                  <c:v>1400-09-04</c:v>
                </c:pt>
                <c:pt idx="1073">
                  <c:v>1400-09-06</c:v>
                </c:pt>
                <c:pt idx="1074">
                  <c:v>1400-09-07</c:v>
                </c:pt>
                <c:pt idx="1075">
                  <c:v>1400-09-08</c:v>
                </c:pt>
                <c:pt idx="1076">
                  <c:v>1400-09-09</c:v>
                </c:pt>
                <c:pt idx="1077">
                  <c:v>1400-09-10</c:v>
                </c:pt>
                <c:pt idx="1078">
                  <c:v>1400-09-11</c:v>
                </c:pt>
                <c:pt idx="1079">
                  <c:v>1400-09-13</c:v>
                </c:pt>
                <c:pt idx="1080">
                  <c:v>1400-09-14</c:v>
                </c:pt>
                <c:pt idx="1081">
                  <c:v>1400-09-15</c:v>
                </c:pt>
                <c:pt idx="1082">
                  <c:v>1400-09-16</c:v>
                </c:pt>
                <c:pt idx="1083">
                  <c:v>1400-09-17</c:v>
                </c:pt>
                <c:pt idx="1084">
                  <c:v>1400-09-18</c:v>
                </c:pt>
                <c:pt idx="1085">
                  <c:v>1400-09-20</c:v>
                </c:pt>
                <c:pt idx="1086">
                  <c:v>1400-09-21</c:v>
                </c:pt>
                <c:pt idx="1087">
                  <c:v>1400-09-22</c:v>
                </c:pt>
                <c:pt idx="1088">
                  <c:v>1400-09-23</c:v>
                </c:pt>
                <c:pt idx="1089">
                  <c:v>1400-09-24</c:v>
                </c:pt>
                <c:pt idx="1090">
                  <c:v>1400-09-25</c:v>
                </c:pt>
                <c:pt idx="1091">
                  <c:v>1400-09-27</c:v>
                </c:pt>
                <c:pt idx="1092">
                  <c:v>1400-09-28</c:v>
                </c:pt>
                <c:pt idx="1093">
                  <c:v>1400-09-29</c:v>
                </c:pt>
                <c:pt idx="1094">
                  <c:v>1400-09-30</c:v>
                </c:pt>
                <c:pt idx="1095">
                  <c:v>1400-10-01</c:v>
                </c:pt>
                <c:pt idx="1096">
                  <c:v>1400-10-02</c:v>
                </c:pt>
                <c:pt idx="1097">
                  <c:v>1400-10-04</c:v>
                </c:pt>
                <c:pt idx="1098">
                  <c:v>1400-10-05</c:v>
                </c:pt>
                <c:pt idx="1099">
                  <c:v>1400-10-06</c:v>
                </c:pt>
                <c:pt idx="1100">
                  <c:v>1400-10-07</c:v>
                </c:pt>
                <c:pt idx="1101">
                  <c:v>1400-10-08</c:v>
                </c:pt>
                <c:pt idx="1102">
                  <c:v>1400-10-09</c:v>
                </c:pt>
                <c:pt idx="1103">
                  <c:v>1400-10-11</c:v>
                </c:pt>
                <c:pt idx="1104">
                  <c:v>1400-10-12</c:v>
                </c:pt>
                <c:pt idx="1105">
                  <c:v>1400-10-13</c:v>
                </c:pt>
                <c:pt idx="1106">
                  <c:v>1400-10-14</c:v>
                </c:pt>
                <c:pt idx="1107">
                  <c:v>1400-10-15</c:v>
                </c:pt>
                <c:pt idx="1108">
                  <c:v>1400-10-16</c:v>
                </c:pt>
                <c:pt idx="1109">
                  <c:v>1400-10-18</c:v>
                </c:pt>
                <c:pt idx="1110">
                  <c:v>1400-10-19</c:v>
                </c:pt>
                <c:pt idx="1111">
                  <c:v>1400-10-20</c:v>
                </c:pt>
                <c:pt idx="1112">
                  <c:v>1400-10-21</c:v>
                </c:pt>
                <c:pt idx="1113">
                  <c:v>1400-10-22</c:v>
                </c:pt>
                <c:pt idx="1114">
                  <c:v>1400-10-23</c:v>
                </c:pt>
                <c:pt idx="1115">
                  <c:v>1400-10-25</c:v>
                </c:pt>
                <c:pt idx="1116">
                  <c:v>1400-10-26</c:v>
                </c:pt>
                <c:pt idx="1117">
                  <c:v>1400-10-27</c:v>
                </c:pt>
                <c:pt idx="1118">
                  <c:v>1400-10-28</c:v>
                </c:pt>
                <c:pt idx="1119">
                  <c:v>1400-10-29</c:v>
                </c:pt>
                <c:pt idx="1120">
                  <c:v>1400-10-30</c:v>
                </c:pt>
                <c:pt idx="1121">
                  <c:v>1400-11-02</c:v>
                </c:pt>
                <c:pt idx="1122">
                  <c:v>1400-11-03</c:v>
                </c:pt>
                <c:pt idx="1123">
                  <c:v>1400-11-04</c:v>
                </c:pt>
                <c:pt idx="1124">
                  <c:v>1400-11-05</c:v>
                </c:pt>
                <c:pt idx="1125">
                  <c:v>1400-11-06</c:v>
                </c:pt>
                <c:pt idx="1126">
                  <c:v>1400-11-07</c:v>
                </c:pt>
                <c:pt idx="1127">
                  <c:v>1400-11-09</c:v>
                </c:pt>
                <c:pt idx="1128">
                  <c:v>1400-11-10</c:v>
                </c:pt>
                <c:pt idx="1129">
                  <c:v>1400-11-11</c:v>
                </c:pt>
                <c:pt idx="1130">
                  <c:v>1400-11-12</c:v>
                </c:pt>
                <c:pt idx="1131">
                  <c:v>1400-11-13</c:v>
                </c:pt>
                <c:pt idx="1132">
                  <c:v>1400-11-14</c:v>
                </c:pt>
                <c:pt idx="1133">
                  <c:v>1400-11-16</c:v>
                </c:pt>
                <c:pt idx="1134">
                  <c:v>1400-11-17</c:v>
                </c:pt>
                <c:pt idx="1135">
                  <c:v>1400-11-18</c:v>
                </c:pt>
                <c:pt idx="1136">
                  <c:v>1400-11-19</c:v>
                </c:pt>
                <c:pt idx="1137">
                  <c:v>1400-11-20</c:v>
                </c:pt>
                <c:pt idx="1138">
                  <c:v>1400-11-21</c:v>
                </c:pt>
                <c:pt idx="1139">
                  <c:v>1400-11-23</c:v>
                </c:pt>
                <c:pt idx="1140">
                  <c:v>1400-11-24</c:v>
                </c:pt>
                <c:pt idx="1141">
                  <c:v>1400-11-25</c:v>
                </c:pt>
                <c:pt idx="1142">
                  <c:v>1400-11-27</c:v>
                </c:pt>
                <c:pt idx="1143">
                  <c:v>1400-11-28</c:v>
                </c:pt>
                <c:pt idx="1144">
                  <c:v>1400-11-30</c:v>
                </c:pt>
                <c:pt idx="1145">
                  <c:v>1400-12-01</c:v>
                </c:pt>
                <c:pt idx="1146">
                  <c:v>1400-12-02</c:v>
                </c:pt>
                <c:pt idx="1147">
                  <c:v>1400-12-03</c:v>
                </c:pt>
                <c:pt idx="1148">
                  <c:v>1400-12-04</c:v>
                </c:pt>
                <c:pt idx="1149">
                  <c:v>1400-12-05</c:v>
                </c:pt>
                <c:pt idx="1150">
                  <c:v>1400-12-07</c:v>
                </c:pt>
                <c:pt idx="1151">
                  <c:v>1400-12-08</c:v>
                </c:pt>
                <c:pt idx="1152">
                  <c:v>1400-12-09</c:v>
                </c:pt>
                <c:pt idx="1153">
                  <c:v>1400-12-11</c:v>
                </c:pt>
                <c:pt idx="1154">
                  <c:v>1400-12-12</c:v>
                </c:pt>
                <c:pt idx="1155">
                  <c:v>1400-12-14</c:v>
                </c:pt>
                <c:pt idx="1156">
                  <c:v>1400-12-15</c:v>
                </c:pt>
                <c:pt idx="1157">
                  <c:v>1400-12-16</c:v>
                </c:pt>
                <c:pt idx="1158">
                  <c:v>1400-12-17</c:v>
                </c:pt>
                <c:pt idx="1159">
                  <c:v>1400-12-18</c:v>
                </c:pt>
                <c:pt idx="1160">
                  <c:v>1400-12-19</c:v>
                </c:pt>
                <c:pt idx="1161">
                  <c:v>1400-12-21</c:v>
                </c:pt>
                <c:pt idx="1162">
                  <c:v>1400-12-22</c:v>
                </c:pt>
                <c:pt idx="1163">
                  <c:v>1400-12-23</c:v>
                </c:pt>
                <c:pt idx="1164">
                  <c:v>1400-12-24</c:v>
                </c:pt>
                <c:pt idx="1165">
                  <c:v>1400-12-25</c:v>
                </c:pt>
                <c:pt idx="1166">
                  <c:v>1400-12-26</c:v>
                </c:pt>
                <c:pt idx="1167">
                  <c:v>1400-12-28</c:v>
                </c:pt>
                <c:pt idx="1168">
                  <c:v>1401-01-06</c:v>
                </c:pt>
                <c:pt idx="1169">
                  <c:v>1401-01-07</c:v>
                </c:pt>
                <c:pt idx="1170">
                  <c:v>1401-01-08</c:v>
                </c:pt>
                <c:pt idx="1171">
                  <c:v>1401-01-09</c:v>
                </c:pt>
                <c:pt idx="1172">
                  <c:v>1401-01-10</c:v>
                </c:pt>
                <c:pt idx="1173">
                  <c:v>1401-01-11</c:v>
                </c:pt>
                <c:pt idx="1174">
                  <c:v>1401-01-14</c:v>
                </c:pt>
                <c:pt idx="1175">
                  <c:v>1401-01-15</c:v>
                </c:pt>
                <c:pt idx="1176">
                  <c:v>1401-01-16</c:v>
                </c:pt>
                <c:pt idx="1177">
                  <c:v>1401-01-17</c:v>
                </c:pt>
                <c:pt idx="1178">
                  <c:v>1401-01-18</c:v>
                </c:pt>
                <c:pt idx="1179">
                  <c:v>1401-01-20</c:v>
                </c:pt>
                <c:pt idx="1180">
                  <c:v>1401-01-21</c:v>
                </c:pt>
                <c:pt idx="1181">
                  <c:v>1401-01-22</c:v>
                </c:pt>
                <c:pt idx="1182">
                  <c:v>1401-01-23</c:v>
                </c:pt>
                <c:pt idx="1183">
                  <c:v>1401-01-24</c:v>
                </c:pt>
                <c:pt idx="1184">
                  <c:v>1401-01-25</c:v>
                </c:pt>
                <c:pt idx="1185">
                  <c:v>1401-01-27</c:v>
                </c:pt>
                <c:pt idx="1186">
                  <c:v>1401-01-28</c:v>
                </c:pt>
                <c:pt idx="1187">
                  <c:v>1401-01-29</c:v>
                </c:pt>
                <c:pt idx="1188">
                  <c:v>1401-01-30</c:v>
                </c:pt>
                <c:pt idx="1189">
                  <c:v>1401-01-31</c:v>
                </c:pt>
                <c:pt idx="1190">
                  <c:v>1401-02-01</c:v>
                </c:pt>
                <c:pt idx="1191">
                  <c:v>1401-02-04</c:v>
                </c:pt>
                <c:pt idx="1192">
                  <c:v>1401-02-05</c:v>
                </c:pt>
                <c:pt idx="1193">
                  <c:v>1401-02-06</c:v>
                </c:pt>
                <c:pt idx="1194">
                  <c:v>1401-02-07</c:v>
                </c:pt>
                <c:pt idx="1195">
                  <c:v>1401-02-08</c:v>
                </c:pt>
                <c:pt idx="1196">
                  <c:v>1401-02-10</c:v>
                </c:pt>
                <c:pt idx="1197">
                  <c:v>1401-02-11</c:v>
                </c:pt>
                <c:pt idx="1198">
                  <c:v>1401-02-12</c:v>
                </c:pt>
                <c:pt idx="1199">
                  <c:v>1401-02-15</c:v>
                </c:pt>
                <c:pt idx="1200">
                  <c:v>1401-02-17</c:v>
                </c:pt>
                <c:pt idx="1201">
                  <c:v>1401-02-18</c:v>
                </c:pt>
                <c:pt idx="1202">
                  <c:v>1401-02-19</c:v>
                </c:pt>
                <c:pt idx="1203">
                  <c:v>1401-02-20</c:v>
                </c:pt>
                <c:pt idx="1204">
                  <c:v>1401-02-21</c:v>
                </c:pt>
                <c:pt idx="1205">
                  <c:v>1401-02-22</c:v>
                </c:pt>
                <c:pt idx="1206">
                  <c:v>1401-02-24</c:v>
                </c:pt>
                <c:pt idx="1207">
                  <c:v>1401-02-25</c:v>
                </c:pt>
                <c:pt idx="1208">
                  <c:v>1401-02-26</c:v>
                </c:pt>
                <c:pt idx="1209">
                  <c:v>1401-02-27</c:v>
                </c:pt>
                <c:pt idx="1210">
                  <c:v>1401-02-28</c:v>
                </c:pt>
                <c:pt idx="1211">
                  <c:v>1401-02-29</c:v>
                </c:pt>
                <c:pt idx="1212">
                  <c:v>1401-02-31</c:v>
                </c:pt>
                <c:pt idx="1213">
                  <c:v>1401-03-01</c:v>
                </c:pt>
                <c:pt idx="1214">
                  <c:v>1401-03-02</c:v>
                </c:pt>
                <c:pt idx="1215">
                  <c:v>1401-03-03</c:v>
                </c:pt>
                <c:pt idx="1216">
                  <c:v>1401-03-04</c:v>
                </c:pt>
                <c:pt idx="1217">
                  <c:v>1401-03-05</c:v>
                </c:pt>
                <c:pt idx="1218">
                  <c:v>1401-03-07</c:v>
                </c:pt>
                <c:pt idx="1219">
                  <c:v>1401-03-08</c:v>
                </c:pt>
                <c:pt idx="1220">
                  <c:v>1401-03-09</c:v>
                </c:pt>
                <c:pt idx="1221">
                  <c:v>1401-03-10</c:v>
                </c:pt>
                <c:pt idx="1222">
                  <c:v>1401-03-11</c:v>
                </c:pt>
                <c:pt idx="1223">
                  <c:v>1401-03-12</c:v>
                </c:pt>
                <c:pt idx="1224">
                  <c:v>1401-03-16</c:v>
                </c:pt>
                <c:pt idx="1225">
                  <c:v>1401-03-17</c:v>
                </c:pt>
                <c:pt idx="1226">
                  <c:v>1401-03-18</c:v>
                </c:pt>
                <c:pt idx="1227">
                  <c:v>1401-03-19</c:v>
                </c:pt>
                <c:pt idx="1228">
                  <c:v>1401-03-21</c:v>
                </c:pt>
                <c:pt idx="1229">
                  <c:v>1401-03-22</c:v>
                </c:pt>
                <c:pt idx="1230">
                  <c:v>1401-03-23</c:v>
                </c:pt>
                <c:pt idx="1231">
                  <c:v>1401-03-24</c:v>
                </c:pt>
                <c:pt idx="1232">
                  <c:v>1401-03-25</c:v>
                </c:pt>
                <c:pt idx="1233">
                  <c:v>1401-03-26</c:v>
                </c:pt>
                <c:pt idx="1234">
                  <c:v>1401-03-28</c:v>
                </c:pt>
                <c:pt idx="1235">
                  <c:v>1401-03-29</c:v>
                </c:pt>
                <c:pt idx="1236">
                  <c:v>1401-03-30</c:v>
                </c:pt>
                <c:pt idx="1237">
                  <c:v>1401-04-01</c:v>
                </c:pt>
                <c:pt idx="1238">
                  <c:v>1401-04-02</c:v>
                </c:pt>
                <c:pt idx="1239">
                  <c:v>1401-04-04</c:v>
                </c:pt>
                <c:pt idx="1240">
                  <c:v>1401-04-05</c:v>
                </c:pt>
                <c:pt idx="1241">
                  <c:v>1401-04-06</c:v>
                </c:pt>
                <c:pt idx="1242">
                  <c:v>1401-04-07</c:v>
                </c:pt>
                <c:pt idx="1243">
                  <c:v>1401-04-08</c:v>
                </c:pt>
                <c:pt idx="1244">
                  <c:v>1401-04-09</c:v>
                </c:pt>
                <c:pt idx="1245">
                  <c:v>1401-04-11</c:v>
                </c:pt>
                <c:pt idx="1246">
                  <c:v>1401-04-12</c:v>
                </c:pt>
                <c:pt idx="1247">
                  <c:v>1401-04-13</c:v>
                </c:pt>
                <c:pt idx="1248">
                  <c:v>1401-04-14</c:v>
                </c:pt>
                <c:pt idx="1249">
                  <c:v>1401-04-15</c:v>
                </c:pt>
                <c:pt idx="1250">
                  <c:v>1401-04-16</c:v>
                </c:pt>
                <c:pt idx="1251">
                  <c:v>1401-04-25</c:v>
                </c:pt>
                <c:pt idx="1252">
                  <c:v>1401-04-26</c:v>
                </c:pt>
                <c:pt idx="1253">
                  <c:v>1401-04-28</c:v>
                </c:pt>
                <c:pt idx="1254">
                  <c:v>1401-04-29</c:v>
                </c:pt>
                <c:pt idx="1255">
                  <c:v>1401-04-30</c:v>
                </c:pt>
                <c:pt idx="1256">
                  <c:v>1401-05-01</c:v>
                </c:pt>
                <c:pt idx="1257">
                  <c:v>1401-05-02</c:v>
                </c:pt>
                <c:pt idx="1258">
                  <c:v>1401-05-03</c:v>
                </c:pt>
                <c:pt idx="1259">
                  <c:v>1401-05-04</c:v>
                </c:pt>
                <c:pt idx="1260">
                  <c:v>1401-05-05</c:v>
                </c:pt>
                <c:pt idx="1261">
                  <c:v>1401-05-06</c:v>
                </c:pt>
                <c:pt idx="1262">
                  <c:v>1401-05-08</c:v>
                </c:pt>
                <c:pt idx="1263">
                  <c:v>1401-05-09</c:v>
                </c:pt>
                <c:pt idx="1264">
                  <c:v>1401-05-10</c:v>
                </c:pt>
                <c:pt idx="1265">
                  <c:v>1401-05-11</c:v>
                </c:pt>
                <c:pt idx="1266">
                  <c:v>1401-05-12</c:v>
                </c:pt>
                <c:pt idx="1267">
                  <c:v>1401-05-13</c:v>
                </c:pt>
                <c:pt idx="1268">
                  <c:v>1401-05-15</c:v>
                </c:pt>
                <c:pt idx="1269">
                  <c:v>1401-05-19</c:v>
                </c:pt>
                <c:pt idx="1270">
                  <c:v>1401-05-20</c:v>
                </c:pt>
                <c:pt idx="1271">
                  <c:v>1401-05-22</c:v>
                </c:pt>
                <c:pt idx="1272">
                  <c:v>1401-05-23</c:v>
                </c:pt>
                <c:pt idx="1273">
                  <c:v>1401-05-24</c:v>
                </c:pt>
                <c:pt idx="1274">
                  <c:v>1401-05-25</c:v>
                </c:pt>
                <c:pt idx="1275">
                  <c:v>1401-05-26</c:v>
                </c:pt>
                <c:pt idx="1276">
                  <c:v>1401-05-27</c:v>
                </c:pt>
                <c:pt idx="1277">
                  <c:v>1401-05-29</c:v>
                </c:pt>
                <c:pt idx="1278">
                  <c:v>1401-05-30</c:v>
                </c:pt>
                <c:pt idx="1279">
                  <c:v>1401-05-31</c:v>
                </c:pt>
                <c:pt idx="1280">
                  <c:v>1401-06-01</c:v>
                </c:pt>
                <c:pt idx="1281">
                  <c:v>1401-06-02</c:v>
                </c:pt>
                <c:pt idx="1282">
                  <c:v>1401-06-03</c:v>
                </c:pt>
                <c:pt idx="1283">
                  <c:v>1401-06-05</c:v>
                </c:pt>
                <c:pt idx="1284">
                  <c:v>1401-06-06</c:v>
                </c:pt>
                <c:pt idx="1285">
                  <c:v>1401-06-07</c:v>
                </c:pt>
                <c:pt idx="1286">
                  <c:v>1401-06-08</c:v>
                </c:pt>
                <c:pt idx="1287">
                  <c:v>1401-06-09</c:v>
                </c:pt>
                <c:pt idx="1288">
                  <c:v>1401-06-10</c:v>
                </c:pt>
                <c:pt idx="1289">
                  <c:v>1401-06-12</c:v>
                </c:pt>
                <c:pt idx="1290">
                  <c:v>1401-06-13</c:v>
                </c:pt>
                <c:pt idx="1291">
                  <c:v>1401-06-14</c:v>
                </c:pt>
                <c:pt idx="1292">
                  <c:v>1401-06-15</c:v>
                </c:pt>
                <c:pt idx="1293">
                  <c:v>1401-06-16</c:v>
                </c:pt>
                <c:pt idx="1294">
                  <c:v>1401-06-17</c:v>
                </c:pt>
                <c:pt idx="1295">
                  <c:v>1401-06-19</c:v>
                </c:pt>
                <c:pt idx="1296">
                  <c:v>1401-06-20</c:v>
                </c:pt>
                <c:pt idx="1297">
                  <c:v>1401-06-21</c:v>
                </c:pt>
                <c:pt idx="1298">
                  <c:v>1401-06-22</c:v>
                </c:pt>
                <c:pt idx="1299">
                  <c:v>1401-06-23</c:v>
                </c:pt>
                <c:pt idx="1300">
                  <c:v>1401-06-24</c:v>
                </c:pt>
                <c:pt idx="1301">
                  <c:v>1401-06-27</c:v>
                </c:pt>
                <c:pt idx="1302">
                  <c:v>1401-06-28</c:v>
                </c:pt>
                <c:pt idx="1303">
                  <c:v>1401-06-29</c:v>
                </c:pt>
                <c:pt idx="1304">
                  <c:v>1401-06-30</c:v>
                </c:pt>
                <c:pt idx="1305">
                  <c:v>1401-06-31</c:v>
                </c:pt>
                <c:pt idx="1306">
                  <c:v>1401-07-02</c:v>
                </c:pt>
                <c:pt idx="1307">
                  <c:v>1401-07-04</c:v>
                </c:pt>
                <c:pt idx="1308">
                  <c:v>1401-07-06</c:v>
                </c:pt>
                <c:pt idx="1309">
                  <c:v>1401-07-07</c:v>
                </c:pt>
                <c:pt idx="1310">
                  <c:v>1401-07-09</c:v>
                </c:pt>
                <c:pt idx="1311">
                  <c:v>1401-07-10</c:v>
                </c:pt>
                <c:pt idx="1312">
                  <c:v>1401-07-11</c:v>
                </c:pt>
                <c:pt idx="1313">
                  <c:v>1401-07-12</c:v>
                </c:pt>
                <c:pt idx="1314">
                  <c:v>1401-07-14</c:v>
                </c:pt>
                <c:pt idx="1315">
                  <c:v>1401-07-16</c:v>
                </c:pt>
                <c:pt idx="1316">
                  <c:v>1401-07-17</c:v>
                </c:pt>
                <c:pt idx="1317">
                  <c:v>1401-07-18</c:v>
                </c:pt>
                <c:pt idx="1318">
                  <c:v>1401-07-19</c:v>
                </c:pt>
                <c:pt idx="1319">
                  <c:v>1401-07-20</c:v>
                </c:pt>
                <c:pt idx="1320">
                  <c:v>1401-07-21</c:v>
                </c:pt>
                <c:pt idx="1321">
                  <c:v>1401-07-23</c:v>
                </c:pt>
                <c:pt idx="1322">
                  <c:v>1401-07-24</c:v>
                </c:pt>
                <c:pt idx="1323">
                  <c:v>1401-07-25</c:v>
                </c:pt>
                <c:pt idx="1324">
                  <c:v>1401-07-26</c:v>
                </c:pt>
                <c:pt idx="1325">
                  <c:v>1401-07-27</c:v>
                </c:pt>
                <c:pt idx="1326">
                  <c:v>1401-07-28</c:v>
                </c:pt>
                <c:pt idx="1327">
                  <c:v>1401-07-30</c:v>
                </c:pt>
                <c:pt idx="1328">
                  <c:v>1401-08-01</c:v>
                </c:pt>
                <c:pt idx="1329">
                  <c:v>1401-08-02</c:v>
                </c:pt>
                <c:pt idx="1330">
                  <c:v>1401-08-03</c:v>
                </c:pt>
                <c:pt idx="1331">
                  <c:v>1401-08-04</c:v>
                </c:pt>
                <c:pt idx="1332">
                  <c:v>1401-08-05</c:v>
                </c:pt>
                <c:pt idx="1333">
                  <c:v>1401-08-07</c:v>
                </c:pt>
                <c:pt idx="1334">
                  <c:v>1401-08-08</c:v>
                </c:pt>
                <c:pt idx="1335">
                  <c:v>1401-08-09</c:v>
                </c:pt>
                <c:pt idx="1336">
                  <c:v>1401-08-10</c:v>
                </c:pt>
                <c:pt idx="1337">
                  <c:v>1401-08-11</c:v>
                </c:pt>
                <c:pt idx="1338">
                  <c:v>1401-08-12</c:v>
                </c:pt>
                <c:pt idx="1339">
                  <c:v>1401-08-14</c:v>
                </c:pt>
                <c:pt idx="1340">
                  <c:v>1401-08-15</c:v>
                </c:pt>
                <c:pt idx="1341">
                  <c:v>1401-08-16</c:v>
                </c:pt>
                <c:pt idx="1342">
                  <c:v>1401-08-17</c:v>
                </c:pt>
                <c:pt idx="1343">
                  <c:v>1401-08-18</c:v>
                </c:pt>
                <c:pt idx="1344">
                  <c:v>1401-08-19</c:v>
                </c:pt>
                <c:pt idx="1345">
                  <c:v>1401-08-21</c:v>
                </c:pt>
                <c:pt idx="1346">
                  <c:v>1401-08-22</c:v>
                </c:pt>
                <c:pt idx="1347">
                  <c:v>1401-08-23</c:v>
                </c:pt>
                <c:pt idx="1348">
                  <c:v>1401-08-24</c:v>
                </c:pt>
                <c:pt idx="1349">
                  <c:v>1401-08-25</c:v>
                </c:pt>
                <c:pt idx="1350">
                  <c:v>1401-08-26</c:v>
                </c:pt>
                <c:pt idx="1351">
                  <c:v>1401-08-28</c:v>
                </c:pt>
                <c:pt idx="1352">
                  <c:v>1401-08-29</c:v>
                </c:pt>
                <c:pt idx="1353">
                  <c:v>1401-08-30</c:v>
                </c:pt>
                <c:pt idx="1354">
                  <c:v>1401-09-01</c:v>
                </c:pt>
                <c:pt idx="1355">
                  <c:v>1401-09-02</c:v>
                </c:pt>
                <c:pt idx="1356">
                  <c:v>1401-09-03</c:v>
                </c:pt>
                <c:pt idx="1357">
                  <c:v>1401-09-05</c:v>
                </c:pt>
                <c:pt idx="1358">
                  <c:v>1401-09-06</c:v>
                </c:pt>
                <c:pt idx="1359">
                  <c:v>1401-09-07</c:v>
                </c:pt>
                <c:pt idx="1360">
                  <c:v>1401-09-08</c:v>
                </c:pt>
                <c:pt idx="1361">
                  <c:v>1401-09-09</c:v>
                </c:pt>
                <c:pt idx="1362">
                  <c:v>1401-09-10</c:v>
                </c:pt>
                <c:pt idx="1363">
                  <c:v>1401-09-12</c:v>
                </c:pt>
                <c:pt idx="1364">
                  <c:v>1401-09-13</c:v>
                </c:pt>
                <c:pt idx="1365">
                  <c:v>1401-09-14</c:v>
                </c:pt>
                <c:pt idx="1366">
                  <c:v>1401-09-15</c:v>
                </c:pt>
                <c:pt idx="1367">
                  <c:v>1401-09-16</c:v>
                </c:pt>
                <c:pt idx="1368">
                  <c:v>1401-09-17</c:v>
                </c:pt>
                <c:pt idx="1369">
                  <c:v>1401-09-19</c:v>
                </c:pt>
                <c:pt idx="1370">
                  <c:v>1401-09-20</c:v>
                </c:pt>
                <c:pt idx="1371">
                  <c:v>1401-09-21</c:v>
                </c:pt>
                <c:pt idx="1372">
                  <c:v>1401-09-22</c:v>
                </c:pt>
                <c:pt idx="1373">
                  <c:v>1401-09-23</c:v>
                </c:pt>
                <c:pt idx="1374">
                  <c:v>1401-09-24</c:v>
                </c:pt>
                <c:pt idx="1375">
                  <c:v>1401-09-26</c:v>
                </c:pt>
                <c:pt idx="1376">
                  <c:v>1401-09-27</c:v>
                </c:pt>
                <c:pt idx="1377">
                  <c:v>1401-09-28</c:v>
                </c:pt>
                <c:pt idx="1378">
                  <c:v>1401-09-29</c:v>
                </c:pt>
                <c:pt idx="1379">
                  <c:v>1401-09-30</c:v>
                </c:pt>
                <c:pt idx="1380">
                  <c:v>1401-10-01</c:v>
                </c:pt>
                <c:pt idx="1381">
                  <c:v>1401-10-03</c:v>
                </c:pt>
                <c:pt idx="1382">
                  <c:v>1401-10-04</c:v>
                </c:pt>
                <c:pt idx="1383">
                  <c:v>1401-10-05</c:v>
                </c:pt>
                <c:pt idx="1384">
                  <c:v>1401-10-07</c:v>
                </c:pt>
                <c:pt idx="1385">
                  <c:v>1401-10-08</c:v>
                </c:pt>
                <c:pt idx="1386">
                  <c:v>1401-10-10</c:v>
                </c:pt>
                <c:pt idx="1387">
                  <c:v>1401-10-11</c:v>
                </c:pt>
                <c:pt idx="1388">
                  <c:v>1401-10-12</c:v>
                </c:pt>
                <c:pt idx="1389">
                  <c:v>1401-10-13</c:v>
                </c:pt>
                <c:pt idx="1390">
                  <c:v>1401-10-14</c:v>
                </c:pt>
                <c:pt idx="1391">
                  <c:v>1401-10-15</c:v>
                </c:pt>
                <c:pt idx="1392">
                  <c:v>1401-10-17</c:v>
                </c:pt>
                <c:pt idx="1393">
                  <c:v>1401-10-18</c:v>
                </c:pt>
                <c:pt idx="1394">
                  <c:v>1401-10-19</c:v>
                </c:pt>
                <c:pt idx="1395">
                  <c:v>1401-10-20</c:v>
                </c:pt>
                <c:pt idx="1396">
                  <c:v>1401-10-21</c:v>
                </c:pt>
                <c:pt idx="1397">
                  <c:v>1401-10-22</c:v>
                </c:pt>
                <c:pt idx="1398">
                  <c:v>1401-10-24</c:v>
                </c:pt>
                <c:pt idx="1399">
                  <c:v>1401-10-26</c:v>
                </c:pt>
                <c:pt idx="1400">
                  <c:v>1401-10-27</c:v>
                </c:pt>
                <c:pt idx="1401">
                  <c:v>1401-10-28</c:v>
                </c:pt>
                <c:pt idx="1402">
                  <c:v>1401-10-29</c:v>
                </c:pt>
                <c:pt idx="1403">
                  <c:v>1401-11-01</c:v>
                </c:pt>
                <c:pt idx="1404">
                  <c:v>1401-11-02</c:v>
                </c:pt>
                <c:pt idx="1405">
                  <c:v>1401-11-03</c:v>
                </c:pt>
                <c:pt idx="1406">
                  <c:v>1401-11-04</c:v>
                </c:pt>
                <c:pt idx="1407">
                  <c:v>1401-11-05</c:v>
                </c:pt>
                <c:pt idx="1408">
                  <c:v>1401-11-06</c:v>
                </c:pt>
                <c:pt idx="1409">
                  <c:v>1401-11-08</c:v>
                </c:pt>
                <c:pt idx="1410">
                  <c:v>1401-11-09</c:v>
                </c:pt>
                <c:pt idx="1411">
                  <c:v>1401-11-10</c:v>
                </c:pt>
                <c:pt idx="1412">
                  <c:v>1401-11-11</c:v>
                </c:pt>
                <c:pt idx="1413">
                  <c:v>1401-11-12</c:v>
                </c:pt>
                <c:pt idx="1414">
                  <c:v>1401-11-13</c:v>
                </c:pt>
                <c:pt idx="1415">
                  <c:v>1401-11-16</c:v>
                </c:pt>
                <c:pt idx="1416">
                  <c:v>1401-11-17</c:v>
                </c:pt>
                <c:pt idx="1417">
                  <c:v>1401-11-18</c:v>
                </c:pt>
                <c:pt idx="1418">
                  <c:v>1401-11-19</c:v>
                </c:pt>
                <c:pt idx="1419">
                  <c:v>1401-11-20</c:v>
                </c:pt>
                <c:pt idx="1420">
                  <c:v>1401-11-23</c:v>
                </c:pt>
                <c:pt idx="1421">
                  <c:v>1401-11-24</c:v>
                </c:pt>
                <c:pt idx="1422">
                  <c:v>1401-11-25</c:v>
                </c:pt>
                <c:pt idx="1423">
                  <c:v>1401-11-26</c:v>
                </c:pt>
                <c:pt idx="1424">
                  <c:v>1401-11-27</c:v>
                </c:pt>
                <c:pt idx="1425">
                  <c:v>1401-11-30</c:v>
                </c:pt>
                <c:pt idx="1426">
                  <c:v>1401-12-01</c:v>
                </c:pt>
                <c:pt idx="1427">
                  <c:v>1401-12-02</c:v>
                </c:pt>
                <c:pt idx="1428">
                  <c:v>1401-12-03</c:v>
                </c:pt>
                <c:pt idx="1429">
                  <c:v>1401-12-04</c:v>
                </c:pt>
                <c:pt idx="1430">
                  <c:v>1401-12-06</c:v>
                </c:pt>
                <c:pt idx="1431">
                  <c:v>1401-12-07</c:v>
                </c:pt>
                <c:pt idx="1432">
                  <c:v>1401-12-08</c:v>
                </c:pt>
                <c:pt idx="1433">
                  <c:v>1401-12-09</c:v>
                </c:pt>
                <c:pt idx="1434">
                  <c:v>1401-12-10</c:v>
                </c:pt>
                <c:pt idx="1435">
                  <c:v>1401-12-11</c:v>
                </c:pt>
                <c:pt idx="1436">
                  <c:v>1401-12-13</c:v>
                </c:pt>
                <c:pt idx="1437">
                  <c:v>1401-12-14</c:v>
                </c:pt>
                <c:pt idx="1438">
                  <c:v>1401-12-15</c:v>
                </c:pt>
                <c:pt idx="1439">
                  <c:v>1401-12-16</c:v>
                </c:pt>
                <c:pt idx="1440">
                  <c:v>1401-12-21</c:v>
                </c:pt>
                <c:pt idx="1441">
                  <c:v>1401-12-22</c:v>
                </c:pt>
                <c:pt idx="1442">
                  <c:v>1401-12-25</c:v>
                </c:pt>
                <c:pt idx="1443">
                  <c:v>1401-12-27</c:v>
                </c:pt>
                <c:pt idx="1444">
                  <c:v>1401-12-28</c:v>
                </c:pt>
                <c:pt idx="1445">
                  <c:v>1402-01-05</c:v>
                </c:pt>
                <c:pt idx="1446">
                  <c:v>1402-01-06</c:v>
                </c:pt>
                <c:pt idx="1447">
                  <c:v>1402-01-07</c:v>
                </c:pt>
                <c:pt idx="1448">
                  <c:v>1402-01-08</c:v>
                </c:pt>
                <c:pt idx="1449">
                  <c:v>1402-01-09</c:v>
                </c:pt>
                <c:pt idx="1450">
                  <c:v>1402-01-10</c:v>
                </c:pt>
                <c:pt idx="1451">
                  <c:v>1402-01-14</c:v>
                </c:pt>
                <c:pt idx="1452">
                  <c:v>1402-01-15</c:v>
                </c:pt>
                <c:pt idx="1453">
                  <c:v>1402-01-16</c:v>
                </c:pt>
                <c:pt idx="1454">
                  <c:v>1402-01-17</c:v>
                </c:pt>
                <c:pt idx="1455">
                  <c:v>1402-01-19</c:v>
                </c:pt>
                <c:pt idx="1456">
                  <c:v>1402-01-20</c:v>
                </c:pt>
                <c:pt idx="1457">
                  <c:v>1402-01-21</c:v>
                </c:pt>
                <c:pt idx="1458">
                  <c:v>1402-01-22</c:v>
                </c:pt>
                <c:pt idx="1459">
                  <c:v>1402-01-24</c:v>
                </c:pt>
                <c:pt idx="1460">
                  <c:v>1402-01-26</c:v>
                </c:pt>
                <c:pt idx="1461">
                  <c:v>1402-01-27</c:v>
                </c:pt>
                <c:pt idx="1462">
                  <c:v>1402-01-28</c:v>
                </c:pt>
                <c:pt idx="1463">
                  <c:v>1402-01-29</c:v>
                </c:pt>
                <c:pt idx="1464">
                  <c:v>1402-01-30</c:v>
                </c:pt>
                <c:pt idx="1465">
                  <c:v>1402-01-31</c:v>
                </c:pt>
                <c:pt idx="1466">
                  <c:v>1402-02-04</c:v>
                </c:pt>
                <c:pt idx="1467">
                  <c:v>1402-02-05</c:v>
                </c:pt>
                <c:pt idx="1468">
                  <c:v>1402-02-06</c:v>
                </c:pt>
                <c:pt idx="1469">
                  <c:v>1402-02-07</c:v>
                </c:pt>
                <c:pt idx="1470">
                  <c:v>1402-02-09</c:v>
                </c:pt>
                <c:pt idx="1471">
                  <c:v>1402-02-10</c:v>
                </c:pt>
                <c:pt idx="1472">
                  <c:v>1402-02-11</c:v>
                </c:pt>
                <c:pt idx="1473">
                  <c:v>1402-02-12</c:v>
                </c:pt>
                <c:pt idx="1474">
                  <c:v>1402-02-13</c:v>
                </c:pt>
                <c:pt idx="1475">
                  <c:v>1402-02-14</c:v>
                </c:pt>
                <c:pt idx="1476">
                  <c:v>1402-02-16</c:v>
                </c:pt>
                <c:pt idx="1477">
                  <c:v>1402-02-17</c:v>
                </c:pt>
                <c:pt idx="1478">
                  <c:v>1402-02-18</c:v>
                </c:pt>
                <c:pt idx="1479">
                  <c:v>1402-02-19</c:v>
                </c:pt>
                <c:pt idx="1480">
                  <c:v>1402-02-20</c:v>
                </c:pt>
                <c:pt idx="1481">
                  <c:v>1402-02-21</c:v>
                </c:pt>
                <c:pt idx="1482">
                  <c:v>1402-02-23</c:v>
                </c:pt>
                <c:pt idx="1483">
                  <c:v>1402-02-24</c:v>
                </c:pt>
                <c:pt idx="1484">
                  <c:v>1402-02-25</c:v>
                </c:pt>
                <c:pt idx="1485">
                  <c:v>1402-02-27</c:v>
                </c:pt>
                <c:pt idx="1486">
                  <c:v>1402-02-28</c:v>
                </c:pt>
                <c:pt idx="1487">
                  <c:v>1402-02-30</c:v>
                </c:pt>
                <c:pt idx="1488">
                  <c:v>1402-02-31</c:v>
                </c:pt>
                <c:pt idx="1489">
                  <c:v>1402-03-01</c:v>
                </c:pt>
                <c:pt idx="1490">
                  <c:v>1402-03-02</c:v>
                </c:pt>
                <c:pt idx="1491">
                  <c:v>1402-03-03</c:v>
                </c:pt>
                <c:pt idx="1492">
                  <c:v>1402-03-04</c:v>
                </c:pt>
                <c:pt idx="1493">
                  <c:v>1402-03-06</c:v>
                </c:pt>
                <c:pt idx="1494">
                  <c:v>1402-03-07</c:v>
                </c:pt>
                <c:pt idx="1495">
                  <c:v>1402-03-08</c:v>
                </c:pt>
                <c:pt idx="1496">
                  <c:v>1402-03-09</c:v>
                </c:pt>
                <c:pt idx="1497">
                  <c:v>1402-03-10</c:v>
                </c:pt>
                <c:pt idx="1498">
                  <c:v>1402-03-11</c:v>
                </c:pt>
                <c:pt idx="1499">
                  <c:v>1402-03-13</c:v>
                </c:pt>
                <c:pt idx="1500">
                  <c:v>1402-03-16</c:v>
                </c:pt>
                <c:pt idx="1501">
                  <c:v>1402-03-17</c:v>
                </c:pt>
                <c:pt idx="1502">
                  <c:v>1402-03-18</c:v>
                </c:pt>
                <c:pt idx="1503">
                  <c:v>1402-03-20</c:v>
                </c:pt>
                <c:pt idx="1504">
                  <c:v>1402-03-21</c:v>
                </c:pt>
                <c:pt idx="1505">
                  <c:v>1402-03-22</c:v>
                </c:pt>
                <c:pt idx="1506">
                  <c:v>1402-03-23</c:v>
                </c:pt>
                <c:pt idx="1507">
                  <c:v>1402-03-24</c:v>
                </c:pt>
                <c:pt idx="1508">
                  <c:v>1402-03-25</c:v>
                </c:pt>
                <c:pt idx="1509">
                  <c:v>1402-03-27</c:v>
                </c:pt>
                <c:pt idx="1510">
                  <c:v>1402-03-28</c:v>
                </c:pt>
                <c:pt idx="1511">
                  <c:v>1402-03-29</c:v>
                </c:pt>
                <c:pt idx="1512">
                  <c:v>1402-03-30</c:v>
                </c:pt>
                <c:pt idx="1513">
                  <c:v>1402-03-31</c:v>
                </c:pt>
                <c:pt idx="1514">
                  <c:v>1402-04-04</c:v>
                </c:pt>
                <c:pt idx="1515">
                  <c:v>1402-04-05</c:v>
                </c:pt>
                <c:pt idx="1516">
                  <c:v>1402-04-06</c:v>
                </c:pt>
                <c:pt idx="1517">
                  <c:v>1402-04-07</c:v>
                </c:pt>
                <c:pt idx="1518">
                  <c:v>1402-04-10</c:v>
                </c:pt>
                <c:pt idx="1519">
                  <c:v>1402-04-11</c:v>
                </c:pt>
                <c:pt idx="1520">
                  <c:v>1402-04-12</c:v>
                </c:pt>
                <c:pt idx="1521">
                  <c:v>1402-04-14</c:v>
                </c:pt>
                <c:pt idx="1522">
                  <c:v>1402-04-17</c:v>
                </c:pt>
                <c:pt idx="1523">
                  <c:v>1402-04-18</c:v>
                </c:pt>
                <c:pt idx="1524">
                  <c:v>1402-04-19</c:v>
                </c:pt>
                <c:pt idx="1525">
                  <c:v>1402-04-20</c:v>
                </c:pt>
                <c:pt idx="1526">
                  <c:v>1402-04-21</c:v>
                </c:pt>
                <c:pt idx="1527">
                  <c:v>1402-04-22</c:v>
                </c:pt>
                <c:pt idx="1528">
                  <c:v>1402-04-24</c:v>
                </c:pt>
                <c:pt idx="1529">
                  <c:v>1402-04-25</c:v>
                </c:pt>
                <c:pt idx="1530">
                  <c:v>1402-04-26</c:v>
                </c:pt>
                <c:pt idx="1531">
                  <c:v>1402-04-27</c:v>
                </c:pt>
                <c:pt idx="1532">
                  <c:v>1402-04-28</c:v>
                </c:pt>
                <c:pt idx="1533">
                  <c:v>1402-04-29</c:v>
                </c:pt>
                <c:pt idx="1534">
                  <c:v>1402-04-31</c:v>
                </c:pt>
                <c:pt idx="1535">
                  <c:v>1402-05-01</c:v>
                </c:pt>
                <c:pt idx="1536">
                  <c:v>1402-05-02</c:v>
                </c:pt>
                <c:pt idx="1537">
                  <c:v>1402-05-03</c:v>
                </c:pt>
                <c:pt idx="1538">
                  <c:v>1402-05-04</c:v>
                </c:pt>
                <c:pt idx="1539">
                  <c:v>1402-05-07</c:v>
                </c:pt>
                <c:pt idx="1540">
                  <c:v>1402-05-08</c:v>
                </c:pt>
                <c:pt idx="1541">
                  <c:v>1402-05-09</c:v>
                </c:pt>
                <c:pt idx="1542">
                  <c:v>1402-05-10</c:v>
                </c:pt>
                <c:pt idx="1543">
                  <c:v>1402-05-12</c:v>
                </c:pt>
                <c:pt idx="1544">
                  <c:v>1402-05-14</c:v>
                </c:pt>
                <c:pt idx="1545">
                  <c:v>1402-05-15</c:v>
                </c:pt>
                <c:pt idx="1546">
                  <c:v>1402-05-16</c:v>
                </c:pt>
                <c:pt idx="1547">
                  <c:v>1402-05-17</c:v>
                </c:pt>
                <c:pt idx="1548">
                  <c:v>1402-05-18</c:v>
                </c:pt>
                <c:pt idx="1549">
                  <c:v>1402-05-19</c:v>
                </c:pt>
                <c:pt idx="1550">
                  <c:v>1402-05-21</c:v>
                </c:pt>
                <c:pt idx="1551">
                  <c:v>1402-05-22</c:v>
                </c:pt>
                <c:pt idx="1552">
                  <c:v>1402-05-23</c:v>
                </c:pt>
                <c:pt idx="1553">
                  <c:v>1402-05-24</c:v>
                </c:pt>
                <c:pt idx="1554">
                  <c:v>1402-05-29</c:v>
                </c:pt>
                <c:pt idx="1555">
                  <c:v>1402-05-30</c:v>
                </c:pt>
                <c:pt idx="1556">
                  <c:v>1402-05-31</c:v>
                </c:pt>
                <c:pt idx="1557">
                  <c:v>1402-06-01</c:v>
                </c:pt>
                <c:pt idx="1558">
                  <c:v>1402-06-02</c:v>
                </c:pt>
                <c:pt idx="1559">
                  <c:v>1402-06-04</c:v>
                </c:pt>
                <c:pt idx="1560">
                  <c:v>1402-06-05</c:v>
                </c:pt>
                <c:pt idx="1561">
                  <c:v>1402-06-06</c:v>
                </c:pt>
                <c:pt idx="1562">
                  <c:v>1402-06-07</c:v>
                </c:pt>
                <c:pt idx="1563">
                  <c:v>1402-06-08</c:v>
                </c:pt>
                <c:pt idx="1564">
                  <c:v>1402-06-09</c:v>
                </c:pt>
                <c:pt idx="1565">
                  <c:v>1402-06-11</c:v>
                </c:pt>
                <c:pt idx="1566">
                  <c:v>1402-06-12</c:v>
                </c:pt>
                <c:pt idx="1567">
                  <c:v>1402-06-13</c:v>
                </c:pt>
                <c:pt idx="1568">
                  <c:v>1402-06-14</c:v>
                </c:pt>
                <c:pt idx="1569">
                  <c:v>1402-06-16</c:v>
                </c:pt>
                <c:pt idx="1570">
                  <c:v>1402-06-18</c:v>
                </c:pt>
                <c:pt idx="1571">
                  <c:v>1402-06-19</c:v>
                </c:pt>
                <c:pt idx="1572">
                  <c:v>1402-06-20</c:v>
                </c:pt>
                <c:pt idx="1573">
                  <c:v>1402-06-21</c:v>
                </c:pt>
                <c:pt idx="1574">
                  <c:v>1402-06-22</c:v>
                </c:pt>
                <c:pt idx="1575">
                  <c:v>1402-06-23</c:v>
                </c:pt>
                <c:pt idx="1576">
                  <c:v>1402-06-26</c:v>
                </c:pt>
                <c:pt idx="1577">
                  <c:v>1402-06-27</c:v>
                </c:pt>
                <c:pt idx="1578">
                  <c:v>1402-06-28</c:v>
                </c:pt>
                <c:pt idx="1579">
                  <c:v>1402-06-29</c:v>
                </c:pt>
                <c:pt idx="1580">
                  <c:v>1402-06-30</c:v>
                </c:pt>
                <c:pt idx="1581">
                  <c:v>1402-07-01</c:v>
                </c:pt>
                <c:pt idx="1582">
                  <c:v>1402-07-03</c:v>
                </c:pt>
                <c:pt idx="1583">
                  <c:v>1402-07-05</c:v>
                </c:pt>
                <c:pt idx="1584">
                  <c:v>1402-07-06</c:v>
                </c:pt>
                <c:pt idx="1585">
                  <c:v>1402-07-08</c:v>
                </c:pt>
                <c:pt idx="1586">
                  <c:v>1402-07-09</c:v>
                </c:pt>
                <c:pt idx="1587">
                  <c:v>1402-07-10</c:v>
                </c:pt>
                <c:pt idx="1588">
                  <c:v>1402-07-12</c:v>
                </c:pt>
                <c:pt idx="1589">
                  <c:v>1402-07-13</c:v>
                </c:pt>
                <c:pt idx="1590">
                  <c:v>1402-07-15</c:v>
                </c:pt>
                <c:pt idx="1591">
                  <c:v>1402-07-16</c:v>
                </c:pt>
                <c:pt idx="1592">
                  <c:v>1402-07-17</c:v>
                </c:pt>
                <c:pt idx="1593">
                  <c:v>1402-07-18</c:v>
                </c:pt>
                <c:pt idx="1594">
                  <c:v>1402-07-19</c:v>
                </c:pt>
                <c:pt idx="1595">
                  <c:v>1402-07-20</c:v>
                </c:pt>
                <c:pt idx="1596">
                  <c:v>1402-07-22</c:v>
                </c:pt>
                <c:pt idx="1597">
                  <c:v>1402-07-23</c:v>
                </c:pt>
                <c:pt idx="1598">
                  <c:v>1402-07-24</c:v>
                </c:pt>
                <c:pt idx="1599">
                  <c:v>1402-07-25</c:v>
                </c:pt>
                <c:pt idx="1600">
                  <c:v>1402-07-26</c:v>
                </c:pt>
                <c:pt idx="1601">
                  <c:v>1402-07-27</c:v>
                </c:pt>
                <c:pt idx="1602">
                  <c:v>1402-07-29</c:v>
                </c:pt>
                <c:pt idx="1603">
                  <c:v>1402-07-30</c:v>
                </c:pt>
                <c:pt idx="1604">
                  <c:v>1402-08-01</c:v>
                </c:pt>
                <c:pt idx="1605">
                  <c:v>1402-08-02</c:v>
                </c:pt>
                <c:pt idx="1606">
                  <c:v>1402-08-03</c:v>
                </c:pt>
                <c:pt idx="1607">
                  <c:v>1402-08-04</c:v>
                </c:pt>
                <c:pt idx="1608">
                  <c:v>1402-08-06</c:v>
                </c:pt>
                <c:pt idx="1609">
                  <c:v>1402-08-07</c:v>
                </c:pt>
                <c:pt idx="1610">
                  <c:v>1402-08-08</c:v>
                </c:pt>
                <c:pt idx="1611">
                  <c:v>1402-08-09</c:v>
                </c:pt>
                <c:pt idx="1612">
                  <c:v>1402-08-10</c:v>
                </c:pt>
                <c:pt idx="1613">
                  <c:v>1402-08-11</c:v>
                </c:pt>
                <c:pt idx="1614">
                  <c:v>1402-08-13</c:v>
                </c:pt>
                <c:pt idx="1615">
                  <c:v>1402-08-14</c:v>
                </c:pt>
                <c:pt idx="1616">
                  <c:v>1402-08-15</c:v>
                </c:pt>
                <c:pt idx="1617">
                  <c:v>1402-08-16</c:v>
                </c:pt>
                <c:pt idx="1618">
                  <c:v>1402-08-17</c:v>
                </c:pt>
                <c:pt idx="1619">
                  <c:v>1402-08-18</c:v>
                </c:pt>
                <c:pt idx="1620">
                  <c:v>1402-08-20</c:v>
                </c:pt>
                <c:pt idx="1621">
                  <c:v>1402-08-21</c:v>
                </c:pt>
                <c:pt idx="1622">
                  <c:v>1402-08-22</c:v>
                </c:pt>
                <c:pt idx="1623">
                  <c:v>1402-08-23</c:v>
                </c:pt>
                <c:pt idx="1624">
                  <c:v>1402-08-24</c:v>
                </c:pt>
                <c:pt idx="1625">
                  <c:v>1402-08-25</c:v>
                </c:pt>
                <c:pt idx="1626">
                  <c:v>1402-08-27</c:v>
                </c:pt>
                <c:pt idx="1627">
                  <c:v>1402-08-28</c:v>
                </c:pt>
                <c:pt idx="1628">
                  <c:v>1402-08-29</c:v>
                </c:pt>
                <c:pt idx="1629">
                  <c:v>1402-08-30</c:v>
                </c:pt>
                <c:pt idx="1630">
                  <c:v>1402-09-01</c:v>
                </c:pt>
                <c:pt idx="1631">
                  <c:v>1402-09-02</c:v>
                </c:pt>
                <c:pt idx="1632">
                  <c:v>1402-09-04</c:v>
                </c:pt>
                <c:pt idx="1633">
                  <c:v>1402-09-07</c:v>
                </c:pt>
                <c:pt idx="1634">
                  <c:v>1402-09-08</c:v>
                </c:pt>
                <c:pt idx="1635">
                  <c:v>1402-09-09</c:v>
                </c:pt>
                <c:pt idx="1636">
                  <c:v>1402-09-11</c:v>
                </c:pt>
                <c:pt idx="1637">
                  <c:v>1402-09-12</c:v>
                </c:pt>
                <c:pt idx="1638">
                  <c:v>1402-09-13</c:v>
                </c:pt>
                <c:pt idx="1639">
                  <c:v>1402-09-14</c:v>
                </c:pt>
                <c:pt idx="1640">
                  <c:v>1402-09-15</c:v>
                </c:pt>
                <c:pt idx="1641">
                  <c:v>1402-09-16</c:v>
                </c:pt>
                <c:pt idx="1642">
                  <c:v>1402-09-18</c:v>
                </c:pt>
                <c:pt idx="1643">
                  <c:v>1402-09-19</c:v>
                </c:pt>
                <c:pt idx="1644">
                  <c:v>1402-09-20</c:v>
                </c:pt>
                <c:pt idx="1645">
                  <c:v>1402-09-21</c:v>
                </c:pt>
                <c:pt idx="1646">
                  <c:v>1402-09-23</c:v>
                </c:pt>
                <c:pt idx="1647">
                  <c:v>1402-09-25</c:v>
                </c:pt>
                <c:pt idx="1648">
                  <c:v>1402-09-27</c:v>
                </c:pt>
                <c:pt idx="1649">
                  <c:v>1402-09-28</c:v>
                </c:pt>
                <c:pt idx="1650">
                  <c:v>1402-09-29</c:v>
                </c:pt>
                <c:pt idx="1651">
                  <c:v>1402-09-30</c:v>
                </c:pt>
                <c:pt idx="1652">
                  <c:v>1402-10-02</c:v>
                </c:pt>
                <c:pt idx="1653">
                  <c:v>1402-10-03</c:v>
                </c:pt>
                <c:pt idx="1654">
                  <c:v>1402-10-04</c:v>
                </c:pt>
                <c:pt idx="1655">
                  <c:v>1402-10-05</c:v>
                </c:pt>
                <c:pt idx="1656">
                  <c:v>1402-10-06</c:v>
                </c:pt>
                <c:pt idx="1657">
                  <c:v>1402-10-07</c:v>
                </c:pt>
                <c:pt idx="1658">
                  <c:v>1402-10-09</c:v>
                </c:pt>
                <c:pt idx="1659">
                  <c:v>1402-10-10</c:v>
                </c:pt>
                <c:pt idx="1660">
                  <c:v>1402-10-11</c:v>
                </c:pt>
                <c:pt idx="1661">
                  <c:v>1402-10-12</c:v>
                </c:pt>
                <c:pt idx="1662">
                  <c:v>1402-10-13</c:v>
                </c:pt>
                <c:pt idx="1663">
                  <c:v>1402-10-14</c:v>
                </c:pt>
                <c:pt idx="1664">
                  <c:v>1402-10-16</c:v>
                </c:pt>
                <c:pt idx="1665">
                  <c:v>1402-10-17</c:v>
                </c:pt>
                <c:pt idx="1666">
                  <c:v>1402-10-18</c:v>
                </c:pt>
                <c:pt idx="1667">
                  <c:v>1402-10-19</c:v>
                </c:pt>
                <c:pt idx="1668">
                  <c:v>1402-10-20</c:v>
                </c:pt>
                <c:pt idx="1669">
                  <c:v>1402-10-21</c:v>
                </c:pt>
                <c:pt idx="1670">
                  <c:v>1402-10-23</c:v>
                </c:pt>
                <c:pt idx="1671">
                  <c:v>1402-10-24</c:v>
                </c:pt>
                <c:pt idx="1672">
                  <c:v>1402-10-25</c:v>
                </c:pt>
                <c:pt idx="1673">
                  <c:v>1402-10-26</c:v>
                </c:pt>
                <c:pt idx="1674">
                  <c:v>1402-10-27</c:v>
                </c:pt>
                <c:pt idx="1675">
                  <c:v>1402-10-28</c:v>
                </c:pt>
                <c:pt idx="1676">
                  <c:v>1402-10-30</c:v>
                </c:pt>
                <c:pt idx="1677">
                  <c:v>1402-11-01</c:v>
                </c:pt>
                <c:pt idx="1678">
                  <c:v>1402-11-02</c:v>
                </c:pt>
                <c:pt idx="1679">
                  <c:v>1402-11-03</c:v>
                </c:pt>
                <c:pt idx="1680">
                  <c:v>1402-11-04</c:v>
                </c:pt>
                <c:pt idx="1681">
                  <c:v>1402-11-05</c:v>
                </c:pt>
                <c:pt idx="1682">
                  <c:v>1402-11-07</c:v>
                </c:pt>
                <c:pt idx="1683">
                  <c:v>1402-11-08</c:v>
                </c:pt>
                <c:pt idx="1684">
                  <c:v>1402-11-09</c:v>
                </c:pt>
                <c:pt idx="1685">
                  <c:v>1402-11-10</c:v>
                </c:pt>
                <c:pt idx="1686">
                  <c:v>1402-11-11</c:v>
                </c:pt>
                <c:pt idx="1687">
                  <c:v>1402-11-11</c:v>
                </c:pt>
                <c:pt idx="1688">
                  <c:v>1402-11-12</c:v>
                </c:pt>
                <c:pt idx="1689">
                  <c:v>1402-11-14</c:v>
                </c:pt>
                <c:pt idx="1690">
                  <c:v>1402-11-15</c:v>
                </c:pt>
                <c:pt idx="1691">
                  <c:v>1402-11-16</c:v>
                </c:pt>
                <c:pt idx="1692">
                  <c:v>1402-11-17</c:v>
                </c:pt>
                <c:pt idx="1693">
                  <c:v>1402-11-18</c:v>
                </c:pt>
                <c:pt idx="1694">
                  <c:v>1402-11-19</c:v>
                </c:pt>
                <c:pt idx="1695">
                  <c:v>1402-11-21</c:v>
                </c:pt>
                <c:pt idx="1696">
                  <c:v>1402-11-23</c:v>
                </c:pt>
                <c:pt idx="1697">
                  <c:v>1402-11-24</c:v>
                </c:pt>
                <c:pt idx="1698">
                  <c:v>1402-11-25</c:v>
                </c:pt>
                <c:pt idx="1699">
                  <c:v>1402-11-26</c:v>
                </c:pt>
                <c:pt idx="1700">
                  <c:v>1402-11-28</c:v>
                </c:pt>
                <c:pt idx="1701">
                  <c:v>1402-11-29</c:v>
                </c:pt>
                <c:pt idx="1702">
                  <c:v>1402-11-30</c:v>
                </c:pt>
                <c:pt idx="1703">
                  <c:v>1402-12-01</c:v>
                </c:pt>
                <c:pt idx="1704">
                  <c:v>1402-12-02</c:v>
                </c:pt>
                <c:pt idx="1705">
                  <c:v>1402-12-03</c:v>
                </c:pt>
                <c:pt idx="1706">
                  <c:v>1402-12-05</c:v>
                </c:pt>
                <c:pt idx="1707">
                  <c:v>1402-12-07</c:v>
                </c:pt>
                <c:pt idx="1708">
                  <c:v>1402-12-08</c:v>
                </c:pt>
                <c:pt idx="1709">
                  <c:v>1402-12-09</c:v>
                </c:pt>
                <c:pt idx="1710">
                  <c:v>1402-12-10</c:v>
                </c:pt>
                <c:pt idx="1711">
                  <c:v>1402-12-12</c:v>
                </c:pt>
                <c:pt idx="1712">
                  <c:v>1402-12-13</c:v>
                </c:pt>
                <c:pt idx="1713">
                  <c:v>1402-12-14</c:v>
                </c:pt>
                <c:pt idx="1714">
                  <c:v>1402-12-15</c:v>
                </c:pt>
                <c:pt idx="1715">
                  <c:v>1402-12-16</c:v>
                </c:pt>
                <c:pt idx="1716">
                  <c:v>1402-12-17</c:v>
                </c:pt>
                <c:pt idx="1717">
                  <c:v>1402-12-19</c:v>
                </c:pt>
                <c:pt idx="1718">
                  <c:v>1402-12-20</c:v>
                </c:pt>
                <c:pt idx="1719">
                  <c:v>1402-12-21</c:v>
                </c:pt>
                <c:pt idx="1720">
                  <c:v>1402-12-22</c:v>
                </c:pt>
                <c:pt idx="1721">
                  <c:v>1402-12-23</c:v>
                </c:pt>
                <c:pt idx="1722">
                  <c:v>1402-12-24</c:v>
                </c:pt>
                <c:pt idx="1723">
                  <c:v>1402-12-26</c:v>
                </c:pt>
                <c:pt idx="1724">
                  <c:v>1402-12-27</c:v>
                </c:pt>
                <c:pt idx="1725">
                  <c:v>1402-12-28</c:v>
                </c:pt>
                <c:pt idx="1726">
                  <c:v>1403-01-02</c:v>
                </c:pt>
                <c:pt idx="1727">
                  <c:v>1403-01-05</c:v>
                </c:pt>
                <c:pt idx="1728">
                  <c:v>1403-01-06</c:v>
                </c:pt>
                <c:pt idx="1729">
                  <c:v>1403-01-07</c:v>
                </c:pt>
                <c:pt idx="1730">
                  <c:v>1403-01-08</c:v>
                </c:pt>
                <c:pt idx="1731">
                  <c:v>1403-01-09</c:v>
                </c:pt>
                <c:pt idx="1732">
                  <c:v>1403-01-11</c:v>
                </c:pt>
                <c:pt idx="1733">
                  <c:v>1403-01-14</c:v>
                </c:pt>
                <c:pt idx="1734">
                  <c:v>1403-01-15</c:v>
                </c:pt>
                <c:pt idx="1735">
                  <c:v>1403-01-16</c:v>
                </c:pt>
                <c:pt idx="1736">
                  <c:v>1403-01-18</c:v>
                </c:pt>
                <c:pt idx="1737">
                  <c:v>1403-01-19</c:v>
                </c:pt>
                <c:pt idx="1738">
                  <c:v>1403-01-20</c:v>
                </c:pt>
                <c:pt idx="1739">
                  <c:v>1403-01-21</c:v>
                </c:pt>
                <c:pt idx="1740">
                  <c:v>1403-01-23</c:v>
                </c:pt>
                <c:pt idx="1741">
                  <c:v>1403-01-25</c:v>
                </c:pt>
                <c:pt idx="1742">
                  <c:v>1403-01-26</c:v>
                </c:pt>
                <c:pt idx="1743">
                  <c:v>1403-01-27</c:v>
                </c:pt>
                <c:pt idx="1744">
                  <c:v>1403-01-28</c:v>
                </c:pt>
                <c:pt idx="1745">
                  <c:v>1403-01-29</c:v>
                </c:pt>
                <c:pt idx="1746">
                  <c:v>1403-01-30</c:v>
                </c:pt>
                <c:pt idx="1747">
                  <c:v>1403-02-01</c:v>
                </c:pt>
                <c:pt idx="1748">
                  <c:v>1403-02-02</c:v>
                </c:pt>
                <c:pt idx="1749">
                  <c:v>1403-02-03</c:v>
                </c:pt>
                <c:pt idx="1750">
                  <c:v>1403-02-04</c:v>
                </c:pt>
                <c:pt idx="1751">
                  <c:v>1403-02-05</c:v>
                </c:pt>
                <c:pt idx="1752">
                  <c:v>1403-02-06</c:v>
                </c:pt>
                <c:pt idx="1753">
                  <c:v>1403-02-08</c:v>
                </c:pt>
                <c:pt idx="1754">
                  <c:v>1403-02-09</c:v>
                </c:pt>
                <c:pt idx="1755">
                  <c:v>1403-02-10</c:v>
                </c:pt>
                <c:pt idx="1756">
                  <c:v>1403-02-11</c:v>
                </c:pt>
                <c:pt idx="1757">
                  <c:v>1403-02-12</c:v>
                </c:pt>
                <c:pt idx="1758">
                  <c:v>1403-02-13</c:v>
                </c:pt>
                <c:pt idx="1759">
                  <c:v>1403-02-16</c:v>
                </c:pt>
                <c:pt idx="1760">
                  <c:v>1403-02-17</c:v>
                </c:pt>
                <c:pt idx="1761">
                  <c:v>1403-02-18</c:v>
                </c:pt>
                <c:pt idx="1762">
                  <c:v>1403-02-19</c:v>
                </c:pt>
                <c:pt idx="1763">
                  <c:v>1403-02-20</c:v>
                </c:pt>
                <c:pt idx="1764">
                  <c:v>1403-02-22</c:v>
                </c:pt>
                <c:pt idx="1765">
                  <c:v>1403-02-23</c:v>
                </c:pt>
                <c:pt idx="1766">
                  <c:v>1403-02-24</c:v>
                </c:pt>
                <c:pt idx="1767">
                  <c:v>1403-02-25</c:v>
                </c:pt>
                <c:pt idx="1768">
                  <c:v>1403-02-26</c:v>
                </c:pt>
                <c:pt idx="1769">
                  <c:v>1403-02-27</c:v>
                </c:pt>
                <c:pt idx="1770">
                  <c:v>1403-02-29</c:v>
                </c:pt>
                <c:pt idx="1771">
                  <c:v>1403-02-30</c:v>
                </c:pt>
                <c:pt idx="1772">
                  <c:v>1403-03-01</c:v>
                </c:pt>
                <c:pt idx="1773">
                  <c:v>1403-03-03</c:v>
                </c:pt>
                <c:pt idx="1774">
                  <c:v>1403-03-05</c:v>
                </c:pt>
                <c:pt idx="1775">
                  <c:v>1403-03-06</c:v>
                </c:pt>
                <c:pt idx="1776">
                  <c:v>1403-03-07</c:v>
                </c:pt>
                <c:pt idx="1777">
                  <c:v>1403-03-08</c:v>
                </c:pt>
                <c:pt idx="1778">
                  <c:v>1403-03-09</c:v>
                </c:pt>
                <c:pt idx="1779">
                  <c:v>1403-03-10</c:v>
                </c:pt>
                <c:pt idx="1780">
                  <c:v>1403-03-12</c:v>
                </c:pt>
                <c:pt idx="1781">
                  <c:v>1403-03-13</c:v>
                </c:pt>
                <c:pt idx="1782">
                  <c:v>1403-03-16</c:v>
                </c:pt>
                <c:pt idx="1783">
                  <c:v>1403-03-17</c:v>
                </c:pt>
                <c:pt idx="1784">
                  <c:v>1403-03-19</c:v>
                </c:pt>
                <c:pt idx="1785">
                  <c:v>1403-03-20</c:v>
                </c:pt>
                <c:pt idx="1786">
                  <c:v>1403-03-21</c:v>
                </c:pt>
                <c:pt idx="1787">
                  <c:v>1403-03-22</c:v>
                </c:pt>
                <c:pt idx="1788">
                  <c:v>1403-03-23</c:v>
                </c:pt>
                <c:pt idx="1789">
                  <c:v>1403-03-24</c:v>
                </c:pt>
                <c:pt idx="1790">
                  <c:v>1403-03-26</c:v>
                </c:pt>
                <c:pt idx="1791">
                  <c:v>1403-03-27</c:v>
                </c:pt>
                <c:pt idx="1792">
                  <c:v>1403-03-29</c:v>
                </c:pt>
                <c:pt idx="1793">
                  <c:v>1403-03-30</c:v>
                </c:pt>
                <c:pt idx="1794">
                  <c:v>1403-03-31</c:v>
                </c:pt>
                <c:pt idx="1795">
                  <c:v>1403-04-02</c:v>
                </c:pt>
                <c:pt idx="1796">
                  <c:v>1403-04-03</c:v>
                </c:pt>
                <c:pt idx="1797">
                  <c:v>1403-04-04</c:v>
                </c:pt>
                <c:pt idx="1798">
                  <c:v>1403-04-06</c:v>
                </c:pt>
                <c:pt idx="1799">
                  <c:v>1403-04-07</c:v>
                </c:pt>
                <c:pt idx="1800">
                  <c:v>1403-04-09</c:v>
                </c:pt>
                <c:pt idx="1801">
                  <c:v>1403-04-10</c:v>
                </c:pt>
                <c:pt idx="1802">
                  <c:v>1403-04-11</c:v>
                </c:pt>
                <c:pt idx="1803">
                  <c:v>1403-04-12</c:v>
                </c:pt>
                <c:pt idx="1804">
                  <c:v>1403-04-13</c:v>
                </c:pt>
                <c:pt idx="1805">
                  <c:v>1403-04-14</c:v>
                </c:pt>
                <c:pt idx="1806">
                  <c:v>1403-04-16</c:v>
                </c:pt>
                <c:pt idx="1807">
                  <c:v>1403-04-17</c:v>
                </c:pt>
                <c:pt idx="1808">
                  <c:v>1403-04-18</c:v>
                </c:pt>
                <c:pt idx="1809">
                  <c:v>1403-04-19</c:v>
                </c:pt>
                <c:pt idx="1810">
                  <c:v>1403-04-20</c:v>
                </c:pt>
                <c:pt idx="1811">
                  <c:v>1403-04-21</c:v>
                </c:pt>
                <c:pt idx="1812">
                  <c:v>1403-04-23</c:v>
                </c:pt>
                <c:pt idx="1813">
                  <c:v>1403-04-24</c:v>
                </c:pt>
                <c:pt idx="1814">
                  <c:v>1403-04-27</c:v>
                </c:pt>
                <c:pt idx="1815">
                  <c:v>1403-04-28</c:v>
                </c:pt>
                <c:pt idx="1816">
                  <c:v>1403-04-30</c:v>
                </c:pt>
                <c:pt idx="1817">
                  <c:v>1403-04-31</c:v>
                </c:pt>
                <c:pt idx="1818">
                  <c:v>1403-05-01</c:v>
                </c:pt>
                <c:pt idx="1819">
                  <c:v>1403-05-02</c:v>
                </c:pt>
                <c:pt idx="1820">
                  <c:v>1403-05-03</c:v>
                </c:pt>
                <c:pt idx="1821">
                  <c:v>1403-05-04</c:v>
                </c:pt>
                <c:pt idx="1822">
                  <c:v>1403-05-06</c:v>
                </c:pt>
                <c:pt idx="1823">
                  <c:v>1403-05-08</c:v>
                </c:pt>
                <c:pt idx="1824">
                  <c:v>1403-05-09</c:v>
                </c:pt>
                <c:pt idx="1825">
                  <c:v>1403-05-10</c:v>
                </c:pt>
                <c:pt idx="1826">
                  <c:v>1403-05-11</c:v>
                </c:pt>
                <c:pt idx="1827">
                  <c:v>1403-05-13</c:v>
                </c:pt>
                <c:pt idx="1828">
                  <c:v>1403-05-14</c:v>
                </c:pt>
                <c:pt idx="1829">
                  <c:v>1403-05-15</c:v>
                </c:pt>
                <c:pt idx="1830">
                  <c:v>1403-05-16</c:v>
                </c:pt>
                <c:pt idx="1831">
                  <c:v>1403-05-18</c:v>
                </c:pt>
                <c:pt idx="1832">
                  <c:v>1403-05-20</c:v>
                </c:pt>
                <c:pt idx="1833">
                  <c:v>1403-05-21</c:v>
                </c:pt>
                <c:pt idx="1834">
                  <c:v>1403-05-22</c:v>
                </c:pt>
                <c:pt idx="1835">
                  <c:v>1403-05-23</c:v>
                </c:pt>
                <c:pt idx="1836">
                  <c:v>1403-05-24</c:v>
                </c:pt>
                <c:pt idx="1837">
                  <c:v>1403-05-25</c:v>
                </c:pt>
                <c:pt idx="1838">
                  <c:v>1403-05-27</c:v>
                </c:pt>
                <c:pt idx="1839">
                  <c:v>1403-05-28</c:v>
                </c:pt>
                <c:pt idx="1840">
                  <c:v>1403-05-29</c:v>
                </c:pt>
                <c:pt idx="1841">
                  <c:v>1403-05-30</c:v>
                </c:pt>
                <c:pt idx="1842">
                  <c:v>1403-05-31</c:v>
                </c:pt>
                <c:pt idx="1843">
                  <c:v>1403-06-01</c:v>
                </c:pt>
                <c:pt idx="1844">
                  <c:v>1403-06-03</c:v>
                </c:pt>
                <c:pt idx="1845">
                  <c:v>1403-06-05</c:v>
                </c:pt>
                <c:pt idx="1846">
                  <c:v>1403-06-06</c:v>
                </c:pt>
                <c:pt idx="1847">
                  <c:v>1403-06-07</c:v>
                </c:pt>
                <c:pt idx="1848">
                  <c:v>1403-06-08</c:v>
                </c:pt>
                <c:pt idx="1849">
                  <c:v>1403-06-10</c:v>
                </c:pt>
                <c:pt idx="1850">
                  <c:v>1403-06-11</c:v>
                </c:pt>
                <c:pt idx="1851">
                  <c:v>1403-06-13</c:v>
                </c:pt>
                <c:pt idx="1852">
                  <c:v>1403-06-15</c:v>
                </c:pt>
                <c:pt idx="1853">
                  <c:v>1403-06-17</c:v>
                </c:pt>
                <c:pt idx="1854">
                  <c:v>1403-06-18</c:v>
                </c:pt>
                <c:pt idx="1855">
                  <c:v>1403-06-19</c:v>
                </c:pt>
                <c:pt idx="1856">
                  <c:v>1403-06-20</c:v>
                </c:pt>
                <c:pt idx="1857">
                  <c:v>1403-06-21</c:v>
                </c:pt>
                <c:pt idx="1858">
                  <c:v>1403-06-22</c:v>
                </c:pt>
                <c:pt idx="1859">
                  <c:v>1403-06-24</c:v>
                </c:pt>
                <c:pt idx="1860">
                  <c:v>1403-06-25</c:v>
                </c:pt>
                <c:pt idx="1861">
                  <c:v>1403-06-26</c:v>
                </c:pt>
                <c:pt idx="1862">
                  <c:v>1403-06-28</c:v>
                </c:pt>
                <c:pt idx="1863">
                  <c:v>1403-06-29</c:v>
                </c:pt>
                <c:pt idx="1864">
                  <c:v>1403-07-01</c:v>
                </c:pt>
                <c:pt idx="1865">
                  <c:v>1403-07-02</c:v>
                </c:pt>
                <c:pt idx="1866">
                  <c:v>1403-07-03</c:v>
                </c:pt>
                <c:pt idx="1867">
                  <c:v>1403-07-04</c:v>
                </c:pt>
                <c:pt idx="1868">
                  <c:v>1403-07-05</c:v>
                </c:pt>
                <c:pt idx="1869">
                  <c:v>1403-07-07</c:v>
                </c:pt>
                <c:pt idx="1870">
                  <c:v>1403-07-08</c:v>
                </c:pt>
                <c:pt idx="1871">
                  <c:v>1403-07-09</c:v>
                </c:pt>
                <c:pt idx="1872">
                  <c:v>1403-07-10</c:v>
                </c:pt>
                <c:pt idx="1873">
                  <c:v>1403-07-11</c:v>
                </c:pt>
                <c:pt idx="1874">
                  <c:v>1403-07-12</c:v>
                </c:pt>
                <c:pt idx="1875">
                  <c:v>1403-07-14</c:v>
                </c:pt>
                <c:pt idx="1876">
                  <c:v>1403-07-15</c:v>
                </c:pt>
                <c:pt idx="1877">
                  <c:v>1403-07-16</c:v>
                </c:pt>
                <c:pt idx="1878">
                  <c:v>1403-07-17</c:v>
                </c:pt>
                <c:pt idx="1879">
                  <c:v>1403-07-18</c:v>
                </c:pt>
                <c:pt idx="1880">
                  <c:v>1403-07-19</c:v>
                </c:pt>
                <c:pt idx="1881">
                  <c:v>1403-07-18</c:v>
                </c:pt>
                <c:pt idx="1882">
                  <c:v>1403-07-19</c:v>
                </c:pt>
                <c:pt idx="1883">
                  <c:v>1403-07-21</c:v>
                </c:pt>
                <c:pt idx="1884">
                  <c:v>1403-07-22</c:v>
                </c:pt>
                <c:pt idx="1885">
                  <c:v>1403-07-23</c:v>
                </c:pt>
                <c:pt idx="1886">
                  <c:v>1403-07-24</c:v>
                </c:pt>
                <c:pt idx="1887">
                  <c:v>1403-07-25</c:v>
                </c:pt>
                <c:pt idx="1888">
                  <c:v>1403-07-26</c:v>
                </c:pt>
                <c:pt idx="1889">
                  <c:v>1403-07-28</c:v>
                </c:pt>
                <c:pt idx="1890">
                  <c:v>1403-07-29</c:v>
                </c:pt>
                <c:pt idx="1891">
                  <c:v>1403-07-30</c:v>
                </c:pt>
                <c:pt idx="1892">
                  <c:v>1403-08-01</c:v>
                </c:pt>
                <c:pt idx="1893">
                  <c:v>1403-08-02</c:v>
                </c:pt>
                <c:pt idx="1894">
                  <c:v>1403-08-03</c:v>
                </c:pt>
                <c:pt idx="1895">
                  <c:v>1403-08-05</c:v>
                </c:pt>
                <c:pt idx="1896">
                  <c:v>1403-08-06</c:v>
                </c:pt>
                <c:pt idx="1897">
                  <c:v>1403-08-07</c:v>
                </c:pt>
                <c:pt idx="1898">
                  <c:v>1403-08-08</c:v>
                </c:pt>
                <c:pt idx="1899">
                  <c:v>1403-08-09</c:v>
                </c:pt>
                <c:pt idx="1900">
                  <c:v>1403-08-10</c:v>
                </c:pt>
                <c:pt idx="1901">
                  <c:v>1403-08-12</c:v>
                </c:pt>
                <c:pt idx="1902">
                  <c:v>1403-08-13</c:v>
                </c:pt>
                <c:pt idx="1903">
                  <c:v>1403-08-14</c:v>
                </c:pt>
                <c:pt idx="1904">
                  <c:v>1403-08-15</c:v>
                </c:pt>
                <c:pt idx="1905">
                  <c:v>1403-08-15</c:v>
                </c:pt>
                <c:pt idx="1906">
                  <c:v>1403-08-16</c:v>
                </c:pt>
                <c:pt idx="1907">
                  <c:v>1403-08-17</c:v>
                </c:pt>
                <c:pt idx="1908">
                  <c:v>1403-08-19</c:v>
                </c:pt>
                <c:pt idx="1909">
                  <c:v>1403-08-20</c:v>
                </c:pt>
                <c:pt idx="1910">
                  <c:v>1403-08-21</c:v>
                </c:pt>
                <c:pt idx="1911">
                  <c:v>1403-08-22</c:v>
                </c:pt>
                <c:pt idx="1912">
                  <c:v>1403-08-23</c:v>
                </c:pt>
                <c:pt idx="1913">
                  <c:v>1403-08-24</c:v>
                </c:pt>
                <c:pt idx="1914">
                  <c:v>1403-08-26</c:v>
                </c:pt>
                <c:pt idx="1915">
                  <c:v>1403-08-27</c:v>
                </c:pt>
                <c:pt idx="1916">
                  <c:v>1403-08-28</c:v>
                </c:pt>
                <c:pt idx="1917">
                  <c:v>1403-08-29</c:v>
                </c:pt>
                <c:pt idx="1918">
                  <c:v>1403-08-30</c:v>
                </c:pt>
                <c:pt idx="1919">
                  <c:v>1403-09-01</c:v>
                </c:pt>
                <c:pt idx="1920">
                  <c:v>1403-09-03</c:v>
                </c:pt>
                <c:pt idx="1921">
                  <c:v>1403-09-04</c:v>
                </c:pt>
                <c:pt idx="1922">
                  <c:v>1403-09-05</c:v>
                </c:pt>
                <c:pt idx="1923">
                  <c:v>1403-09-06</c:v>
                </c:pt>
                <c:pt idx="1924">
                  <c:v>1403-09-07</c:v>
                </c:pt>
                <c:pt idx="1925">
                  <c:v>1403-09-08</c:v>
                </c:pt>
                <c:pt idx="1926">
                  <c:v>1403-09-10</c:v>
                </c:pt>
                <c:pt idx="1927">
                  <c:v>1403-09-11</c:v>
                </c:pt>
                <c:pt idx="1928">
                  <c:v>1403-09-12</c:v>
                </c:pt>
                <c:pt idx="1929">
                  <c:v>1403-09-13</c:v>
                </c:pt>
                <c:pt idx="1930">
                  <c:v>1403-09-14</c:v>
                </c:pt>
                <c:pt idx="1931">
                  <c:v>1403-09-15</c:v>
                </c:pt>
                <c:pt idx="1932">
                  <c:v>1403-09-17</c:v>
                </c:pt>
                <c:pt idx="1933">
                  <c:v>1403-09-18</c:v>
                </c:pt>
                <c:pt idx="1934">
                  <c:v>1403-09-19</c:v>
                </c:pt>
                <c:pt idx="1935">
                  <c:v>1403-09-20</c:v>
                </c:pt>
                <c:pt idx="1936">
                  <c:v>1403-09-21</c:v>
                </c:pt>
                <c:pt idx="1937">
                  <c:v>1403-09-22</c:v>
                </c:pt>
                <c:pt idx="1938">
                  <c:v>1403-09-24</c:v>
                </c:pt>
                <c:pt idx="1939">
                  <c:v>1403-09-25</c:v>
                </c:pt>
                <c:pt idx="1940">
                  <c:v>1403-09-26</c:v>
                </c:pt>
                <c:pt idx="1941">
                  <c:v>1403-09-27</c:v>
                </c:pt>
                <c:pt idx="1942">
                  <c:v>1403-09-28</c:v>
                </c:pt>
                <c:pt idx="1943">
                  <c:v>1403-09-29</c:v>
                </c:pt>
                <c:pt idx="1944">
                  <c:v>1403-10-01</c:v>
                </c:pt>
                <c:pt idx="1945">
                  <c:v>1403-10-02</c:v>
                </c:pt>
                <c:pt idx="1946">
                  <c:v>1403-10-03</c:v>
                </c:pt>
                <c:pt idx="1947">
                  <c:v>1403-10-04</c:v>
                </c:pt>
                <c:pt idx="1948">
                  <c:v>1403-10-05</c:v>
                </c:pt>
                <c:pt idx="1949">
                  <c:v>1403-10-06</c:v>
                </c:pt>
                <c:pt idx="1950">
                  <c:v>1403-10-08</c:v>
                </c:pt>
                <c:pt idx="1951">
                  <c:v>1403-10-09</c:v>
                </c:pt>
                <c:pt idx="1952">
                  <c:v>1403-10-10</c:v>
                </c:pt>
                <c:pt idx="1953">
                  <c:v>1403-10-11</c:v>
                </c:pt>
                <c:pt idx="1954">
                  <c:v>1403-10-12</c:v>
                </c:pt>
                <c:pt idx="1955">
                  <c:v>1403-10-13</c:v>
                </c:pt>
                <c:pt idx="1956">
                  <c:v>1403-10-15</c:v>
                </c:pt>
                <c:pt idx="1957">
                  <c:v>1403-10-16</c:v>
                </c:pt>
                <c:pt idx="1958">
                  <c:v>1403-10-17</c:v>
                </c:pt>
                <c:pt idx="1959">
                  <c:v>1403-10-18</c:v>
                </c:pt>
                <c:pt idx="1960">
                  <c:v>1403-10-19</c:v>
                </c:pt>
                <c:pt idx="1961">
                  <c:v>1403-10-20</c:v>
                </c:pt>
                <c:pt idx="1962">
                  <c:v>1403-10-22</c:v>
                </c:pt>
                <c:pt idx="1963">
                  <c:v>1403-10-23</c:v>
                </c:pt>
                <c:pt idx="1964">
                  <c:v>1403-10-24</c:v>
                </c:pt>
                <c:pt idx="1965">
                  <c:v>1403-10-26</c:v>
                </c:pt>
                <c:pt idx="1966">
                  <c:v>1403-10-27</c:v>
                </c:pt>
                <c:pt idx="1967">
                  <c:v>1403-10-29</c:v>
                </c:pt>
                <c:pt idx="1968">
                  <c:v>1403-10-30</c:v>
                </c:pt>
                <c:pt idx="1969">
                  <c:v>1403-11-01</c:v>
                </c:pt>
                <c:pt idx="1970">
                  <c:v>1403-11-02</c:v>
                </c:pt>
                <c:pt idx="1971">
                  <c:v>1403-11-03</c:v>
                </c:pt>
                <c:pt idx="1972">
                  <c:v>1403-11-04</c:v>
                </c:pt>
                <c:pt idx="1973">
                  <c:v>1403-11-06</c:v>
                </c:pt>
                <c:pt idx="1974">
                  <c:v>1403-11-07</c:v>
                </c:pt>
                <c:pt idx="1975">
                  <c:v>1403-11-08</c:v>
                </c:pt>
                <c:pt idx="1976">
                  <c:v>1403-11-10</c:v>
                </c:pt>
                <c:pt idx="1977">
                  <c:v>1403-11-11</c:v>
                </c:pt>
                <c:pt idx="1978">
                  <c:v>1403-11-13</c:v>
                </c:pt>
                <c:pt idx="1979">
                  <c:v>1403-11-14</c:v>
                </c:pt>
                <c:pt idx="1980">
                  <c:v>1403-11-15</c:v>
                </c:pt>
                <c:pt idx="1981">
                  <c:v>1403-11-16</c:v>
                </c:pt>
                <c:pt idx="1982">
                  <c:v>1403-11-17</c:v>
                </c:pt>
                <c:pt idx="1983">
                  <c:v>1403-11-18</c:v>
                </c:pt>
                <c:pt idx="1984">
                  <c:v>1403-11-21</c:v>
                </c:pt>
                <c:pt idx="1985">
                  <c:v>1403-11-23</c:v>
                </c:pt>
                <c:pt idx="1986">
                  <c:v>1403-11-24</c:v>
                </c:pt>
                <c:pt idx="1987">
                  <c:v>1403-11-25</c:v>
                </c:pt>
                <c:pt idx="1988">
                  <c:v>1403-11-27</c:v>
                </c:pt>
                <c:pt idx="1989">
                  <c:v>1403-11-28</c:v>
                </c:pt>
                <c:pt idx="1990">
                  <c:v>1403-11-29</c:v>
                </c:pt>
                <c:pt idx="1991">
                  <c:v>1403-11-30</c:v>
                </c:pt>
                <c:pt idx="1992">
                  <c:v>1403-12-01</c:v>
                </c:pt>
                <c:pt idx="1993">
                  <c:v>1403-12-02</c:v>
                </c:pt>
                <c:pt idx="1994">
                  <c:v>1403-12-04</c:v>
                </c:pt>
                <c:pt idx="1995">
                  <c:v>1403-12-05</c:v>
                </c:pt>
                <c:pt idx="1996">
                  <c:v>1403-12-06</c:v>
                </c:pt>
                <c:pt idx="1997">
                  <c:v>1403-12-07</c:v>
                </c:pt>
                <c:pt idx="1998">
                  <c:v>1403-12-08</c:v>
                </c:pt>
                <c:pt idx="1999">
                  <c:v>1403-12-09</c:v>
                </c:pt>
                <c:pt idx="2000">
                  <c:v>1403-12-11</c:v>
                </c:pt>
                <c:pt idx="2001">
                  <c:v>1403-12-12</c:v>
                </c:pt>
                <c:pt idx="2002">
                  <c:v>1403-12-13</c:v>
                </c:pt>
                <c:pt idx="2003">
                  <c:v>1403-12-14</c:v>
                </c:pt>
                <c:pt idx="2004">
                  <c:v>1403-12-15</c:v>
                </c:pt>
                <c:pt idx="2005">
                  <c:v>1403-12-18</c:v>
                </c:pt>
                <c:pt idx="2006">
                  <c:v>1403-12-19</c:v>
                </c:pt>
                <c:pt idx="2007">
                  <c:v>1403-12-20</c:v>
                </c:pt>
                <c:pt idx="2008">
                  <c:v>1403-12-21</c:v>
                </c:pt>
                <c:pt idx="2009">
                  <c:v>1403-12-22</c:v>
                </c:pt>
              </c:strCache>
            </c:strRef>
          </c:cat>
          <c:val>
            <c:numRef>
              <c:f>'  ارز-دلار نیمایی      '!$C$2:$C$2099</c:f>
              <c:numCache>
                <c:formatCode>_(* #,##0_);_(* \(#,##0\);_(* "-"??_);_(@_)</c:formatCode>
                <c:ptCount val="2098"/>
                <c:pt idx="0">
                  <c:v>48366</c:v>
                </c:pt>
                <c:pt idx="1">
                  <c:v>48619</c:v>
                </c:pt>
                <c:pt idx="2">
                  <c:v>48768</c:v>
                </c:pt>
                <c:pt idx="3">
                  <c:v>48800</c:v>
                </c:pt>
                <c:pt idx="4">
                  <c:v>48520</c:v>
                </c:pt>
                <c:pt idx="5">
                  <c:v>48749</c:v>
                </c:pt>
                <c:pt idx="6">
                  <c:v>48741</c:v>
                </c:pt>
                <c:pt idx="7">
                  <c:v>48841</c:v>
                </c:pt>
                <c:pt idx="8">
                  <c:v>49150</c:v>
                </c:pt>
                <c:pt idx="9">
                  <c:v>49297</c:v>
                </c:pt>
                <c:pt idx="10">
                  <c:v>49566</c:v>
                </c:pt>
                <c:pt idx="11">
                  <c:v>42000</c:v>
                </c:pt>
                <c:pt idx="12">
                  <c:v>42000</c:v>
                </c:pt>
                <c:pt idx="13">
                  <c:v>42000</c:v>
                </c:pt>
                <c:pt idx="14">
                  <c:v>42000</c:v>
                </c:pt>
                <c:pt idx="15">
                  <c:v>42000</c:v>
                </c:pt>
                <c:pt idx="16">
                  <c:v>42000</c:v>
                </c:pt>
                <c:pt idx="17">
                  <c:v>42000</c:v>
                </c:pt>
                <c:pt idx="18">
                  <c:v>42000</c:v>
                </c:pt>
                <c:pt idx="19">
                  <c:v>42000</c:v>
                </c:pt>
                <c:pt idx="20">
                  <c:v>42000</c:v>
                </c:pt>
                <c:pt idx="21">
                  <c:v>42000</c:v>
                </c:pt>
                <c:pt idx="22">
                  <c:v>42000</c:v>
                </c:pt>
                <c:pt idx="23">
                  <c:v>42000</c:v>
                </c:pt>
                <c:pt idx="24">
                  <c:v>42000</c:v>
                </c:pt>
                <c:pt idx="25">
                  <c:v>42000</c:v>
                </c:pt>
                <c:pt idx="26">
                  <c:v>42000</c:v>
                </c:pt>
                <c:pt idx="27">
                  <c:v>42000</c:v>
                </c:pt>
                <c:pt idx="28">
                  <c:v>42000</c:v>
                </c:pt>
                <c:pt idx="29">
                  <c:v>42000</c:v>
                </c:pt>
                <c:pt idx="30">
                  <c:v>42000</c:v>
                </c:pt>
                <c:pt idx="31">
                  <c:v>42000</c:v>
                </c:pt>
                <c:pt idx="32">
                  <c:v>42000</c:v>
                </c:pt>
                <c:pt idx="33">
                  <c:v>42000</c:v>
                </c:pt>
                <c:pt idx="34">
                  <c:v>42000</c:v>
                </c:pt>
                <c:pt idx="35">
                  <c:v>42000</c:v>
                </c:pt>
                <c:pt idx="36">
                  <c:v>42000</c:v>
                </c:pt>
                <c:pt idx="37">
                  <c:v>42000</c:v>
                </c:pt>
                <c:pt idx="38">
                  <c:v>42000</c:v>
                </c:pt>
                <c:pt idx="39">
                  <c:v>42000</c:v>
                </c:pt>
                <c:pt idx="40">
                  <c:v>42000</c:v>
                </c:pt>
                <c:pt idx="41">
                  <c:v>42000</c:v>
                </c:pt>
                <c:pt idx="42">
                  <c:v>42000</c:v>
                </c:pt>
                <c:pt idx="43">
                  <c:v>42000</c:v>
                </c:pt>
                <c:pt idx="44">
                  <c:v>42000</c:v>
                </c:pt>
                <c:pt idx="45">
                  <c:v>42000</c:v>
                </c:pt>
                <c:pt idx="46">
                  <c:v>42000</c:v>
                </c:pt>
                <c:pt idx="47">
                  <c:v>42000</c:v>
                </c:pt>
                <c:pt idx="48">
                  <c:v>42000</c:v>
                </c:pt>
                <c:pt idx="49">
                  <c:v>42000</c:v>
                </c:pt>
                <c:pt idx="50">
                  <c:v>42000</c:v>
                </c:pt>
                <c:pt idx="51">
                  <c:v>42000</c:v>
                </c:pt>
                <c:pt idx="52">
                  <c:v>42000</c:v>
                </c:pt>
                <c:pt idx="53">
                  <c:v>42000</c:v>
                </c:pt>
                <c:pt idx="54">
                  <c:v>42000</c:v>
                </c:pt>
                <c:pt idx="55">
                  <c:v>42000</c:v>
                </c:pt>
                <c:pt idx="56">
                  <c:v>42000</c:v>
                </c:pt>
                <c:pt idx="57">
                  <c:v>42000</c:v>
                </c:pt>
                <c:pt idx="58">
                  <c:v>42000</c:v>
                </c:pt>
                <c:pt idx="59">
                  <c:v>42000</c:v>
                </c:pt>
                <c:pt idx="60">
                  <c:v>42000</c:v>
                </c:pt>
                <c:pt idx="61">
                  <c:v>42000</c:v>
                </c:pt>
                <c:pt idx="62">
                  <c:v>42000</c:v>
                </c:pt>
                <c:pt idx="63">
                  <c:v>42000</c:v>
                </c:pt>
                <c:pt idx="64">
                  <c:v>42000</c:v>
                </c:pt>
                <c:pt idx="65">
                  <c:v>42000</c:v>
                </c:pt>
                <c:pt idx="66">
                  <c:v>42000</c:v>
                </c:pt>
                <c:pt idx="67">
                  <c:v>42000</c:v>
                </c:pt>
                <c:pt idx="68">
                  <c:v>42000</c:v>
                </c:pt>
                <c:pt idx="69">
                  <c:v>42000</c:v>
                </c:pt>
                <c:pt idx="70">
                  <c:v>42000</c:v>
                </c:pt>
                <c:pt idx="71">
                  <c:v>42000</c:v>
                </c:pt>
                <c:pt idx="72">
                  <c:v>42000</c:v>
                </c:pt>
                <c:pt idx="73">
                  <c:v>42000</c:v>
                </c:pt>
                <c:pt idx="74">
                  <c:v>42000</c:v>
                </c:pt>
                <c:pt idx="75">
                  <c:v>42000</c:v>
                </c:pt>
                <c:pt idx="76">
                  <c:v>42000</c:v>
                </c:pt>
                <c:pt idx="77">
                  <c:v>42000</c:v>
                </c:pt>
                <c:pt idx="78">
                  <c:v>42000</c:v>
                </c:pt>
                <c:pt idx="79">
                  <c:v>42000</c:v>
                </c:pt>
                <c:pt idx="80">
                  <c:v>42000</c:v>
                </c:pt>
                <c:pt idx="81">
                  <c:v>42000</c:v>
                </c:pt>
                <c:pt idx="82">
                  <c:v>42000</c:v>
                </c:pt>
                <c:pt idx="83">
                  <c:v>42000</c:v>
                </c:pt>
                <c:pt idx="84">
                  <c:v>42000</c:v>
                </c:pt>
                <c:pt idx="85">
                  <c:v>42000</c:v>
                </c:pt>
                <c:pt idx="86">
                  <c:v>42000</c:v>
                </c:pt>
                <c:pt idx="87">
                  <c:v>42000</c:v>
                </c:pt>
                <c:pt idx="88">
                  <c:v>42000</c:v>
                </c:pt>
                <c:pt idx="89">
                  <c:v>42000</c:v>
                </c:pt>
                <c:pt idx="90">
                  <c:v>42000</c:v>
                </c:pt>
                <c:pt idx="91">
                  <c:v>42000</c:v>
                </c:pt>
                <c:pt idx="92">
                  <c:v>42000</c:v>
                </c:pt>
                <c:pt idx="93">
                  <c:v>42000</c:v>
                </c:pt>
                <c:pt idx="94">
                  <c:v>42000</c:v>
                </c:pt>
                <c:pt idx="95">
                  <c:v>42000</c:v>
                </c:pt>
                <c:pt idx="96">
                  <c:v>42000</c:v>
                </c:pt>
                <c:pt idx="97">
                  <c:v>42000</c:v>
                </c:pt>
                <c:pt idx="98">
                  <c:v>93700</c:v>
                </c:pt>
                <c:pt idx="99">
                  <c:v>94060</c:v>
                </c:pt>
                <c:pt idx="100">
                  <c:v>91550</c:v>
                </c:pt>
                <c:pt idx="101">
                  <c:v>93160</c:v>
                </c:pt>
                <c:pt idx="102">
                  <c:v>94560</c:v>
                </c:pt>
                <c:pt idx="103">
                  <c:v>96940</c:v>
                </c:pt>
                <c:pt idx="104">
                  <c:v>116500</c:v>
                </c:pt>
                <c:pt idx="105">
                  <c:v>114700</c:v>
                </c:pt>
                <c:pt idx="106">
                  <c:v>105410</c:v>
                </c:pt>
                <c:pt idx="107">
                  <c:v>105980</c:v>
                </c:pt>
                <c:pt idx="108">
                  <c:v>112960</c:v>
                </c:pt>
                <c:pt idx="109">
                  <c:v>105770</c:v>
                </c:pt>
                <c:pt idx="110">
                  <c:v>101480</c:v>
                </c:pt>
                <c:pt idx="111">
                  <c:v>98170</c:v>
                </c:pt>
                <c:pt idx="112">
                  <c:v>95960</c:v>
                </c:pt>
                <c:pt idx="113">
                  <c:v>89760</c:v>
                </c:pt>
                <c:pt idx="114">
                  <c:v>102540</c:v>
                </c:pt>
                <c:pt idx="115">
                  <c:v>103360</c:v>
                </c:pt>
                <c:pt idx="116">
                  <c:v>109430</c:v>
                </c:pt>
                <c:pt idx="117">
                  <c:v>104280</c:v>
                </c:pt>
                <c:pt idx="118">
                  <c:v>100850</c:v>
                </c:pt>
                <c:pt idx="119">
                  <c:v>106260</c:v>
                </c:pt>
                <c:pt idx="120">
                  <c:v>105550</c:v>
                </c:pt>
                <c:pt idx="121">
                  <c:v>105030</c:v>
                </c:pt>
                <c:pt idx="122">
                  <c:v>107090</c:v>
                </c:pt>
                <c:pt idx="123">
                  <c:v>107120</c:v>
                </c:pt>
                <c:pt idx="124">
                  <c:v>103300</c:v>
                </c:pt>
                <c:pt idx="125">
                  <c:v>103050</c:v>
                </c:pt>
                <c:pt idx="126">
                  <c:v>104140</c:v>
                </c:pt>
                <c:pt idx="127">
                  <c:v>105840</c:v>
                </c:pt>
                <c:pt idx="128">
                  <c:v>105460</c:v>
                </c:pt>
                <c:pt idx="129">
                  <c:v>105090</c:v>
                </c:pt>
                <c:pt idx="130">
                  <c:v>102790</c:v>
                </c:pt>
                <c:pt idx="131">
                  <c:v>104390</c:v>
                </c:pt>
                <c:pt idx="132">
                  <c:v>105430</c:v>
                </c:pt>
                <c:pt idx="133">
                  <c:v>107150</c:v>
                </c:pt>
                <c:pt idx="134">
                  <c:v>110610</c:v>
                </c:pt>
                <c:pt idx="135">
                  <c:v>110110</c:v>
                </c:pt>
                <c:pt idx="136">
                  <c:v>110350</c:v>
                </c:pt>
                <c:pt idx="137">
                  <c:v>109970</c:v>
                </c:pt>
                <c:pt idx="138">
                  <c:v>111890</c:v>
                </c:pt>
                <c:pt idx="139">
                  <c:v>119770</c:v>
                </c:pt>
                <c:pt idx="140">
                  <c:v>123860</c:v>
                </c:pt>
                <c:pt idx="141">
                  <c:v>127950</c:v>
                </c:pt>
                <c:pt idx="142">
                  <c:v>136890</c:v>
                </c:pt>
                <c:pt idx="143">
                  <c:v>135110</c:v>
                </c:pt>
                <c:pt idx="144">
                  <c:v>134470</c:v>
                </c:pt>
                <c:pt idx="145">
                  <c:v>129630</c:v>
                </c:pt>
                <c:pt idx="146">
                  <c:v>138160</c:v>
                </c:pt>
                <c:pt idx="147">
                  <c:v>135330</c:v>
                </c:pt>
                <c:pt idx="148">
                  <c:v>137160</c:v>
                </c:pt>
                <c:pt idx="149">
                  <c:v>135410</c:v>
                </c:pt>
                <c:pt idx="150">
                  <c:v>135539</c:v>
                </c:pt>
                <c:pt idx="151">
                  <c:v>112142</c:v>
                </c:pt>
                <c:pt idx="152">
                  <c:v>124301</c:v>
                </c:pt>
                <c:pt idx="153">
                  <c:v>138742</c:v>
                </c:pt>
                <c:pt idx="154">
                  <c:v>141590</c:v>
                </c:pt>
                <c:pt idx="155">
                  <c:v>143248</c:v>
                </c:pt>
                <c:pt idx="156">
                  <c:v>92697</c:v>
                </c:pt>
                <c:pt idx="157">
                  <c:v>140917</c:v>
                </c:pt>
                <c:pt idx="158">
                  <c:v>158954</c:v>
                </c:pt>
                <c:pt idx="159">
                  <c:v>175883</c:v>
                </c:pt>
                <c:pt idx="160">
                  <c:v>164500</c:v>
                </c:pt>
                <c:pt idx="161">
                  <c:v>163033</c:v>
                </c:pt>
                <c:pt idx="162">
                  <c:v>160398</c:v>
                </c:pt>
                <c:pt idx="163">
                  <c:v>160398</c:v>
                </c:pt>
                <c:pt idx="164">
                  <c:v>141532</c:v>
                </c:pt>
                <c:pt idx="165">
                  <c:v>137561</c:v>
                </c:pt>
                <c:pt idx="166">
                  <c:v>132893</c:v>
                </c:pt>
                <c:pt idx="167">
                  <c:v>124132</c:v>
                </c:pt>
                <c:pt idx="168">
                  <c:v>133796</c:v>
                </c:pt>
                <c:pt idx="169">
                  <c:v>134438</c:v>
                </c:pt>
                <c:pt idx="170">
                  <c:v>145502</c:v>
                </c:pt>
                <c:pt idx="171">
                  <c:v>143468</c:v>
                </c:pt>
                <c:pt idx="172">
                  <c:v>142083</c:v>
                </c:pt>
                <c:pt idx="173">
                  <c:v>138481</c:v>
                </c:pt>
                <c:pt idx="174">
                  <c:v>136387</c:v>
                </c:pt>
                <c:pt idx="175">
                  <c:v>140876</c:v>
                </c:pt>
                <c:pt idx="176">
                  <c:v>139212</c:v>
                </c:pt>
                <c:pt idx="177">
                  <c:v>137333</c:v>
                </c:pt>
                <c:pt idx="178">
                  <c:v>136195</c:v>
                </c:pt>
                <c:pt idx="179">
                  <c:v>136329</c:v>
                </c:pt>
                <c:pt idx="180">
                  <c:v>138361</c:v>
                </c:pt>
                <c:pt idx="181">
                  <c:v>137575</c:v>
                </c:pt>
                <c:pt idx="182">
                  <c:v>135631</c:v>
                </c:pt>
                <c:pt idx="183">
                  <c:v>136347</c:v>
                </c:pt>
                <c:pt idx="184">
                  <c:v>136347</c:v>
                </c:pt>
                <c:pt idx="185">
                  <c:v>136217</c:v>
                </c:pt>
                <c:pt idx="186">
                  <c:v>138680</c:v>
                </c:pt>
                <c:pt idx="187">
                  <c:v>142215</c:v>
                </c:pt>
                <c:pt idx="188">
                  <c:v>140852</c:v>
                </c:pt>
                <c:pt idx="189">
                  <c:v>145078</c:v>
                </c:pt>
                <c:pt idx="190">
                  <c:v>145078</c:v>
                </c:pt>
                <c:pt idx="191">
                  <c:v>141082</c:v>
                </c:pt>
                <c:pt idx="192">
                  <c:v>140013</c:v>
                </c:pt>
                <c:pt idx="193">
                  <c:v>145306</c:v>
                </c:pt>
                <c:pt idx="194">
                  <c:v>142144</c:v>
                </c:pt>
                <c:pt idx="195">
                  <c:v>142144</c:v>
                </c:pt>
                <c:pt idx="196">
                  <c:v>142244</c:v>
                </c:pt>
                <c:pt idx="197">
                  <c:v>139045</c:v>
                </c:pt>
                <c:pt idx="198">
                  <c:v>134571</c:v>
                </c:pt>
                <c:pt idx="199">
                  <c:v>133146</c:v>
                </c:pt>
                <c:pt idx="200">
                  <c:v>131447</c:v>
                </c:pt>
                <c:pt idx="201">
                  <c:v>122307</c:v>
                </c:pt>
                <c:pt idx="202">
                  <c:v>90040</c:v>
                </c:pt>
                <c:pt idx="203">
                  <c:v>90150</c:v>
                </c:pt>
                <c:pt idx="204">
                  <c:v>90150</c:v>
                </c:pt>
                <c:pt idx="205">
                  <c:v>90290</c:v>
                </c:pt>
                <c:pt idx="206">
                  <c:v>91510</c:v>
                </c:pt>
                <c:pt idx="207">
                  <c:v>90440</c:v>
                </c:pt>
                <c:pt idx="208">
                  <c:v>90440</c:v>
                </c:pt>
                <c:pt idx="209">
                  <c:v>90480</c:v>
                </c:pt>
                <c:pt idx="210">
                  <c:v>90900</c:v>
                </c:pt>
                <c:pt idx="211">
                  <c:v>91050</c:v>
                </c:pt>
                <c:pt idx="212">
                  <c:v>92040</c:v>
                </c:pt>
                <c:pt idx="213">
                  <c:v>92040</c:v>
                </c:pt>
                <c:pt idx="214">
                  <c:v>91920</c:v>
                </c:pt>
                <c:pt idx="215">
                  <c:v>91820</c:v>
                </c:pt>
                <c:pt idx="216">
                  <c:v>91720</c:v>
                </c:pt>
                <c:pt idx="217">
                  <c:v>91990</c:v>
                </c:pt>
                <c:pt idx="218">
                  <c:v>91990</c:v>
                </c:pt>
                <c:pt idx="219">
                  <c:v>92480</c:v>
                </c:pt>
                <c:pt idx="220">
                  <c:v>92310</c:v>
                </c:pt>
                <c:pt idx="221">
                  <c:v>89080</c:v>
                </c:pt>
                <c:pt idx="222">
                  <c:v>87480</c:v>
                </c:pt>
                <c:pt idx="223">
                  <c:v>87480</c:v>
                </c:pt>
                <c:pt idx="224">
                  <c:v>88220</c:v>
                </c:pt>
                <c:pt idx="225">
                  <c:v>90880</c:v>
                </c:pt>
                <c:pt idx="226">
                  <c:v>81580</c:v>
                </c:pt>
                <c:pt idx="227">
                  <c:v>83066</c:v>
                </c:pt>
                <c:pt idx="228">
                  <c:v>92673</c:v>
                </c:pt>
                <c:pt idx="229">
                  <c:v>93512</c:v>
                </c:pt>
                <c:pt idx="230">
                  <c:v>107467</c:v>
                </c:pt>
                <c:pt idx="231">
                  <c:v>83782</c:v>
                </c:pt>
                <c:pt idx="232">
                  <c:v>91150</c:v>
                </c:pt>
                <c:pt idx="233">
                  <c:v>96920</c:v>
                </c:pt>
                <c:pt idx="234">
                  <c:v>90520</c:v>
                </c:pt>
                <c:pt idx="235">
                  <c:v>89709</c:v>
                </c:pt>
                <c:pt idx="236">
                  <c:v>95480</c:v>
                </c:pt>
                <c:pt idx="237">
                  <c:v>116761</c:v>
                </c:pt>
                <c:pt idx="238">
                  <c:v>116761</c:v>
                </c:pt>
                <c:pt idx="239">
                  <c:v>90930</c:v>
                </c:pt>
                <c:pt idx="240">
                  <c:v>98650</c:v>
                </c:pt>
                <c:pt idx="241">
                  <c:v>88190</c:v>
                </c:pt>
                <c:pt idx="242">
                  <c:v>80955</c:v>
                </c:pt>
                <c:pt idx="243">
                  <c:v>93202</c:v>
                </c:pt>
                <c:pt idx="244">
                  <c:v>93202</c:v>
                </c:pt>
                <c:pt idx="245">
                  <c:v>86584</c:v>
                </c:pt>
                <c:pt idx="246">
                  <c:v>79966</c:v>
                </c:pt>
                <c:pt idx="247">
                  <c:v>82873</c:v>
                </c:pt>
                <c:pt idx="248">
                  <c:v>79824</c:v>
                </c:pt>
                <c:pt idx="249">
                  <c:v>81095</c:v>
                </c:pt>
                <c:pt idx="250">
                  <c:v>84398</c:v>
                </c:pt>
                <c:pt idx="251">
                  <c:v>79510</c:v>
                </c:pt>
                <c:pt idx="252">
                  <c:v>85464.5</c:v>
                </c:pt>
                <c:pt idx="253">
                  <c:v>91419</c:v>
                </c:pt>
                <c:pt idx="254">
                  <c:v>82973</c:v>
                </c:pt>
                <c:pt idx="255">
                  <c:v>80044</c:v>
                </c:pt>
                <c:pt idx="256">
                  <c:v>80072</c:v>
                </c:pt>
                <c:pt idx="257">
                  <c:v>80659</c:v>
                </c:pt>
                <c:pt idx="258">
                  <c:v>79971</c:v>
                </c:pt>
                <c:pt idx="259">
                  <c:v>80039</c:v>
                </c:pt>
                <c:pt idx="260">
                  <c:v>80195</c:v>
                </c:pt>
                <c:pt idx="261">
                  <c:v>79466</c:v>
                </c:pt>
                <c:pt idx="262">
                  <c:v>80137</c:v>
                </c:pt>
                <c:pt idx="263">
                  <c:v>79731</c:v>
                </c:pt>
                <c:pt idx="264">
                  <c:v>79642</c:v>
                </c:pt>
                <c:pt idx="265">
                  <c:v>79553</c:v>
                </c:pt>
                <c:pt idx="266">
                  <c:v>80005</c:v>
                </c:pt>
                <c:pt idx="267">
                  <c:v>79909</c:v>
                </c:pt>
                <c:pt idx="268">
                  <c:v>98238</c:v>
                </c:pt>
                <c:pt idx="269">
                  <c:v>82622</c:v>
                </c:pt>
                <c:pt idx="270">
                  <c:v>103200</c:v>
                </c:pt>
                <c:pt idx="271">
                  <c:v>83570</c:v>
                </c:pt>
                <c:pt idx="272">
                  <c:v>85313</c:v>
                </c:pt>
                <c:pt idx="273">
                  <c:v>85341</c:v>
                </c:pt>
                <c:pt idx="274">
                  <c:v>98510</c:v>
                </c:pt>
                <c:pt idx="275">
                  <c:v>96341.5</c:v>
                </c:pt>
                <c:pt idx="276">
                  <c:v>94173</c:v>
                </c:pt>
                <c:pt idx="277">
                  <c:v>79684</c:v>
                </c:pt>
                <c:pt idx="278">
                  <c:v>86888</c:v>
                </c:pt>
                <c:pt idx="279">
                  <c:v>85858</c:v>
                </c:pt>
                <c:pt idx="280">
                  <c:v>85693</c:v>
                </c:pt>
                <c:pt idx="281">
                  <c:v>85651</c:v>
                </c:pt>
                <c:pt idx="282">
                  <c:v>85609</c:v>
                </c:pt>
                <c:pt idx="283">
                  <c:v>86205</c:v>
                </c:pt>
                <c:pt idx="284">
                  <c:v>86756.5</c:v>
                </c:pt>
                <c:pt idx="285">
                  <c:v>87308</c:v>
                </c:pt>
                <c:pt idx="286">
                  <c:v>86879</c:v>
                </c:pt>
                <c:pt idx="287">
                  <c:v>87715</c:v>
                </c:pt>
                <c:pt idx="288">
                  <c:v>87869</c:v>
                </c:pt>
                <c:pt idx="289">
                  <c:v>87424</c:v>
                </c:pt>
                <c:pt idx="290">
                  <c:v>86979</c:v>
                </c:pt>
                <c:pt idx="291">
                  <c:v>89664</c:v>
                </c:pt>
                <c:pt idx="292">
                  <c:v>88523</c:v>
                </c:pt>
                <c:pt idx="293">
                  <c:v>88981</c:v>
                </c:pt>
                <c:pt idx="294">
                  <c:v>89437</c:v>
                </c:pt>
                <c:pt idx="295">
                  <c:v>92934</c:v>
                </c:pt>
                <c:pt idx="296">
                  <c:v>88374</c:v>
                </c:pt>
                <c:pt idx="297">
                  <c:v>89461</c:v>
                </c:pt>
                <c:pt idx="298">
                  <c:v>109000</c:v>
                </c:pt>
                <c:pt idx="299">
                  <c:v>88937</c:v>
                </c:pt>
                <c:pt idx="300">
                  <c:v>89639</c:v>
                </c:pt>
                <c:pt idx="301">
                  <c:v>92970</c:v>
                </c:pt>
                <c:pt idx="302">
                  <c:v>88878</c:v>
                </c:pt>
                <c:pt idx="303">
                  <c:v>88844</c:v>
                </c:pt>
                <c:pt idx="304">
                  <c:v>89362</c:v>
                </c:pt>
                <c:pt idx="305">
                  <c:v>90077</c:v>
                </c:pt>
                <c:pt idx="306">
                  <c:v>90359.5</c:v>
                </c:pt>
                <c:pt idx="307">
                  <c:v>90500.75</c:v>
                </c:pt>
                <c:pt idx="308">
                  <c:v>90571.375</c:v>
                </c:pt>
                <c:pt idx="309">
                  <c:v>90606.6875</c:v>
                </c:pt>
                <c:pt idx="310">
                  <c:v>91905</c:v>
                </c:pt>
                <c:pt idx="311">
                  <c:v>92536.5</c:v>
                </c:pt>
                <c:pt idx="312">
                  <c:v>92852.25</c:v>
                </c:pt>
                <c:pt idx="313">
                  <c:v>93010.125</c:v>
                </c:pt>
                <c:pt idx="314">
                  <c:v>93089.0625</c:v>
                </c:pt>
                <c:pt idx="315">
                  <c:v>93128.53125</c:v>
                </c:pt>
                <c:pt idx="316">
                  <c:v>93148.265625</c:v>
                </c:pt>
                <c:pt idx="317">
                  <c:v>93158.132813000004</c:v>
                </c:pt>
                <c:pt idx="318">
                  <c:v>93163.066407000006</c:v>
                </c:pt>
                <c:pt idx="319">
                  <c:v>93165.533204000007</c:v>
                </c:pt>
                <c:pt idx="320">
                  <c:v>93166.766602000003</c:v>
                </c:pt>
                <c:pt idx="321">
                  <c:v>92996</c:v>
                </c:pt>
                <c:pt idx="322">
                  <c:v>92910</c:v>
                </c:pt>
                <c:pt idx="323">
                  <c:v>92867</c:v>
                </c:pt>
                <c:pt idx="324">
                  <c:v>92845.5</c:v>
                </c:pt>
                <c:pt idx="325">
                  <c:v>92834.75</c:v>
                </c:pt>
                <c:pt idx="326">
                  <c:v>92824</c:v>
                </c:pt>
                <c:pt idx="327">
                  <c:v>94351.5</c:v>
                </c:pt>
                <c:pt idx="328">
                  <c:v>95115.25</c:v>
                </c:pt>
                <c:pt idx="329">
                  <c:v>95879</c:v>
                </c:pt>
                <c:pt idx="330">
                  <c:v>95636</c:v>
                </c:pt>
                <c:pt idx="331">
                  <c:v>96669</c:v>
                </c:pt>
                <c:pt idx="332">
                  <c:v>97711</c:v>
                </c:pt>
                <c:pt idx="333">
                  <c:v>98666</c:v>
                </c:pt>
                <c:pt idx="334">
                  <c:v>97853</c:v>
                </c:pt>
                <c:pt idx="335">
                  <c:v>98604</c:v>
                </c:pt>
                <c:pt idx="336">
                  <c:v>98714</c:v>
                </c:pt>
                <c:pt idx="337">
                  <c:v>98455</c:v>
                </c:pt>
                <c:pt idx="338">
                  <c:v>100461</c:v>
                </c:pt>
                <c:pt idx="339">
                  <c:v>112600</c:v>
                </c:pt>
                <c:pt idx="340">
                  <c:v>101396</c:v>
                </c:pt>
                <c:pt idx="341">
                  <c:v>101126</c:v>
                </c:pt>
                <c:pt idx="342">
                  <c:v>101918</c:v>
                </c:pt>
                <c:pt idx="343">
                  <c:v>101802</c:v>
                </c:pt>
                <c:pt idx="344">
                  <c:v>106317</c:v>
                </c:pt>
                <c:pt idx="345">
                  <c:v>108272</c:v>
                </c:pt>
                <c:pt idx="346">
                  <c:v>110107</c:v>
                </c:pt>
                <c:pt idx="347">
                  <c:v>109675</c:v>
                </c:pt>
                <c:pt idx="348">
                  <c:v>109195</c:v>
                </c:pt>
                <c:pt idx="349">
                  <c:v>109153</c:v>
                </c:pt>
                <c:pt idx="350">
                  <c:v>110789.5</c:v>
                </c:pt>
                <c:pt idx="351">
                  <c:v>112426</c:v>
                </c:pt>
                <c:pt idx="352">
                  <c:v>112163</c:v>
                </c:pt>
                <c:pt idx="353">
                  <c:v>111912</c:v>
                </c:pt>
                <c:pt idx="354">
                  <c:v>110256</c:v>
                </c:pt>
                <c:pt idx="355">
                  <c:v>107560</c:v>
                </c:pt>
                <c:pt idx="356">
                  <c:v>107153</c:v>
                </c:pt>
                <c:pt idx="357">
                  <c:v>108159</c:v>
                </c:pt>
                <c:pt idx="358">
                  <c:v>107952</c:v>
                </c:pt>
                <c:pt idx="359">
                  <c:v>107177</c:v>
                </c:pt>
                <c:pt idx="360">
                  <c:v>109270</c:v>
                </c:pt>
                <c:pt idx="361">
                  <c:v>117999</c:v>
                </c:pt>
                <c:pt idx="362">
                  <c:v>107226</c:v>
                </c:pt>
                <c:pt idx="363">
                  <c:v>109593</c:v>
                </c:pt>
                <c:pt idx="364">
                  <c:v>111960</c:v>
                </c:pt>
                <c:pt idx="365">
                  <c:v>111870</c:v>
                </c:pt>
                <c:pt idx="366">
                  <c:v>111286</c:v>
                </c:pt>
                <c:pt idx="367">
                  <c:v>111777</c:v>
                </c:pt>
                <c:pt idx="368">
                  <c:v>111279</c:v>
                </c:pt>
                <c:pt idx="369">
                  <c:v>113259</c:v>
                </c:pt>
                <c:pt idx="370">
                  <c:v>113554</c:v>
                </c:pt>
                <c:pt idx="371">
                  <c:v>113827</c:v>
                </c:pt>
                <c:pt idx="372">
                  <c:v>113736</c:v>
                </c:pt>
                <c:pt idx="373">
                  <c:v>113142</c:v>
                </c:pt>
                <c:pt idx="374">
                  <c:v>109711</c:v>
                </c:pt>
                <c:pt idx="375">
                  <c:v>113511</c:v>
                </c:pt>
                <c:pt idx="376">
                  <c:v>114761</c:v>
                </c:pt>
                <c:pt idx="377">
                  <c:v>114860</c:v>
                </c:pt>
                <c:pt idx="378">
                  <c:v>114160</c:v>
                </c:pt>
                <c:pt idx="379">
                  <c:v>114736.5</c:v>
                </c:pt>
                <c:pt idx="380">
                  <c:v>115313</c:v>
                </c:pt>
                <c:pt idx="381">
                  <c:v>115788</c:v>
                </c:pt>
                <c:pt idx="382">
                  <c:v>115831</c:v>
                </c:pt>
                <c:pt idx="383">
                  <c:v>116262</c:v>
                </c:pt>
                <c:pt idx="384">
                  <c:v>115967.5</c:v>
                </c:pt>
                <c:pt idx="385">
                  <c:v>115673</c:v>
                </c:pt>
                <c:pt idx="386">
                  <c:v>115960</c:v>
                </c:pt>
                <c:pt idx="387">
                  <c:v>116692</c:v>
                </c:pt>
                <c:pt idx="388">
                  <c:v>116765</c:v>
                </c:pt>
                <c:pt idx="389">
                  <c:v>116919</c:v>
                </c:pt>
                <c:pt idx="390">
                  <c:v>116702</c:v>
                </c:pt>
                <c:pt idx="391">
                  <c:v>116863</c:v>
                </c:pt>
                <c:pt idx="392">
                  <c:v>116516</c:v>
                </c:pt>
                <c:pt idx="393">
                  <c:v>115845</c:v>
                </c:pt>
                <c:pt idx="394">
                  <c:v>114515</c:v>
                </c:pt>
                <c:pt idx="395">
                  <c:v>114251</c:v>
                </c:pt>
                <c:pt idx="396">
                  <c:v>114543</c:v>
                </c:pt>
                <c:pt idx="397">
                  <c:v>114028</c:v>
                </c:pt>
                <c:pt idx="398">
                  <c:v>114966</c:v>
                </c:pt>
                <c:pt idx="399">
                  <c:v>114227</c:v>
                </c:pt>
                <c:pt idx="400">
                  <c:v>115740</c:v>
                </c:pt>
                <c:pt idx="401">
                  <c:v>114235</c:v>
                </c:pt>
                <c:pt idx="402">
                  <c:v>114642</c:v>
                </c:pt>
                <c:pt idx="403">
                  <c:v>113811</c:v>
                </c:pt>
                <c:pt idx="404">
                  <c:v>114404</c:v>
                </c:pt>
                <c:pt idx="405">
                  <c:v>114616</c:v>
                </c:pt>
                <c:pt idx="406">
                  <c:v>114473</c:v>
                </c:pt>
                <c:pt idx="407">
                  <c:v>115049</c:v>
                </c:pt>
                <c:pt idx="408">
                  <c:v>114396</c:v>
                </c:pt>
                <c:pt idx="409">
                  <c:v>114416</c:v>
                </c:pt>
                <c:pt idx="410">
                  <c:v>113494</c:v>
                </c:pt>
                <c:pt idx="411">
                  <c:v>112806</c:v>
                </c:pt>
                <c:pt idx="412">
                  <c:v>113298</c:v>
                </c:pt>
                <c:pt idx="413">
                  <c:v>114605</c:v>
                </c:pt>
                <c:pt idx="414">
                  <c:v>112412</c:v>
                </c:pt>
                <c:pt idx="415">
                  <c:v>112282</c:v>
                </c:pt>
                <c:pt idx="416">
                  <c:v>112359</c:v>
                </c:pt>
                <c:pt idx="417">
                  <c:v>112913</c:v>
                </c:pt>
                <c:pt idx="418">
                  <c:v>113009</c:v>
                </c:pt>
                <c:pt idx="419">
                  <c:v>111286</c:v>
                </c:pt>
                <c:pt idx="420">
                  <c:v>111713</c:v>
                </c:pt>
                <c:pt idx="421">
                  <c:v>111291</c:v>
                </c:pt>
                <c:pt idx="422">
                  <c:v>111145</c:v>
                </c:pt>
                <c:pt idx="423">
                  <c:v>111022</c:v>
                </c:pt>
                <c:pt idx="424">
                  <c:v>110685</c:v>
                </c:pt>
                <c:pt idx="425">
                  <c:v>110884</c:v>
                </c:pt>
                <c:pt idx="426">
                  <c:v>108291</c:v>
                </c:pt>
                <c:pt idx="427">
                  <c:v>108310</c:v>
                </c:pt>
                <c:pt idx="428">
                  <c:v>107810</c:v>
                </c:pt>
                <c:pt idx="429">
                  <c:v>107880</c:v>
                </c:pt>
                <c:pt idx="430">
                  <c:v>117468</c:v>
                </c:pt>
                <c:pt idx="431">
                  <c:v>109964</c:v>
                </c:pt>
                <c:pt idx="432">
                  <c:v>109111</c:v>
                </c:pt>
                <c:pt idx="433">
                  <c:v>109536</c:v>
                </c:pt>
                <c:pt idx="434">
                  <c:v>108898</c:v>
                </c:pt>
                <c:pt idx="435">
                  <c:v>111755</c:v>
                </c:pt>
                <c:pt idx="436">
                  <c:v>109681</c:v>
                </c:pt>
                <c:pt idx="437">
                  <c:v>109850</c:v>
                </c:pt>
                <c:pt idx="438">
                  <c:v>110105</c:v>
                </c:pt>
                <c:pt idx="439">
                  <c:v>109901</c:v>
                </c:pt>
                <c:pt idx="440">
                  <c:v>110115</c:v>
                </c:pt>
                <c:pt idx="441">
                  <c:v>109810</c:v>
                </c:pt>
                <c:pt idx="442">
                  <c:v>108900</c:v>
                </c:pt>
                <c:pt idx="443">
                  <c:v>109528</c:v>
                </c:pt>
                <c:pt idx="444">
                  <c:v>107060</c:v>
                </c:pt>
                <c:pt idx="445">
                  <c:v>110149</c:v>
                </c:pt>
                <c:pt idx="446">
                  <c:v>115716</c:v>
                </c:pt>
                <c:pt idx="447">
                  <c:v>110606</c:v>
                </c:pt>
                <c:pt idx="448">
                  <c:v>108577</c:v>
                </c:pt>
                <c:pt idx="449">
                  <c:v>108517</c:v>
                </c:pt>
                <c:pt idx="450">
                  <c:v>110328</c:v>
                </c:pt>
                <c:pt idx="451">
                  <c:v>111702</c:v>
                </c:pt>
                <c:pt idx="452">
                  <c:v>112000</c:v>
                </c:pt>
                <c:pt idx="453">
                  <c:v>108523</c:v>
                </c:pt>
                <c:pt idx="454">
                  <c:v>108277</c:v>
                </c:pt>
                <c:pt idx="455">
                  <c:v>107384</c:v>
                </c:pt>
                <c:pt idx="456">
                  <c:v>107239</c:v>
                </c:pt>
                <c:pt idx="457">
                  <c:v>107542</c:v>
                </c:pt>
                <c:pt idx="458">
                  <c:v>107735</c:v>
                </c:pt>
                <c:pt idx="459">
                  <c:v>106388</c:v>
                </c:pt>
                <c:pt idx="460">
                  <c:v>106711</c:v>
                </c:pt>
                <c:pt idx="461">
                  <c:v>106463</c:v>
                </c:pt>
                <c:pt idx="462">
                  <c:v>107004</c:v>
                </c:pt>
                <c:pt idx="463">
                  <c:v>107507</c:v>
                </c:pt>
                <c:pt idx="464">
                  <c:v>106254</c:v>
                </c:pt>
                <c:pt idx="465">
                  <c:v>108242</c:v>
                </c:pt>
                <c:pt idx="466">
                  <c:v>107623</c:v>
                </c:pt>
                <c:pt idx="467">
                  <c:v>107416</c:v>
                </c:pt>
                <c:pt idx="468">
                  <c:v>107495</c:v>
                </c:pt>
                <c:pt idx="469">
                  <c:v>107354</c:v>
                </c:pt>
                <c:pt idx="470">
                  <c:v>107464</c:v>
                </c:pt>
                <c:pt idx="471">
                  <c:v>106429</c:v>
                </c:pt>
                <c:pt idx="472">
                  <c:v>106335</c:v>
                </c:pt>
                <c:pt idx="473">
                  <c:v>105605</c:v>
                </c:pt>
                <c:pt idx="474">
                  <c:v>106333</c:v>
                </c:pt>
                <c:pt idx="475">
                  <c:v>106010</c:v>
                </c:pt>
                <c:pt idx="476">
                  <c:v>106373</c:v>
                </c:pt>
                <c:pt idx="477">
                  <c:v>106137</c:v>
                </c:pt>
                <c:pt idx="478">
                  <c:v>106554</c:v>
                </c:pt>
                <c:pt idx="479">
                  <c:v>106911</c:v>
                </c:pt>
                <c:pt idx="480">
                  <c:v>106302</c:v>
                </c:pt>
                <c:pt idx="481">
                  <c:v>107783</c:v>
                </c:pt>
                <c:pt idx="482">
                  <c:v>107542</c:v>
                </c:pt>
                <c:pt idx="483">
                  <c:v>106661</c:v>
                </c:pt>
                <c:pt idx="484">
                  <c:v>113965</c:v>
                </c:pt>
                <c:pt idx="485">
                  <c:v>107066</c:v>
                </c:pt>
                <c:pt idx="486">
                  <c:v>107317.5</c:v>
                </c:pt>
                <c:pt idx="487">
                  <c:v>107569</c:v>
                </c:pt>
                <c:pt idx="488">
                  <c:v>107346</c:v>
                </c:pt>
                <c:pt idx="489">
                  <c:v>107390</c:v>
                </c:pt>
                <c:pt idx="490">
                  <c:v>107227</c:v>
                </c:pt>
                <c:pt idx="491">
                  <c:v>108315</c:v>
                </c:pt>
                <c:pt idx="492">
                  <c:v>108228</c:v>
                </c:pt>
                <c:pt idx="493">
                  <c:v>108813</c:v>
                </c:pt>
                <c:pt idx="494">
                  <c:v>108150</c:v>
                </c:pt>
                <c:pt idx="495">
                  <c:v>108545</c:v>
                </c:pt>
                <c:pt idx="496">
                  <c:v>112947</c:v>
                </c:pt>
                <c:pt idx="497">
                  <c:v>109028</c:v>
                </c:pt>
                <c:pt idx="498">
                  <c:v>109056</c:v>
                </c:pt>
                <c:pt idx="499">
                  <c:v>110032</c:v>
                </c:pt>
                <c:pt idx="500">
                  <c:v>109564</c:v>
                </c:pt>
                <c:pt idx="501">
                  <c:v>108769</c:v>
                </c:pt>
                <c:pt idx="502">
                  <c:v>112404</c:v>
                </c:pt>
                <c:pt idx="503">
                  <c:v>109113</c:v>
                </c:pt>
                <c:pt idx="504">
                  <c:v>109339</c:v>
                </c:pt>
                <c:pt idx="505">
                  <c:v>109813</c:v>
                </c:pt>
                <c:pt idx="506">
                  <c:v>113672</c:v>
                </c:pt>
                <c:pt idx="507">
                  <c:v>112585</c:v>
                </c:pt>
                <c:pt idx="508">
                  <c:v>109179</c:v>
                </c:pt>
                <c:pt idx="509">
                  <c:v>111389</c:v>
                </c:pt>
                <c:pt idx="510">
                  <c:v>112127</c:v>
                </c:pt>
                <c:pt idx="511">
                  <c:v>112644</c:v>
                </c:pt>
                <c:pt idx="512">
                  <c:v>113519</c:v>
                </c:pt>
                <c:pt idx="513">
                  <c:v>112704</c:v>
                </c:pt>
                <c:pt idx="514">
                  <c:v>113009</c:v>
                </c:pt>
                <c:pt idx="515">
                  <c:v>112688</c:v>
                </c:pt>
                <c:pt idx="516">
                  <c:v>114367</c:v>
                </c:pt>
                <c:pt idx="517">
                  <c:v>114008</c:v>
                </c:pt>
                <c:pt idx="518">
                  <c:v>114828</c:v>
                </c:pt>
                <c:pt idx="519">
                  <c:v>115875</c:v>
                </c:pt>
                <c:pt idx="520">
                  <c:v>110365</c:v>
                </c:pt>
                <c:pt idx="521">
                  <c:v>116701</c:v>
                </c:pt>
                <c:pt idx="522">
                  <c:v>115206</c:v>
                </c:pt>
                <c:pt idx="523">
                  <c:v>117672</c:v>
                </c:pt>
                <c:pt idx="524">
                  <c:v>117787</c:v>
                </c:pt>
                <c:pt idx="525">
                  <c:v>118347</c:v>
                </c:pt>
                <c:pt idx="526">
                  <c:v>115484</c:v>
                </c:pt>
                <c:pt idx="527">
                  <c:v>116882</c:v>
                </c:pt>
                <c:pt idx="528">
                  <c:v>117669</c:v>
                </c:pt>
                <c:pt idx="529">
                  <c:v>139000</c:v>
                </c:pt>
                <c:pt idx="530">
                  <c:v>118048</c:v>
                </c:pt>
                <c:pt idx="531">
                  <c:v>117541</c:v>
                </c:pt>
                <c:pt idx="532">
                  <c:v>118150</c:v>
                </c:pt>
                <c:pt idx="533">
                  <c:v>117271</c:v>
                </c:pt>
                <c:pt idx="534">
                  <c:v>119068</c:v>
                </c:pt>
                <c:pt idx="535">
                  <c:v>119566</c:v>
                </c:pt>
                <c:pt idx="536">
                  <c:v>118537</c:v>
                </c:pt>
                <c:pt idx="537">
                  <c:v>119182</c:v>
                </c:pt>
                <c:pt idx="538">
                  <c:v>117234</c:v>
                </c:pt>
                <c:pt idx="539">
                  <c:v>118885</c:v>
                </c:pt>
                <c:pt idx="540">
                  <c:v>118887</c:v>
                </c:pt>
                <c:pt idx="541">
                  <c:v>120452</c:v>
                </c:pt>
                <c:pt idx="542">
                  <c:v>121703</c:v>
                </c:pt>
                <c:pt idx="543">
                  <c:v>120846</c:v>
                </c:pt>
                <c:pt idx="544">
                  <c:v>121607</c:v>
                </c:pt>
                <c:pt idx="545">
                  <c:v>120599</c:v>
                </c:pt>
                <c:pt idx="546">
                  <c:v>121340</c:v>
                </c:pt>
                <c:pt idx="547">
                  <c:v>122157</c:v>
                </c:pt>
                <c:pt idx="548">
                  <c:v>122544</c:v>
                </c:pt>
                <c:pt idx="549">
                  <c:v>122407.5</c:v>
                </c:pt>
                <c:pt idx="550">
                  <c:v>122271</c:v>
                </c:pt>
                <c:pt idx="551">
                  <c:v>116871</c:v>
                </c:pt>
                <c:pt idx="552">
                  <c:v>124521</c:v>
                </c:pt>
                <c:pt idx="553">
                  <c:v>124178</c:v>
                </c:pt>
                <c:pt idx="554">
                  <c:v>125947</c:v>
                </c:pt>
                <c:pt idx="555">
                  <c:v>125290</c:v>
                </c:pt>
                <c:pt idx="556">
                  <c:v>126446</c:v>
                </c:pt>
                <c:pt idx="557">
                  <c:v>128477</c:v>
                </c:pt>
                <c:pt idx="558">
                  <c:v>126557</c:v>
                </c:pt>
                <c:pt idx="559">
                  <c:v>126312</c:v>
                </c:pt>
                <c:pt idx="560">
                  <c:v>126066</c:v>
                </c:pt>
                <c:pt idx="561">
                  <c:v>132749</c:v>
                </c:pt>
                <c:pt idx="562">
                  <c:v>128725</c:v>
                </c:pt>
                <c:pt idx="563">
                  <c:v>128102</c:v>
                </c:pt>
                <c:pt idx="564">
                  <c:v>127686</c:v>
                </c:pt>
                <c:pt idx="565">
                  <c:v>128424</c:v>
                </c:pt>
                <c:pt idx="566">
                  <c:v>128419.5</c:v>
                </c:pt>
                <c:pt idx="567">
                  <c:v>128415</c:v>
                </c:pt>
                <c:pt idx="568">
                  <c:v>132574</c:v>
                </c:pt>
                <c:pt idx="569">
                  <c:v>134164</c:v>
                </c:pt>
                <c:pt idx="570">
                  <c:v>133563</c:v>
                </c:pt>
                <c:pt idx="571">
                  <c:v>136269</c:v>
                </c:pt>
                <c:pt idx="572">
                  <c:v>135836</c:v>
                </c:pt>
                <c:pt idx="573">
                  <c:v>134529</c:v>
                </c:pt>
                <c:pt idx="574">
                  <c:v>134303</c:v>
                </c:pt>
                <c:pt idx="575">
                  <c:v>137452</c:v>
                </c:pt>
                <c:pt idx="576">
                  <c:v>138115</c:v>
                </c:pt>
                <c:pt idx="577">
                  <c:v>136187</c:v>
                </c:pt>
                <c:pt idx="578">
                  <c:v>138520</c:v>
                </c:pt>
                <c:pt idx="579">
                  <c:v>138523</c:v>
                </c:pt>
                <c:pt idx="580">
                  <c:v>135269</c:v>
                </c:pt>
                <c:pt idx="581">
                  <c:v>132015</c:v>
                </c:pt>
                <c:pt idx="582">
                  <c:v>135053</c:v>
                </c:pt>
                <c:pt idx="583">
                  <c:v>137989</c:v>
                </c:pt>
                <c:pt idx="584">
                  <c:v>134408</c:v>
                </c:pt>
                <c:pt idx="585">
                  <c:v>137186</c:v>
                </c:pt>
                <c:pt idx="586">
                  <c:v>136175</c:v>
                </c:pt>
                <c:pt idx="587">
                  <c:v>136007</c:v>
                </c:pt>
                <c:pt idx="588">
                  <c:v>136323</c:v>
                </c:pt>
                <c:pt idx="589">
                  <c:v>135717</c:v>
                </c:pt>
                <c:pt idx="590">
                  <c:v>135414</c:v>
                </c:pt>
                <c:pt idx="591">
                  <c:v>135262.5</c:v>
                </c:pt>
                <c:pt idx="592">
                  <c:v>135111</c:v>
                </c:pt>
                <c:pt idx="593">
                  <c:v>139586</c:v>
                </c:pt>
                <c:pt idx="594">
                  <c:v>137587</c:v>
                </c:pt>
                <c:pt idx="595">
                  <c:v>135588</c:v>
                </c:pt>
                <c:pt idx="596">
                  <c:v>139749</c:v>
                </c:pt>
                <c:pt idx="597">
                  <c:v>136251</c:v>
                </c:pt>
                <c:pt idx="598">
                  <c:v>136508</c:v>
                </c:pt>
                <c:pt idx="599">
                  <c:v>134903</c:v>
                </c:pt>
                <c:pt idx="600">
                  <c:v>136366</c:v>
                </c:pt>
                <c:pt idx="601">
                  <c:v>135439</c:v>
                </c:pt>
                <c:pt idx="602">
                  <c:v>137886</c:v>
                </c:pt>
                <c:pt idx="603">
                  <c:v>134897</c:v>
                </c:pt>
                <c:pt idx="604">
                  <c:v>138291.5</c:v>
                </c:pt>
                <c:pt idx="605">
                  <c:v>141686</c:v>
                </c:pt>
                <c:pt idx="606">
                  <c:v>136773</c:v>
                </c:pt>
                <c:pt idx="607">
                  <c:v>135197</c:v>
                </c:pt>
                <c:pt idx="608">
                  <c:v>135838</c:v>
                </c:pt>
                <c:pt idx="609">
                  <c:v>141532</c:v>
                </c:pt>
                <c:pt idx="610">
                  <c:v>139898</c:v>
                </c:pt>
                <c:pt idx="611">
                  <c:v>139081</c:v>
                </c:pt>
                <c:pt idx="612">
                  <c:v>138264</c:v>
                </c:pt>
                <c:pt idx="613">
                  <c:v>139135</c:v>
                </c:pt>
                <c:pt idx="614">
                  <c:v>139340</c:v>
                </c:pt>
                <c:pt idx="615">
                  <c:v>138106</c:v>
                </c:pt>
                <c:pt idx="616">
                  <c:v>138213.5</c:v>
                </c:pt>
                <c:pt idx="617">
                  <c:v>138267.25</c:v>
                </c:pt>
                <c:pt idx="618">
                  <c:v>138321</c:v>
                </c:pt>
                <c:pt idx="619">
                  <c:v>138177</c:v>
                </c:pt>
                <c:pt idx="620">
                  <c:v>138105</c:v>
                </c:pt>
                <c:pt idx="621">
                  <c:v>138033</c:v>
                </c:pt>
                <c:pt idx="622">
                  <c:v>137622</c:v>
                </c:pt>
                <c:pt idx="623">
                  <c:v>137447.5</c:v>
                </c:pt>
                <c:pt idx="624">
                  <c:v>137273</c:v>
                </c:pt>
                <c:pt idx="625">
                  <c:v>137134</c:v>
                </c:pt>
                <c:pt idx="626">
                  <c:v>140343</c:v>
                </c:pt>
                <c:pt idx="627">
                  <c:v>139598</c:v>
                </c:pt>
                <c:pt idx="628">
                  <c:v>149100</c:v>
                </c:pt>
                <c:pt idx="629">
                  <c:v>138531</c:v>
                </c:pt>
                <c:pt idx="630">
                  <c:v>143169.5</c:v>
                </c:pt>
                <c:pt idx="631">
                  <c:v>147808</c:v>
                </c:pt>
                <c:pt idx="632">
                  <c:v>150071</c:v>
                </c:pt>
                <c:pt idx="633">
                  <c:v>153801</c:v>
                </c:pt>
                <c:pt idx="634">
                  <c:v>153839</c:v>
                </c:pt>
                <c:pt idx="635">
                  <c:v>154228</c:v>
                </c:pt>
                <c:pt idx="636">
                  <c:v>152393</c:v>
                </c:pt>
                <c:pt idx="637">
                  <c:v>155239</c:v>
                </c:pt>
                <c:pt idx="638">
                  <c:v>152818</c:v>
                </c:pt>
                <c:pt idx="639">
                  <c:v>154622</c:v>
                </c:pt>
                <c:pt idx="640">
                  <c:v>157044</c:v>
                </c:pt>
                <c:pt idx="641">
                  <c:v>155926</c:v>
                </c:pt>
                <c:pt idx="642">
                  <c:v>156496</c:v>
                </c:pt>
                <c:pt idx="643">
                  <c:v>156806</c:v>
                </c:pt>
                <c:pt idx="644">
                  <c:v>156679</c:v>
                </c:pt>
                <c:pt idx="645">
                  <c:v>156829</c:v>
                </c:pt>
                <c:pt idx="646">
                  <c:v>157456</c:v>
                </c:pt>
                <c:pt idx="647">
                  <c:v>157245</c:v>
                </c:pt>
                <c:pt idx="648">
                  <c:v>157154</c:v>
                </c:pt>
                <c:pt idx="649">
                  <c:v>154853</c:v>
                </c:pt>
                <c:pt idx="650">
                  <c:v>158503</c:v>
                </c:pt>
                <c:pt idx="651">
                  <c:v>158091</c:v>
                </c:pt>
                <c:pt idx="652">
                  <c:v>158636</c:v>
                </c:pt>
                <c:pt idx="653">
                  <c:v>157280</c:v>
                </c:pt>
                <c:pt idx="654">
                  <c:v>158215</c:v>
                </c:pt>
                <c:pt idx="655">
                  <c:v>160264</c:v>
                </c:pt>
                <c:pt idx="656">
                  <c:v>158410</c:v>
                </c:pt>
                <c:pt idx="657">
                  <c:v>160425</c:v>
                </c:pt>
                <c:pt idx="658">
                  <c:v>161955</c:v>
                </c:pt>
                <c:pt idx="659">
                  <c:v>162761</c:v>
                </c:pt>
                <c:pt idx="660">
                  <c:v>161230</c:v>
                </c:pt>
                <c:pt idx="661">
                  <c:v>163751.5</c:v>
                </c:pt>
                <c:pt idx="662">
                  <c:v>166273</c:v>
                </c:pt>
                <c:pt idx="663">
                  <c:v>164667</c:v>
                </c:pt>
                <c:pt idx="664">
                  <c:v>164537</c:v>
                </c:pt>
                <c:pt idx="665">
                  <c:v>167733</c:v>
                </c:pt>
                <c:pt idx="666">
                  <c:v>167607</c:v>
                </c:pt>
                <c:pt idx="667">
                  <c:v>169510</c:v>
                </c:pt>
                <c:pt idx="668">
                  <c:v>168508</c:v>
                </c:pt>
                <c:pt idx="669">
                  <c:v>168688</c:v>
                </c:pt>
                <c:pt idx="670">
                  <c:v>177147</c:v>
                </c:pt>
                <c:pt idx="671">
                  <c:v>169004</c:v>
                </c:pt>
                <c:pt idx="672">
                  <c:v>174918</c:v>
                </c:pt>
                <c:pt idx="673">
                  <c:v>172239</c:v>
                </c:pt>
                <c:pt idx="674">
                  <c:v>174541</c:v>
                </c:pt>
                <c:pt idx="675">
                  <c:v>173831</c:v>
                </c:pt>
                <c:pt idx="676">
                  <c:v>172661</c:v>
                </c:pt>
                <c:pt idx="677">
                  <c:v>190191.5</c:v>
                </c:pt>
                <c:pt idx="678">
                  <c:v>207722</c:v>
                </c:pt>
                <c:pt idx="679">
                  <c:v>173346</c:v>
                </c:pt>
                <c:pt idx="680">
                  <c:v>180998</c:v>
                </c:pt>
                <c:pt idx="681">
                  <c:v>177037</c:v>
                </c:pt>
                <c:pt idx="682">
                  <c:v>180853</c:v>
                </c:pt>
                <c:pt idx="683">
                  <c:v>183541</c:v>
                </c:pt>
                <c:pt idx="684">
                  <c:v>179087</c:v>
                </c:pt>
                <c:pt idx="685">
                  <c:v>181907</c:v>
                </c:pt>
                <c:pt idx="686">
                  <c:v>179795</c:v>
                </c:pt>
                <c:pt idx="687">
                  <c:v>181718</c:v>
                </c:pt>
                <c:pt idx="688">
                  <c:v>182289</c:v>
                </c:pt>
                <c:pt idx="689">
                  <c:v>181479.5</c:v>
                </c:pt>
                <c:pt idx="690">
                  <c:v>180670</c:v>
                </c:pt>
                <c:pt idx="691">
                  <c:v>183030</c:v>
                </c:pt>
                <c:pt idx="692">
                  <c:v>181950</c:v>
                </c:pt>
                <c:pt idx="693">
                  <c:v>183254</c:v>
                </c:pt>
                <c:pt idx="694">
                  <c:v>184558</c:v>
                </c:pt>
                <c:pt idx="695">
                  <c:v>184509</c:v>
                </c:pt>
                <c:pt idx="696">
                  <c:v>184460</c:v>
                </c:pt>
                <c:pt idx="697">
                  <c:v>185501</c:v>
                </c:pt>
                <c:pt idx="698">
                  <c:v>187860</c:v>
                </c:pt>
                <c:pt idx="699">
                  <c:v>188041</c:v>
                </c:pt>
                <c:pt idx="700">
                  <c:v>188115</c:v>
                </c:pt>
                <c:pt idx="701">
                  <c:v>188189</c:v>
                </c:pt>
                <c:pt idx="702">
                  <c:v>191231</c:v>
                </c:pt>
                <c:pt idx="703">
                  <c:v>187343</c:v>
                </c:pt>
                <c:pt idx="704">
                  <c:v>197803</c:v>
                </c:pt>
                <c:pt idx="705">
                  <c:v>196525</c:v>
                </c:pt>
                <c:pt idx="706">
                  <c:v>193734</c:v>
                </c:pt>
                <c:pt idx="707">
                  <c:v>194244</c:v>
                </c:pt>
                <c:pt idx="708">
                  <c:v>194461</c:v>
                </c:pt>
                <c:pt idx="709">
                  <c:v>196978</c:v>
                </c:pt>
                <c:pt idx="710">
                  <c:v>199009</c:v>
                </c:pt>
                <c:pt idx="711">
                  <c:v>201040</c:v>
                </c:pt>
                <c:pt idx="712">
                  <c:v>200898</c:v>
                </c:pt>
                <c:pt idx="713">
                  <c:v>200756</c:v>
                </c:pt>
                <c:pt idx="714">
                  <c:v>206494</c:v>
                </c:pt>
                <c:pt idx="715">
                  <c:v>208088</c:v>
                </c:pt>
                <c:pt idx="716">
                  <c:v>205488</c:v>
                </c:pt>
                <c:pt idx="717">
                  <c:v>206649</c:v>
                </c:pt>
                <c:pt idx="718">
                  <c:v>209171</c:v>
                </c:pt>
                <c:pt idx="719">
                  <c:v>209400</c:v>
                </c:pt>
                <c:pt idx="720">
                  <c:v>208699</c:v>
                </c:pt>
                <c:pt idx="721">
                  <c:v>208818</c:v>
                </c:pt>
                <c:pt idx="722">
                  <c:v>210016</c:v>
                </c:pt>
                <c:pt idx="723">
                  <c:v>210775</c:v>
                </c:pt>
                <c:pt idx="724">
                  <c:v>210662</c:v>
                </c:pt>
                <c:pt idx="725">
                  <c:v>210986</c:v>
                </c:pt>
                <c:pt idx="726">
                  <c:v>205256</c:v>
                </c:pt>
                <c:pt idx="727">
                  <c:v>211812</c:v>
                </c:pt>
                <c:pt idx="728">
                  <c:v>215556</c:v>
                </c:pt>
                <c:pt idx="729">
                  <c:v>215375</c:v>
                </c:pt>
                <c:pt idx="730">
                  <c:v>218203</c:v>
                </c:pt>
                <c:pt idx="731">
                  <c:v>217413</c:v>
                </c:pt>
                <c:pt idx="732">
                  <c:v>229601</c:v>
                </c:pt>
                <c:pt idx="733">
                  <c:v>219595</c:v>
                </c:pt>
                <c:pt idx="734">
                  <c:v>235530</c:v>
                </c:pt>
                <c:pt idx="735">
                  <c:v>229516</c:v>
                </c:pt>
                <c:pt idx="736">
                  <c:v>230474.5</c:v>
                </c:pt>
                <c:pt idx="737">
                  <c:v>231433</c:v>
                </c:pt>
                <c:pt idx="738">
                  <c:v>235968</c:v>
                </c:pt>
                <c:pt idx="739">
                  <c:v>235951</c:v>
                </c:pt>
                <c:pt idx="740">
                  <c:v>237148</c:v>
                </c:pt>
                <c:pt idx="741">
                  <c:v>229963</c:v>
                </c:pt>
                <c:pt idx="742">
                  <c:v>232597</c:v>
                </c:pt>
                <c:pt idx="743">
                  <c:v>237019</c:v>
                </c:pt>
                <c:pt idx="744">
                  <c:v>241441</c:v>
                </c:pt>
                <c:pt idx="745">
                  <c:v>239528</c:v>
                </c:pt>
                <c:pt idx="746">
                  <c:v>232089</c:v>
                </c:pt>
                <c:pt idx="747">
                  <c:v>240318</c:v>
                </c:pt>
                <c:pt idx="748">
                  <c:v>220789</c:v>
                </c:pt>
                <c:pt idx="749">
                  <c:v>264997</c:v>
                </c:pt>
                <c:pt idx="750">
                  <c:v>239406</c:v>
                </c:pt>
                <c:pt idx="751">
                  <c:v>247074</c:v>
                </c:pt>
                <c:pt idx="752">
                  <c:v>262966</c:v>
                </c:pt>
                <c:pt idx="753">
                  <c:v>266514</c:v>
                </c:pt>
                <c:pt idx="754">
                  <c:v>258749</c:v>
                </c:pt>
                <c:pt idx="755">
                  <c:v>260091</c:v>
                </c:pt>
                <c:pt idx="756">
                  <c:v>252219</c:v>
                </c:pt>
                <c:pt idx="757">
                  <c:v>268311</c:v>
                </c:pt>
                <c:pt idx="758">
                  <c:v>267389</c:v>
                </c:pt>
                <c:pt idx="759">
                  <c:v>268730</c:v>
                </c:pt>
                <c:pt idx="760">
                  <c:v>268730</c:v>
                </c:pt>
                <c:pt idx="761">
                  <c:v>268317</c:v>
                </c:pt>
                <c:pt idx="762">
                  <c:v>260700</c:v>
                </c:pt>
                <c:pt idx="763">
                  <c:v>257820</c:v>
                </c:pt>
                <c:pt idx="764">
                  <c:v>257820</c:v>
                </c:pt>
                <c:pt idx="765">
                  <c:v>267204</c:v>
                </c:pt>
                <c:pt idx="766">
                  <c:v>261468</c:v>
                </c:pt>
                <c:pt idx="767">
                  <c:v>258451</c:v>
                </c:pt>
                <c:pt idx="768">
                  <c:v>243156</c:v>
                </c:pt>
                <c:pt idx="769">
                  <c:v>251805</c:v>
                </c:pt>
                <c:pt idx="770">
                  <c:v>251805</c:v>
                </c:pt>
                <c:pt idx="771">
                  <c:v>251805</c:v>
                </c:pt>
                <c:pt idx="772">
                  <c:v>253259</c:v>
                </c:pt>
                <c:pt idx="773">
                  <c:v>259274</c:v>
                </c:pt>
                <c:pt idx="774">
                  <c:v>259274</c:v>
                </c:pt>
                <c:pt idx="775">
                  <c:v>256469</c:v>
                </c:pt>
                <c:pt idx="776">
                  <c:v>256469</c:v>
                </c:pt>
                <c:pt idx="777">
                  <c:v>258535</c:v>
                </c:pt>
                <c:pt idx="778">
                  <c:v>258006</c:v>
                </c:pt>
                <c:pt idx="779">
                  <c:v>255701</c:v>
                </c:pt>
                <c:pt idx="780">
                  <c:v>260022</c:v>
                </c:pt>
                <c:pt idx="781">
                  <c:v>259318</c:v>
                </c:pt>
                <c:pt idx="782">
                  <c:v>259318</c:v>
                </c:pt>
                <c:pt idx="783">
                  <c:v>259715</c:v>
                </c:pt>
                <c:pt idx="784">
                  <c:v>258318</c:v>
                </c:pt>
                <c:pt idx="785">
                  <c:v>255438</c:v>
                </c:pt>
                <c:pt idx="786">
                  <c:v>255438</c:v>
                </c:pt>
                <c:pt idx="787">
                  <c:v>255544</c:v>
                </c:pt>
                <c:pt idx="788">
                  <c:v>253047</c:v>
                </c:pt>
                <c:pt idx="789">
                  <c:v>254361.5</c:v>
                </c:pt>
                <c:pt idx="790">
                  <c:v>255676</c:v>
                </c:pt>
                <c:pt idx="791">
                  <c:v>251176</c:v>
                </c:pt>
                <c:pt idx="792">
                  <c:v>253853</c:v>
                </c:pt>
                <c:pt idx="793">
                  <c:v>254378</c:v>
                </c:pt>
                <c:pt idx="794">
                  <c:v>254535</c:v>
                </c:pt>
                <c:pt idx="795">
                  <c:v>254535</c:v>
                </c:pt>
                <c:pt idx="796">
                  <c:v>256416</c:v>
                </c:pt>
                <c:pt idx="797">
                  <c:v>253411</c:v>
                </c:pt>
                <c:pt idx="798">
                  <c:v>257034</c:v>
                </c:pt>
                <c:pt idx="799">
                  <c:v>257628</c:v>
                </c:pt>
                <c:pt idx="800">
                  <c:v>255920</c:v>
                </c:pt>
                <c:pt idx="801">
                  <c:v>257032</c:v>
                </c:pt>
                <c:pt idx="802">
                  <c:v>257889</c:v>
                </c:pt>
                <c:pt idx="803">
                  <c:v>258593</c:v>
                </c:pt>
                <c:pt idx="804">
                  <c:v>256251</c:v>
                </c:pt>
                <c:pt idx="805">
                  <c:v>252902</c:v>
                </c:pt>
                <c:pt idx="806">
                  <c:v>254942</c:v>
                </c:pt>
                <c:pt idx="807">
                  <c:v>255863</c:v>
                </c:pt>
                <c:pt idx="808">
                  <c:v>255375</c:v>
                </c:pt>
                <c:pt idx="809">
                  <c:v>255071</c:v>
                </c:pt>
                <c:pt idx="810">
                  <c:v>255851</c:v>
                </c:pt>
                <c:pt idx="811">
                  <c:v>255969</c:v>
                </c:pt>
                <c:pt idx="812">
                  <c:v>251738</c:v>
                </c:pt>
                <c:pt idx="813">
                  <c:v>255294</c:v>
                </c:pt>
                <c:pt idx="814">
                  <c:v>255943</c:v>
                </c:pt>
                <c:pt idx="815">
                  <c:v>255831</c:v>
                </c:pt>
                <c:pt idx="816">
                  <c:v>255595</c:v>
                </c:pt>
                <c:pt idx="817">
                  <c:v>256315</c:v>
                </c:pt>
                <c:pt idx="818">
                  <c:v>254563</c:v>
                </c:pt>
                <c:pt idx="819">
                  <c:v>255682</c:v>
                </c:pt>
                <c:pt idx="820">
                  <c:v>256172</c:v>
                </c:pt>
                <c:pt idx="821">
                  <c:v>254816</c:v>
                </c:pt>
                <c:pt idx="822">
                  <c:v>254235</c:v>
                </c:pt>
                <c:pt idx="823">
                  <c:v>251960</c:v>
                </c:pt>
                <c:pt idx="824">
                  <c:v>250570</c:v>
                </c:pt>
                <c:pt idx="825">
                  <c:v>250186</c:v>
                </c:pt>
                <c:pt idx="826">
                  <c:v>250337</c:v>
                </c:pt>
                <c:pt idx="827">
                  <c:v>249848</c:v>
                </c:pt>
                <c:pt idx="828">
                  <c:v>238178</c:v>
                </c:pt>
                <c:pt idx="829">
                  <c:v>229234</c:v>
                </c:pt>
                <c:pt idx="830">
                  <c:v>229234</c:v>
                </c:pt>
                <c:pt idx="831">
                  <c:v>225747</c:v>
                </c:pt>
                <c:pt idx="832">
                  <c:v>226223</c:v>
                </c:pt>
                <c:pt idx="833">
                  <c:v>229137</c:v>
                </c:pt>
                <c:pt idx="834">
                  <c:v>228587</c:v>
                </c:pt>
                <c:pt idx="835">
                  <c:v>230771</c:v>
                </c:pt>
                <c:pt idx="836">
                  <c:v>230098</c:v>
                </c:pt>
                <c:pt idx="837">
                  <c:v>228358</c:v>
                </c:pt>
                <c:pt idx="838">
                  <c:v>230829</c:v>
                </c:pt>
                <c:pt idx="839">
                  <c:v>230829</c:v>
                </c:pt>
                <c:pt idx="840">
                  <c:v>231000</c:v>
                </c:pt>
                <c:pt idx="841">
                  <c:v>234889</c:v>
                </c:pt>
                <c:pt idx="842">
                  <c:v>236565</c:v>
                </c:pt>
                <c:pt idx="843">
                  <c:v>238232</c:v>
                </c:pt>
                <c:pt idx="844">
                  <c:v>234310</c:v>
                </c:pt>
                <c:pt idx="845">
                  <c:v>236036</c:v>
                </c:pt>
                <c:pt idx="846">
                  <c:v>237985</c:v>
                </c:pt>
                <c:pt idx="847">
                  <c:v>236036</c:v>
                </c:pt>
                <c:pt idx="848">
                  <c:v>232239</c:v>
                </c:pt>
                <c:pt idx="849">
                  <c:v>234428</c:v>
                </c:pt>
                <c:pt idx="850">
                  <c:v>250670</c:v>
                </c:pt>
                <c:pt idx="851">
                  <c:v>248002</c:v>
                </c:pt>
                <c:pt idx="852">
                  <c:v>232773</c:v>
                </c:pt>
                <c:pt idx="853">
                  <c:v>235347</c:v>
                </c:pt>
                <c:pt idx="854">
                  <c:v>243923</c:v>
                </c:pt>
                <c:pt idx="855">
                  <c:v>242903</c:v>
                </c:pt>
                <c:pt idx="856">
                  <c:v>245399</c:v>
                </c:pt>
                <c:pt idx="857">
                  <c:v>240721</c:v>
                </c:pt>
                <c:pt idx="858">
                  <c:v>240668</c:v>
                </c:pt>
                <c:pt idx="859">
                  <c:v>240668</c:v>
                </c:pt>
                <c:pt idx="860">
                  <c:v>238558</c:v>
                </c:pt>
                <c:pt idx="861">
                  <c:v>236212</c:v>
                </c:pt>
                <c:pt idx="862">
                  <c:v>235923</c:v>
                </c:pt>
                <c:pt idx="863">
                  <c:v>239076</c:v>
                </c:pt>
                <c:pt idx="864">
                  <c:v>241010</c:v>
                </c:pt>
                <c:pt idx="865">
                  <c:v>238541</c:v>
                </c:pt>
                <c:pt idx="866">
                  <c:v>239516</c:v>
                </c:pt>
                <c:pt idx="867">
                  <c:v>240916</c:v>
                </c:pt>
                <c:pt idx="868">
                  <c:v>238018</c:v>
                </c:pt>
                <c:pt idx="869">
                  <c:v>227446</c:v>
                </c:pt>
                <c:pt idx="870">
                  <c:v>232174</c:v>
                </c:pt>
                <c:pt idx="871">
                  <c:v>232174</c:v>
                </c:pt>
                <c:pt idx="872">
                  <c:v>232033</c:v>
                </c:pt>
                <c:pt idx="873">
                  <c:v>231829</c:v>
                </c:pt>
                <c:pt idx="874">
                  <c:v>232810</c:v>
                </c:pt>
                <c:pt idx="875">
                  <c:v>232694</c:v>
                </c:pt>
                <c:pt idx="876">
                  <c:v>235188</c:v>
                </c:pt>
                <c:pt idx="877">
                  <c:v>235188</c:v>
                </c:pt>
                <c:pt idx="878">
                  <c:v>226199</c:v>
                </c:pt>
                <c:pt idx="879">
                  <c:v>226199</c:v>
                </c:pt>
                <c:pt idx="880">
                  <c:v>226234</c:v>
                </c:pt>
                <c:pt idx="881">
                  <c:v>229081</c:v>
                </c:pt>
                <c:pt idx="882">
                  <c:v>229081</c:v>
                </c:pt>
                <c:pt idx="883">
                  <c:v>229023</c:v>
                </c:pt>
                <c:pt idx="884">
                  <c:v>227399</c:v>
                </c:pt>
                <c:pt idx="885">
                  <c:v>227315</c:v>
                </c:pt>
                <c:pt idx="886">
                  <c:v>227754</c:v>
                </c:pt>
                <c:pt idx="887">
                  <c:v>227276</c:v>
                </c:pt>
                <c:pt idx="888">
                  <c:v>229340</c:v>
                </c:pt>
                <c:pt idx="889">
                  <c:v>230193</c:v>
                </c:pt>
                <c:pt idx="890">
                  <c:v>229524</c:v>
                </c:pt>
                <c:pt idx="891">
                  <c:v>230644</c:v>
                </c:pt>
                <c:pt idx="892">
                  <c:v>231001</c:v>
                </c:pt>
                <c:pt idx="893">
                  <c:v>231304</c:v>
                </c:pt>
                <c:pt idx="894">
                  <c:v>232502</c:v>
                </c:pt>
                <c:pt idx="895">
                  <c:v>234693</c:v>
                </c:pt>
                <c:pt idx="896">
                  <c:v>232492</c:v>
                </c:pt>
                <c:pt idx="897">
                  <c:v>235261</c:v>
                </c:pt>
                <c:pt idx="898">
                  <c:v>232903</c:v>
                </c:pt>
                <c:pt idx="899">
                  <c:v>232288</c:v>
                </c:pt>
                <c:pt idx="900">
                  <c:v>232339</c:v>
                </c:pt>
                <c:pt idx="901">
                  <c:v>230447</c:v>
                </c:pt>
                <c:pt idx="902">
                  <c:v>231830</c:v>
                </c:pt>
                <c:pt idx="903">
                  <c:v>231901</c:v>
                </c:pt>
                <c:pt idx="904">
                  <c:v>230952</c:v>
                </c:pt>
                <c:pt idx="905">
                  <c:v>230552</c:v>
                </c:pt>
                <c:pt idx="906">
                  <c:v>231617</c:v>
                </c:pt>
                <c:pt idx="907">
                  <c:v>231617</c:v>
                </c:pt>
                <c:pt idx="908">
                  <c:v>227948</c:v>
                </c:pt>
                <c:pt idx="909">
                  <c:v>227758</c:v>
                </c:pt>
                <c:pt idx="910">
                  <c:v>212507</c:v>
                </c:pt>
                <c:pt idx="911">
                  <c:v>224661</c:v>
                </c:pt>
                <c:pt idx="912">
                  <c:v>217316</c:v>
                </c:pt>
                <c:pt idx="913">
                  <c:v>213163</c:v>
                </c:pt>
                <c:pt idx="914">
                  <c:v>209008</c:v>
                </c:pt>
                <c:pt idx="915">
                  <c:v>204887</c:v>
                </c:pt>
                <c:pt idx="916">
                  <c:v>209714</c:v>
                </c:pt>
                <c:pt idx="917">
                  <c:v>209714</c:v>
                </c:pt>
                <c:pt idx="918">
                  <c:v>206896</c:v>
                </c:pt>
                <c:pt idx="919">
                  <c:v>206862</c:v>
                </c:pt>
                <c:pt idx="920">
                  <c:v>205122</c:v>
                </c:pt>
                <c:pt idx="921">
                  <c:v>206060</c:v>
                </c:pt>
                <c:pt idx="922">
                  <c:v>204513</c:v>
                </c:pt>
                <c:pt idx="923">
                  <c:v>205474</c:v>
                </c:pt>
                <c:pt idx="924">
                  <c:v>206683</c:v>
                </c:pt>
                <c:pt idx="925">
                  <c:v>205883</c:v>
                </c:pt>
                <c:pt idx="926">
                  <c:v>205859</c:v>
                </c:pt>
                <c:pt idx="927">
                  <c:v>204509</c:v>
                </c:pt>
                <c:pt idx="928">
                  <c:v>204147</c:v>
                </c:pt>
                <c:pt idx="929">
                  <c:v>204651</c:v>
                </c:pt>
                <c:pt idx="930">
                  <c:v>204386</c:v>
                </c:pt>
                <c:pt idx="931">
                  <c:v>204337</c:v>
                </c:pt>
                <c:pt idx="932">
                  <c:v>204459</c:v>
                </c:pt>
                <c:pt idx="933">
                  <c:v>203750</c:v>
                </c:pt>
                <c:pt idx="934">
                  <c:v>203262</c:v>
                </c:pt>
                <c:pt idx="935">
                  <c:v>203262</c:v>
                </c:pt>
                <c:pt idx="936">
                  <c:v>204686</c:v>
                </c:pt>
                <c:pt idx="937">
                  <c:v>203336</c:v>
                </c:pt>
                <c:pt idx="938">
                  <c:v>204020</c:v>
                </c:pt>
                <c:pt idx="939">
                  <c:v>203901</c:v>
                </c:pt>
                <c:pt idx="940">
                  <c:v>205488</c:v>
                </c:pt>
                <c:pt idx="941">
                  <c:v>204186</c:v>
                </c:pt>
                <c:pt idx="942">
                  <c:v>205693</c:v>
                </c:pt>
                <c:pt idx="943">
                  <c:v>205160</c:v>
                </c:pt>
                <c:pt idx="944">
                  <c:v>205916</c:v>
                </c:pt>
                <c:pt idx="945">
                  <c:v>207043</c:v>
                </c:pt>
                <c:pt idx="946">
                  <c:v>211177</c:v>
                </c:pt>
                <c:pt idx="947">
                  <c:v>208919</c:v>
                </c:pt>
                <c:pt idx="948">
                  <c:v>210206</c:v>
                </c:pt>
                <c:pt idx="949">
                  <c:v>209645</c:v>
                </c:pt>
                <c:pt idx="950">
                  <c:v>210319</c:v>
                </c:pt>
                <c:pt idx="951">
                  <c:v>208278</c:v>
                </c:pt>
                <c:pt idx="952">
                  <c:v>212720</c:v>
                </c:pt>
                <c:pt idx="953">
                  <c:v>213812</c:v>
                </c:pt>
                <c:pt idx="954">
                  <c:v>213661</c:v>
                </c:pt>
                <c:pt idx="955">
                  <c:v>215986</c:v>
                </c:pt>
                <c:pt idx="956">
                  <c:v>216834</c:v>
                </c:pt>
                <c:pt idx="957">
                  <c:v>219264</c:v>
                </c:pt>
                <c:pt idx="958">
                  <c:v>219823</c:v>
                </c:pt>
                <c:pt idx="959">
                  <c:v>219065</c:v>
                </c:pt>
                <c:pt idx="960">
                  <c:v>221016</c:v>
                </c:pt>
                <c:pt idx="961">
                  <c:v>221384</c:v>
                </c:pt>
                <c:pt idx="962">
                  <c:v>224076</c:v>
                </c:pt>
                <c:pt idx="963">
                  <c:v>224369</c:v>
                </c:pt>
                <c:pt idx="964">
                  <c:v>222882</c:v>
                </c:pt>
                <c:pt idx="965">
                  <c:v>221205</c:v>
                </c:pt>
                <c:pt idx="966">
                  <c:v>223331</c:v>
                </c:pt>
                <c:pt idx="967">
                  <c:v>223563</c:v>
                </c:pt>
                <c:pt idx="968">
                  <c:v>224287</c:v>
                </c:pt>
                <c:pt idx="969">
                  <c:v>224287</c:v>
                </c:pt>
                <c:pt idx="970">
                  <c:v>224025</c:v>
                </c:pt>
                <c:pt idx="971">
                  <c:v>223649</c:v>
                </c:pt>
                <c:pt idx="972">
                  <c:v>224022</c:v>
                </c:pt>
                <c:pt idx="973">
                  <c:v>224022</c:v>
                </c:pt>
                <c:pt idx="974">
                  <c:v>223681</c:v>
                </c:pt>
                <c:pt idx="975">
                  <c:v>223589</c:v>
                </c:pt>
                <c:pt idx="976">
                  <c:v>222981</c:v>
                </c:pt>
                <c:pt idx="977">
                  <c:v>222981</c:v>
                </c:pt>
                <c:pt idx="978">
                  <c:v>223212</c:v>
                </c:pt>
                <c:pt idx="979">
                  <c:v>223996</c:v>
                </c:pt>
                <c:pt idx="980">
                  <c:v>224214</c:v>
                </c:pt>
                <c:pt idx="981">
                  <c:v>224184</c:v>
                </c:pt>
                <c:pt idx="982">
                  <c:v>223179</c:v>
                </c:pt>
                <c:pt idx="983">
                  <c:v>223179</c:v>
                </c:pt>
                <c:pt idx="984">
                  <c:v>225959</c:v>
                </c:pt>
                <c:pt idx="985">
                  <c:v>226009</c:v>
                </c:pt>
                <c:pt idx="986">
                  <c:v>226961</c:v>
                </c:pt>
                <c:pt idx="987">
                  <c:v>226681</c:v>
                </c:pt>
                <c:pt idx="988">
                  <c:v>227127</c:v>
                </c:pt>
                <c:pt idx="989">
                  <c:v>227127</c:v>
                </c:pt>
                <c:pt idx="990">
                  <c:v>226878</c:v>
                </c:pt>
                <c:pt idx="991">
                  <c:v>228733</c:v>
                </c:pt>
                <c:pt idx="992">
                  <c:v>228733</c:v>
                </c:pt>
                <c:pt idx="993">
                  <c:v>230084</c:v>
                </c:pt>
                <c:pt idx="994">
                  <c:v>230718</c:v>
                </c:pt>
                <c:pt idx="995">
                  <c:v>229074</c:v>
                </c:pt>
                <c:pt idx="996">
                  <c:v>229992</c:v>
                </c:pt>
                <c:pt idx="997">
                  <c:v>230998</c:v>
                </c:pt>
                <c:pt idx="998">
                  <c:v>230487</c:v>
                </c:pt>
                <c:pt idx="999">
                  <c:v>231172</c:v>
                </c:pt>
                <c:pt idx="1000">
                  <c:v>230902</c:v>
                </c:pt>
                <c:pt idx="1001">
                  <c:v>230503</c:v>
                </c:pt>
                <c:pt idx="1002">
                  <c:v>230024</c:v>
                </c:pt>
                <c:pt idx="1003">
                  <c:v>229717</c:v>
                </c:pt>
                <c:pt idx="1004">
                  <c:v>230774</c:v>
                </c:pt>
                <c:pt idx="1005">
                  <c:v>229702</c:v>
                </c:pt>
                <c:pt idx="1006">
                  <c:v>229789</c:v>
                </c:pt>
                <c:pt idx="1007">
                  <c:v>231045</c:v>
                </c:pt>
                <c:pt idx="1008">
                  <c:v>230172</c:v>
                </c:pt>
                <c:pt idx="1009">
                  <c:v>230172</c:v>
                </c:pt>
                <c:pt idx="1010">
                  <c:v>230172</c:v>
                </c:pt>
                <c:pt idx="1011">
                  <c:v>230172</c:v>
                </c:pt>
                <c:pt idx="1012">
                  <c:v>231774</c:v>
                </c:pt>
                <c:pt idx="1013">
                  <c:v>230616</c:v>
                </c:pt>
                <c:pt idx="1014">
                  <c:v>230878</c:v>
                </c:pt>
                <c:pt idx="1015">
                  <c:v>231117</c:v>
                </c:pt>
                <c:pt idx="1016">
                  <c:v>232812</c:v>
                </c:pt>
                <c:pt idx="1017">
                  <c:v>231949</c:v>
                </c:pt>
                <c:pt idx="1018">
                  <c:v>231193</c:v>
                </c:pt>
                <c:pt idx="1019">
                  <c:v>231193</c:v>
                </c:pt>
                <c:pt idx="1020">
                  <c:v>231991</c:v>
                </c:pt>
                <c:pt idx="1021">
                  <c:v>231147</c:v>
                </c:pt>
                <c:pt idx="1022">
                  <c:v>232692</c:v>
                </c:pt>
                <c:pt idx="1023">
                  <c:v>232350</c:v>
                </c:pt>
                <c:pt idx="1024">
                  <c:v>232350</c:v>
                </c:pt>
                <c:pt idx="1025">
                  <c:v>232403</c:v>
                </c:pt>
                <c:pt idx="1026">
                  <c:v>233417</c:v>
                </c:pt>
                <c:pt idx="1027">
                  <c:v>235400</c:v>
                </c:pt>
                <c:pt idx="1028">
                  <c:v>233160</c:v>
                </c:pt>
                <c:pt idx="1029">
                  <c:v>234170</c:v>
                </c:pt>
                <c:pt idx="1030">
                  <c:v>234108</c:v>
                </c:pt>
                <c:pt idx="1031">
                  <c:v>234108</c:v>
                </c:pt>
                <c:pt idx="1032">
                  <c:v>233926</c:v>
                </c:pt>
                <c:pt idx="1033">
                  <c:v>234370</c:v>
                </c:pt>
                <c:pt idx="1034">
                  <c:v>235037</c:v>
                </c:pt>
                <c:pt idx="1035">
                  <c:v>235580</c:v>
                </c:pt>
                <c:pt idx="1036">
                  <c:v>236435</c:v>
                </c:pt>
                <c:pt idx="1037">
                  <c:v>234501</c:v>
                </c:pt>
                <c:pt idx="1038">
                  <c:v>234663</c:v>
                </c:pt>
                <c:pt idx="1039">
                  <c:v>234753</c:v>
                </c:pt>
                <c:pt idx="1040">
                  <c:v>234234</c:v>
                </c:pt>
                <c:pt idx="1041">
                  <c:v>234065</c:v>
                </c:pt>
                <c:pt idx="1042">
                  <c:v>234094</c:v>
                </c:pt>
                <c:pt idx="1043">
                  <c:v>234115</c:v>
                </c:pt>
                <c:pt idx="1044">
                  <c:v>233485</c:v>
                </c:pt>
                <c:pt idx="1045">
                  <c:v>232866</c:v>
                </c:pt>
                <c:pt idx="1046">
                  <c:v>233257</c:v>
                </c:pt>
                <c:pt idx="1047">
                  <c:v>233440</c:v>
                </c:pt>
                <c:pt idx="1048">
                  <c:v>233199</c:v>
                </c:pt>
                <c:pt idx="1049">
                  <c:v>234392</c:v>
                </c:pt>
                <c:pt idx="1050">
                  <c:v>234165</c:v>
                </c:pt>
                <c:pt idx="1051">
                  <c:v>233324</c:v>
                </c:pt>
                <c:pt idx="1052">
                  <c:v>232427</c:v>
                </c:pt>
                <c:pt idx="1053">
                  <c:v>232511</c:v>
                </c:pt>
                <c:pt idx="1054">
                  <c:v>232526</c:v>
                </c:pt>
                <c:pt idx="1055">
                  <c:v>233413</c:v>
                </c:pt>
                <c:pt idx="1056">
                  <c:v>232717</c:v>
                </c:pt>
                <c:pt idx="1057">
                  <c:v>232574</c:v>
                </c:pt>
                <c:pt idx="1058">
                  <c:v>231906</c:v>
                </c:pt>
                <c:pt idx="1059">
                  <c:v>231847</c:v>
                </c:pt>
                <c:pt idx="1060">
                  <c:v>233614</c:v>
                </c:pt>
                <c:pt idx="1061">
                  <c:v>235034</c:v>
                </c:pt>
                <c:pt idx="1062">
                  <c:v>234489</c:v>
                </c:pt>
                <c:pt idx="1063">
                  <c:v>234400</c:v>
                </c:pt>
                <c:pt idx="1064">
                  <c:v>234494</c:v>
                </c:pt>
                <c:pt idx="1065">
                  <c:v>235818</c:v>
                </c:pt>
                <c:pt idx="1066">
                  <c:v>236659</c:v>
                </c:pt>
                <c:pt idx="1067">
                  <c:v>236156</c:v>
                </c:pt>
                <c:pt idx="1068">
                  <c:v>236321</c:v>
                </c:pt>
                <c:pt idx="1069">
                  <c:v>236041</c:v>
                </c:pt>
                <c:pt idx="1070">
                  <c:v>237128</c:v>
                </c:pt>
                <c:pt idx="1071">
                  <c:v>236356</c:v>
                </c:pt>
                <c:pt idx="1072">
                  <c:v>238013</c:v>
                </c:pt>
                <c:pt idx="1073">
                  <c:v>235250</c:v>
                </c:pt>
                <c:pt idx="1074">
                  <c:v>234809</c:v>
                </c:pt>
                <c:pt idx="1075">
                  <c:v>235176</c:v>
                </c:pt>
                <c:pt idx="1076">
                  <c:v>236141</c:v>
                </c:pt>
                <c:pt idx="1077">
                  <c:v>235399</c:v>
                </c:pt>
                <c:pt idx="1078">
                  <c:v>234894</c:v>
                </c:pt>
                <c:pt idx="1079">
                  <c:v>236236</c:v>
                </c:pt>
                <c:pt idx="1080">
                  <c:v>236073</c:v>
                </c:pt>
                <c:pt idx="1081">
                  <c:v>236721</c:v>
                </c:pt>
                <c:pt idx="1082">
                  <c:v>239366</c:v>
                </c:pt>
                <c:pt idx="1083">
                  <c:v>239155</c:v>
                </c:pt>
                <c:pt idx="1084">
                  <c:v>239218</c:v>
                </c:pt>
                <c:pt idx="1085">
                  <c:v>239401</c:v>
                </c:pt>
                <c:pt idx="1086">
                  <c:v>240192</c:v>
                </c:pt>
                <c:pt idx="1087">
                  <c:v>241230</c:v>
                </c:pt>
                <c:pt idx="1088">
                  <c:v>242200</c:v>
                </c:pt>
                <c:pt idx="1089">
                  <c:v>243265</c:v>
                </c:pt>
                <c:pt idx="1090">
                  <c:v>242634</c:v>
                </c:pt>
                <c:pt idx="1091">
                  <c:v>243267</c:v>
                </c:pt>
                <c:pt idx="1092">
                  <c:v>244140</c:v>
                </c:pt>
                <c:pt idx="1093">
                  <c:v>244804</c:v>
                </c:pt>
                <c:pt idx="1094">
                  <c:v>245346</c:v>
                </c:pt>
                <c:pt idx="1095">
                  <c:v>244820</c:v>
                </c:pt>
                <c:pt idx="1096">
                  <c:v>243798</c:v>
                </c:pt>
                <c:pt idx="1097">
                  <c:v>243942</c:v>
                </c:pt>
                <c:pt idx="1098">
                  <c:v>243527</c:v>
                </c:pt>
                <c:pt idx="1099">
                  <c:v>244627</c:v>
                </c:pt>
                <c:pt idx="1100">
                  <c:v>244876</c:v>
                </c:pt>
                <c:pt idx="1101">
                  <c:v>246228</c:v>
                </c:pt>
                <c:pt idx="1102">
                  <c:v>248070</c:v>
                </c:pt>
                <c:pt idx="1103">
                  <c:v>247461</c:v>
                </c:pt>
                <c:pt idx="1104">
                  <c:v>246520</c:v>
                </c:pt>
                <c:pt idx="1105">
                  <c:v>247378</c:v>
                </c:pt>
                <c:pt idx="1106">
                  <c:v>249855</c:v>
                </c:pt>
                <c:pt idx="1107">
                  <c:v>250466</c:v>
                </c:pt>
                <c:pt idx="1108">
                  <c:v>250466</c:v>
                </c:pt>
                <c:pt idx="1109">
                  <c:v>249282</c:v>
                </c:pt>
                <c:pt idx="1110">
                  <c:v>249188</c:v>
                </c:pt>
                <c:pt idx="1111">
                  <c:v>248715</c:v>
                </c:pt>
                <c:pt idx="1112">
                  <c:v>249894</c:v>
                </c:pt>
                <c:pt idx="1113">
                  <c:v>248269</c:v>
                </c:pt>
                <c:pt idx="1114">
                  <c:v>247157</c:v>
                </c:pt>
                <c:pt idx="1115">
                  <c:v>247381</c:v>
                </c:pt>
                <c:pt idx="1116">
                  <c:v>246605</c:v>
                </c:pt>
                <c:pt idx="1117">
                  <c:v>246861</c:v>
                </c:pt>
                <c:pt idx="1118">
                  <c:v>247094</c:v>
                </c:pt>
                <c:pt idx="1119">
                  <c:v>247932</c:v>
                </c:pt>
                <c:pt idx="1120">
                  <c:v>247737</c:v>
                </c:pt>
                <c:pt idx="1121">
                  <c:v>247691</c:v>
                </c:pt>
                <c:pt idx="1122">
                  <c:v>245823</c:v>
                </c:pt>
                <c:pt idx="1123">
                  <c:v>245375</c:v>
                </c:pt>
                <c:pt idx="1124">
                  <c:v>246468</c:v>
                </c:pt>
                <c:pt idx="1125">
                  <c:v>246670</c:v>
                </c:pt>
                <c:pt idx="1126">
                  <c:v>245580</c:v>
                </c:pt>
                <c:pt idx="1127">
                  <c:v>245580</c:v>
                </c:pt>
                <c:pt idx="1128">
                  <c:v>246026</c:v>
                </c:pt>
                <c:pt idx="1129">
                  <c:v>243730</c:v>
                </c:pt>
                <c:pt idx="1130">
                  <c:v>242557</c:v>
                </c:pt>
                <c:pt idx="1131">
                  <c:v>240325</c:v>
                </c:pt>
                <c:pt idx="1132">
                  <c:v>240888</c:v>
                </c:pt>
                <c:pt idx="1133">
                  <c:v>238486</c:v>
                </c:pt>
                <c:pt idx="1134">
                  <c:v>238545</c:v>
                </c:pt>
                <c:pt idx="1135">
                  <c:v>239501</c:v>
                </c:pt>
                <c:pt idx="1136">
                  <c:v>240063</c:v>
                </c:pt>
                <c:pt idx="1137">
                  <c:v>240563</c:v>
                </c:pt>
                <c:pt idx="1138">
                  <c:v>238781</c:v>
                </c:pt>
                <c:pt idx="1139">
                  <c:v>239200</c:v>
                </c:pt>
                <c:pt idx="1140">
                  <c:v>240987</c:v>
                </c:pt>
                <c:pt idx="1141">
                  <c:v>241915</c:v>
                </c:pt>
                <c:pt idx="1142">
                  <c:v>241778</c:v>
                </c:pt>
                <c:pt idx="1143">
                  <c:v>240992</c:v>
                </c:pt>
                <c:pt idx="1144">
                  <c:v>242153</c:v>
                </c:pt>
                <c:pt idx="1145">
                  <c:v>243170</c:v>
                </c:pt>
                <c:pt idx="1146">
                  <c:v>243281</c:v>
                </c:pt>
                <c:pt idx="1147">
                  <c:v>241455</c:v>
                </c:pt>
                <c:pt idx="1148">
                  <c:v>239736</c:v>
                </c:pt>
                <c:pt idx="1149">
                  <c:v>240079</c:v>
                </c:pt>
                <c:pt idx="1150">
                  <c:v>241240</c:v>
                </c:pt>
                <c:pt idx="1151">
                  <c:v>241487</c:v>
                </c:pt>
                <c:pt idx="1152">
                  <c:v>240950</c:v>
                </c:pt>
                <c:pt idx="1153">
                  <c:v>241743</c:v>
                </c:pt>
                <c:pt idx="1154">
                  <c:v>241740</c:v>
                </c:pt>
                <c:pt idx="1155">
                  <c:v>245692</c:v>
                </c:pt>
                <c:pt idx="1156">
                  <c:v>243624</c:v>
                </c:pt>
                <c:pt idx="1157">
                  <c:v>242198</c:v>
                </c:pt>
                <c:pt idx="1158">
                  <c:v>242847</c:v>
                </c:pt>
                <c:pt idx="1159">
                  <c:v>240683</c:v>
                </c:pt>
                <c:pt idx="1160">
                  <c:v>237087</c:v>
                </c:pt>
                <c:pt idx="1161">
                  <c:v>239832</c:v>
                </c:pt>
                <c:pt idx="1162">
                  <c:v>240213</c:v>
                </c:pt>
                <c:pt idx="1163">
                  <c:v>240718</c:v>
                </c:pt>
                <c:pt idx="1164">
                  <c:v>239436</c:v>
                </c:pt>
                <c:pt idx="1165">
                  <c:v>240524</c:v>
                </c:pt>
                <c:pt idx="1166">
                  <c:v>239980</c:v>
                </c:pt>
                <c:pt idx="1167">
                  <c:v>238326</c:v>
                </c:pt>
                <c:pt idx="1168">
                  <c:v>239266</c:v>
                </c:pt>
                <c:pt idx="1169">
                  <c:v>240009</c:v>
                </c:pt>
                <c:pt idx="1170">
                  <c:v>241423</c:v>
                </c:pt>
                <c:pt idx="1171">
                  <c:v>241313</c:v>
                </c:pt>
                <c:pt idx="1172">
                  <c:v>239665</c:v>
                </c:pt>
                <c:pt idx="1173">
                  <c:v>238414</c:v>
                </c:pt>
                <c:pt idx="1174">
                  <c:v>241474</c:v>
                </c:pt>
                <c:pt idx="1175">
                  <c:v>242926</c:v>
                </c:pt>
                <c:pt idx="1176">
                  <c:v>243983</c:v>
                </c:pt>
                <c:pt idx="1177">
                  <c:v>246462</c:v>
                </c:pt>
                <c:pt idx="1178">
                  <c:v>246132</c:v>
                </c:pt>
                <c:pt idx="1179">
                  <c:v>247626</c:v>
                </c:pt>
                <c:pt idx="1180">
                  <c:v>246595</c:v>
                </c:pt>
                <c:pt idx="1181">
                  <c:v>246312</c:v>
                </c:pt>
                <c:pt idx="1182">
                  <c:v>246327</c:v>
                </c:pt>
                <c:pt idx="1183">
                  <c:v>247570</c:v>
                </c:pt>
                <c:pt idx="1184">
                  <c:v>246510</c:v>
                </c:pt>
                <c:pt idx="1185">
                  <c:v>247167</c:v>
                </c:pt>
                <c:pt idx="1186">
                  <c:v>246600</c:v>
                </c:pt>
                <c:pt idx="1187">
                  <c:v>246342</c:v>
                </c:pt>
                <c:pt idx="1188">
                  <c:v>247405</c:v>
                </c:pt>
                <c:pt idx="1189">
                  <c:v>246988</c:v>
                </c:pt>
                <c:pt idx="1190">
                  <c:v>245709</c:v>
                </c:pt>
                <c:pt idx="1191">
                  <c:v>246469</c:v>
                </c:pt>
                <c:pt idx="1192">
                  <c:v>246459</c:v>
                </c:pt>
                <c:pt idx="1193">
                  <c:v>248157</c:v>
                </c:pt>
                <c:pt idx="1194">
                  <c:v>249074</c:v>
                </c:pt>
                <c:pt idx="1195">
                  <c:v>250723</c:v>
                </c:pt>
                <c:pt idx="1196">
                  <c:v>251096</c:v>
                </c:pt>
                <c:pt idx="1197">
                  <c:v>251300</c:v>
                </c:pt>
                <c:pt idx="1198">
                  <c:v>250626</c:v>
                </c:pt>
                <c:pt idx="1199">
                  <c:v>251119</c:v>
                </c:pt>
                <c:pt idx="1200">
                  <c:v>250818</c:v>
                </c:pt>
                <c:pt idx="1201">
                  <c:v>249972</c:v>
                </c:pt>
                <c:pt idx="1202">
                  <c:v>249256</c:v>
                </c:pt>
                <c:pt idx="1203">
                  <c:v>249602</c:v>
                </c:pt>
                <c:pt idx="1204">
                  <c:v>249709</c:v>
                </c:pt>
                <c:pt idx="1205">
                  <c:v>249196</c:v>
                </c:pt>
                <c:pt idx="1206">
                  <c:v>252172</c:v>
                </c:pt>
                <c:pt idx="1207">
                  <c:v>252406</c:v>
                </c:pt>
                <c:pt idx="1208">
                  <c:v>251564</c:v>
                </c:pt>
                <c:pt idx="1209">
                  <c:v>251033</c:v>
                </c:pt>
                <c:pt idx="1210">
                  <c:v>250027</c:v>
                </c:pt>
                <c:pt idx="1211">
                  <c:v>248970</c:v>
                </c:pt>
                <c:pt idx="1212">
                  <c:v>247898</c:v>
                </c:pt>
                <c:pt idx="1213">
                  <c:v>246397</c:v>
                </c:pt>
                <c:pt idx="1214">
                  <c:v>247503</c:v>
                </c:pt>
                <c:pt idx="1215">
                  <c:v>245839</c:v>
                </c:pt>
                <c:pt idx="1216">
                  <c:v>244348</c:v>
                </c:pt>
                <c:pt idx="1217">
                  <c:v>244890</c:v>
                </c:pt>
                <c:pt idx="1218">
                  <c:v>244200</c:v>
                </c:pt>
                <c:pt idx="1219">
                  <c:v>243654</c:v>
                </c:pt>
                <c:pt idx="1220">
                  <c:v>243319</c:v>
                </c:pt>
                <c:pt idx="1221">
                  <c:v>243507</c:v>
                </c:pt>
                <c:pt idx="1222">
                  <c:v>244348</c:v>
                </c:pt>
                <c:pt idx="1223">
                  <c:v>245018</c:v>
                </c:pt>
                <c:pt idx="1224">
                  <c:v>244924</c:v>
                </c:pt>
                <c:pt idx="1225">
                  <c:v>246198</c:v>
                </c:pt>
                <c:pt idx="1226">
                  <c:v>247064</c:v>
                </c:pt>
                <c:pt idx="1227">
                  <c:v>247264</c:v>
                </c:pt>
                <c:pt idx="1228">
                  <c:v>249578</c:v>
                </c:pt>
                <c:pt idx="1229">
                  <c:v>251350</c:v>
                </c:pt>
                <c:pt idx="1230">
                  <c:v>251624</c:v>
                </c:pt>
                <c:pt idx="1231">
                  <c:v>252898</c:v>
                </c:pt>
                <c:pt idx="1232">
                  <c:v>253068</c:v>
                </c:pt>
                <c:pt idx="1233">
                  <c:v>254234</c:v>
                </c:pt>
                <c:pt idx="1234">
                  <c:v>253210</c:v>
                </c:pt>
                <c:pt idx="1235">
                  <c:v>254005</c:v>
                </c:pt>
                <c:pt idx="1236">
                  <c:v>254866</c:v>
                </c:pt>
                <c:pt idx="1237">
                  <c:v>255255</c:v>
                </c:pt>
                <c:pt idx="1238">
                  <c:v>254810</c:v>
                </c:pt>
                <c:pt idx="1239">
                  <c:v>255635</c:v>
                </c:pt>
                <c:pt idx="1240">
                  <c:v>255317</c:v>
                </c:pt>
                <c:pt idx="1241">
                  <c:v>256049</c:v>
                </c:pt>
                <c:pt idx="1242">
                  <c:v>255606</c:v>
                </c:pt>
                <c:pt idx="1243">
                  <c:v>255859</c:v>
                </c:pt>
                <c:pt idx="1244">
                  <c:v>256565</c:v>
                </c:pt>
                <c:pt idx="1245">
                  <c:v>257512</c:v>
                </c:pt>
                <c:pt idx="1246">
                  <c:v>257796</c:v>
                </c:pt>
                <c:pt idx="1247">
                  <c:v>258568</c:v>
                </c:pt>
                <c:pt idx="1248">
                  <c:v>259330</c:v>
                </c:pt>
                <c:pt idx="1249">
                  <c:v>259993</c:v>
                </c:pt>
                <c:pt idx="1250">
                  <c:v>261117</c:v>
                </c:pt>
                <c:pt idx="1251">
                  <c:v>263447</c:v>
                </c:pt>
                <c:pt idx="1252">
                  <c:v>263123</c:v>
                </c:pt>
                <c:pt idx="1253">
                  <c:v>262559</c:v>
                </c:pt>
                <c:pt idx="1254">
                  <c:v>262321</c:v>
                </c:pt>
                <c:pt idx="1255">
                  <c:v>263177</c:v>
                </c:pt>
                <c:pt idx="1256">
                  <c:v>263724</c:v>
                </c:pt>
                <c:pt idx="1257">
                  <c:v>263872</c:v>
                </c:pt>
                <c:pt idx="1258">
                  <c:v>264529</c:v>
                </c:pt>
                <c:pt idx="1259">
                  <c:v>264993</c:v>
                </c:pt>
                <c:pt idx="1260">
                  <c:v>266424</c:v>
                </c:pt>
                <c:pt idx="1261">
                  <c:v>265460</c:v>
                </c:pt>
                <c:pt idx="1262">
                  <c:v>265190</c:v>
                </c:pt>
                <c:pt idx="1263">
                  <c:v>264823</c:v>
                </c:pt>
                <c:pt idx="1264">
                  <c:v>266131</c:v>
                </c:pt>
                <c:pt idx="1265">
                  <c:v>265489</c:v>
                </c:pt>
                <c:pt idx="1266">
                  <c:v>265998</c:v>
                </c:pt>
                <c:pt idx="1267">
                  <c:v>266600</c:v>
                </c:pt>
                <c:pt idx="1268">
                  <c:v>267001</c:v>
                </c:pt>
                <c:pt idx="1269">
                  <c:v>267135</c:v>
                </c:pt>
                <c:pt idx="1270">
                  <c:v>265657</c:v>
                </c:pt>
                <c:pt idx="1271">
                  <c:v>265116</c:v>
                </c:pt>
                <c:pt idx="1272">
                  <c:v>266113</c:v>
                </c:pt>
                <c:pt idx="1273">
                  <c:v>265504</c:v>
                </c:pt>
                <c:pt idx="1274">
                  <c:v>265441</c:v>
                </c:pt>
                <c:pt idx="1275">
                  <c:v>265240</c:v>
                </c:pt>
                <c:pt idx="1276">
                  <c:v>265575</c:v>
                </c:pt>
                <c:pt idx="1277">
                  <c:v>265582</c:v>
                </c:pt>
                <c:pt idx="1278">
                  <c:v>266191</c:v>
                </c:pt>
                <c:pt idx="1279">
                  <c:v>265941</c:v>
                </c:pt>
                <c:pt idx="1280">
                  <c:v>266029</c:v>
                </c:pt>
                <c:pt idx="1281">
                  <c:v>265734</c:v>
                </c:pt>
                <c:pt idx="1282">
                  <c:v>266005</c:v>
                </c:pt>
                <c:pt idx="1283">
                  <c:v>265631</c:v>
                </c:pt>
                <c:pt idx="1284">
                  <c:v>266343</c:v>
                </c:pt>
                <c:pt idx="1285">
                  <c:v>266955</c:v>
                </c:pt>
                <c:pt idx="1286">
                  <c:v>267062</c:v>
                </c:pt>
                <c:pt idx="1287">
                  <c:v>267206</c:v>
                </c:pt>
                <c:pt idx="1288">
                  <c:v>267412</c:v>
                </c:pt>
                <c:pt idx="1289">
                  <c:v>267553</c:v>
                </c:pt>
                <c:pt idx="1290">
                  <c:v>267800</c:v>
                </c:pt>
                <c:pt idx="1291">
                  <c:v>268619</c:v>
                </c:pt>
                <c:pt idx="1292">
                  <c:v>268675</c:v>
                </c:pt>
                <c:pt idx="1293">
                  <c:v>268823</c:v>
                </c:pt>
                <c:pt idx="1294">
                  <c:v>269010</c:v>
                </c:pt>
                <c:pt idx="1295">
                  <c:v>268830</c:v>
                </c:pt>
                <c:pt idx="1296">
                  <c:v>269491</c:v>
                </c:pt>
                <c:pt idx="1297">
                  <c:v>270713</c:v>
                </c:pt>
                <c:pt idx="1298">
                  <c:v>269746</c:v>
                </c:pt>
                <c:pt idx="1299">
                  <c:v>270699</c:v>
                </c:pt>
                <c:pt idx="1300">
                  <c:v>269991</c:v>
                </c:pt>
                <c:pt idx="1301">
                  <c:v>270025</c:v>
                </c:pt>
                <c:pt idx="1302">
                  <c:v>270332</c:v>
                </c:pt>
                <c:pt idx="1303">
                  <c:v>271110</c:v>
                </c:pt>
                <c:pt idx="1304">
                  <c:v>271036</c:v>
                </c:pt>
                <c:pt idx="1305">
                  <c:v>270511</c:v>
                </c:pt>
                <c:pt idx="1306">
                  <c:v>270753</c:v>
                </c:pt>
                <c:pt idx="1307">
                  <c:v>270472</c:v>
                </c:pt>
                <c:pt idx="1308">
                  <c:v>270329</c:v>
                </c:pt>
                <c:pt idx="1309">
                  <c:v>270132</c:v>
                </c:pt>
                <c:pt idx="1310">
                  <c:v>270448</c:v>
                </c:pt>
                <c:pt idx="1311">
                  <c:v>270362</c:v>
                </c:pt>
                <c:pt idx="1312">
                  <c:v>271217</c:v>
                </c:pt>
                <c:pt idx="1313">
                  <c:v>272241</c:v>
                </c:pt>
                <c:pt idx="1314">
                  <c:v>272567</c:v>
                </c:pt>
                <c:pt idx="1315">
                  <c:v>271601</c:v>
                </c:pt>
                <c:pt idx="1316">
                  <c:v>272074</c:v>
                </c:pt>
                <c:pt idx="1317">
                  <c:v>272966</c:v>
                </c:pt>
                <c:pt idx="1318">
                  <c:v>272125</c:v>
                </c:pt>
                <c:pt idx="1319">
                  <c:v>272630</c:v>
                </c:pt>
                <c:pt idx="1320">
                  <c:v>272630</c:v>
                </c:pt>
                <c:pt idx="1321">
                  <c:v>273719</c:v>
                </c:pt>
                <c:pt idx="1322">
                  <c:v>273076</c:v>
                </c:pt>
                <c:pt idx="1323">
                  <c:v>272810</c:v>
                </c:pt>
                <c:pt idx="1324">
                  <c:v>272423</c:v>
                </c:pt>
                <c:pt idx="1325">
                  <c:v>273204</c:v>
                </c:pt>
                <c:pt idx="1326">
                  <c:v>272531</c:v>
                </c:pt>
                <c:pt idx="1327">
                  <c:v>272656</c:v>
                </c:pt>
                <c:pt idx="1328">
                  <c:v>272536</c:v>
                </c:pt>
                <c:pt idx="1329">
                  <c:v>274089</c:v>
                </c:pt>
                <c:pt idx="1330">
                  <c:v>273248</c:v>
                </c:pt>
                <c:pt idx="1331">
                  <c:v>274162</c:v>
                </c:pt>
                <c:pt idx="1332">
                  <c:v>273580</c:v>
                </c:pt>
                <c:pt idx="1333">
                  <c:v>273577</c:v>
                </c:pt>
                <c:pt idx="1334">
                  <c:v>274514</c:v>
                </c:pt>
                <c:pt idx="1335">
                  <c:v>274085</c:v>
                </c:pt>
                <c:pt idx="1336">
                  <c:v>274094</c:v>
                </c:pt>
                <c:pt idx="1337">
                  <c:v>274396</c:v>
                </c:pt>
                <c:pt idx="1338">
                  <c:v>274398</c:v>
                </c:pt>
                <c:pt idx="1339">
                  <c:v>273981</c:v>
                </c:pt>
                <c:pt idx="1340">
                  <c:v>274430</c:v>
                </c:pt>
                <c:pt idx="1341">
                  <c:v>276398</c:v>
                </c:pt>
                <c:pt idx="1342">
                  <c:v>276805</c:v>
                </c:pt>
                <c:pt idx="1343">
                  <c:v>276883</c:v>
                </c:pt>
                <c:pt idx="1344">
                  <c:v>277300</c:v>
                </c:pt>
                <c:pt idx="1345">
                  <c:v>276528</c:v>
                </c:pt>
                <c:pt idx="1346">
                  <c:v>277741</c:v>
                </c:pt>
                <c:pt idx="1347">
                  <c:v>278420</c:v>
                </c:pt>
                <c:pt idx="1348">
                  <c:v>278302</c:v>
                </c:pt>
                <c:pt idx="1349">
                  <c:v>279025</c:v>
                </c:pt>
                <c:pt idx="1350">
                  <c:v>278314</c:v>
                </c:pt>
                <c:pt idx="1351">
                  <c:v>277729</c:v>
                </c:pt>
                <c:pt idx="1352">
                  <c:v>279064</c:v>
                </c:pt>
                <c:pt idx="1353">
                  <c:v>279295</c:v>
                </c:pt>
                <c:pt idx="1354">
                  <c:v>279346</c:v>
                </c:pt>
                <c:pt idx="1355">
                  <c:v>279080</c:v>
                </c:pt>
                <c:pt idx="1356">
                  <c:v>279577</c:v>
                </c:pt>
                <c:pt idx="1357">
                  <c:v>279453</c:v>
                </c:pt>
                <c:pt idx="1358">
                  <c:v>279424</c:v>
                </c:pt>
                <c:pt idx="1359">
                  <c:v>279755</c:v>
                </c:pt>
                <c:pt idx="1360">
                  <c:v>279754</c:v>
                </c:pt>
                <c:pt idx="1361">
                  <c:v>280005</c:v>
                </c:pt>
                <c:pt idx="1362">
                  <c:v>280255</c:v>
                </c:pt>
                <c:pt idx="1363">
                  <c:v>279528</c:v>
                </c:pt>
                <c:pt idx="1364">
                  <c:v>279528</c:v>
                </c:pt>
                <c:pt idx="1365">
                  <c:v>279528</c:v>
                </c:pt>
                <c:pt idx="1366">
                  <c:v>282513</c:v>
                </c:pt>
                <c:pt idx="1367">
                  <c:v>282195</c:v>
                </c:pt>
                <c:pt idx="1368">
                  <c:v>282195</c:v>
                </c:pt>
                <c:pt idx="1369">
                  <c:v>282152</c:v>
                </c:pt>
                <c:pt idx="1370">
                  <c:v>285362</c:v>
                </c:pt>
                <c:pt idx="1371">
                  <c:v>288339</c:v>
                </c:pt>
                <c:pt idx="1372">
                  <c:v>289280</c:v>
                </c:pt>
                <c:pt idx="1373">
                  <c:v>287359</c:v>
                </c:pt>
                <c:pt idx="1374">
                  <c:v>289168</c:v>
                </c:pt>
                <c:pt idx="1375">
                  <c:v>288871</c:v>
                </c:pt>
                <c:pt idx="1376">
                  <c:v>288495</c:v>
                </c:pt>
                <c:pt idx="1377">
                  <c:v>288451</c:v>
                </c:pt>
                <c:pt idx="1378">
                  <c:v>288390</c:v>
                </c:pt>
                <c:pt idx="1379">
                  <c:v>288342</c:v>
                </c:pt>
                <c:pt idx="1380">
                  <c:v>288297</c:v>
                </c:pt>
                <c:pt idx="1381">
                  <c:v>287793</c:v>
                </c:pt>
                <c:pt idx="1382">
                  <c:v>290864</c:v>
                </c:pt>
                <c:pt idx="1383">
                  <c:v>293065</c:v>
                </c:pt>
                <c:pt idx="1384">
                  <c:v>293497</c:v>
                </c:pt>
                <c:pt idx="1385">
                  <c:v>293994</c:v>
                </c:pt>
                <c:pt idx="1386">
                  <c:v>285000</c:v>
                </c:pt>
                <c:pt idx="1387">
                  <c:v>284999</c:v>
                </c:pt>
                <c:pt idx="1388">
                  <c:v>285008</c:v>
                </c:pt>
                <c:pt idx="1389">
                  <c:v>285000</c:v>
                </c:pt>
                <c:pt idx="1390">
                  <c:v>285000</c:v>
                </c:pt>
                <c:pt idx="1391">
                  <c:v>285000</c:v>
                </c:pt>
                <c:pt idx="1392">
                  <c:v>285000</c:v>
                </c:pt>
                <c:pt idx="1393">
                  <c:v>285000</c:v>
                </c:pt>
                <c:pt idx="1394">
                  <c:v>285000</c:v>
                </c:pt>
                <c:pt idx="1395">
                  <c:v>285000</c:v>
                </c:pt>
                <c:pt idx="1396">
                  <c:v>285000</c:v>
                </c:pt>
                <c:pt idx="1397">
                  <c:v>285000</c:v>
                </c:pt>
                <c:pt idx="1398">
                  <c:v>285000</c:v>
                </c:pt>
                <c:pt idx="1399">
                  <c:v>285000</c:v>
                </c:pt>
                <c:pt idx="1400">
                  <c:v>285000</c:v>
                </c:pt>
                <c:pt idx="1401">
                  <c:v>285000</c:v>
                </c:pt>
                <c:pt idx="1402">
                  <c:v>285000</c:v>
                </c:pt>
                <c:pt idx="1403">
                  <c:v>285000</c:v>
                </c:pt>
                <c:pt idx="1404">
                  <c:v>285000</c:v>
                </c:pt>
                <c:pt idx="1405">
                  <c:v>285000</c:v>
                </c:pt>
                <c:pt idx="1406">
                  <c:v>285000</c:v>
                </c:pt>
                <c:pt idx="1407">
                  <c:v>285000</c:v>
                </c:pt>
                <c:pt idx="1408">
                  <c:v>285000</c:v>
                </c:pt>
                <c:pt idx="1409">
                  <c:v>285000</c:v>
                </c:pt>
                <c:pt idx="1410">
                  <c:v>285000</c:v>
                </c:pt>
                <c:pt idx="1411">
                  <c:v>285000</c:v>
                </c:pt>
                <c:pt idx="1412">
                  <c:v>285000</c:v>
                </c:pt>
                <c:pt idx="1413">
                  <c:v>285000</c:v>
                </c:pt>
                <c:pt idx="1414">
                  <c:v>285000</c:v>
                </c:pt>
                <c:pt idx="1415">
                  <c:v>285000</c:v>
                </c:pt>
                <c:pt idx="1416">
                  <c:v>285000</c:v>
                </c:pt>
                <c:pt idx="1417">
                  <c:v>285000</c:v>
                </c:pt>
                <c:pt idx="1418">
                  <c:v>285000</c:v>
                </c:pt>
                <c:pt idx="1419">
                  <c:v>285000</c:v>
                </c:pt>
                <c:pt idx="1420">
                  <c:v>285000</c:v>
                </c:pt>
                <c:pt idx="1421">
                  <c:v>285000</c:v>
                </c:pt>
                <c:pt idx="1422">
                  <c:v>285000</c:v>
                </c:pt>
                <c:pt idx="1423">
                  <c:v>285000</c:v>
                </c:pt>
                <c:pt idx="1424">
                  <c:v>285000</c:v>
                </c:pt>
                <c:pt idx="1425">
                  <c:v>285000</c:v>
                </c:pt>
                <c:pt idx="1426">
                  <c:v>285000</c:v>
                </c:pt>
                <c:pt idx="1427">
                  <c:v>285000</c:v>
                </c:pt>
                <c:pt idx="1428">
                  <c:v>285000</c:v>
                </c:pt>
                <c:pt idx="1429">
                  <c:v>285000</c:v>
                </c:pt>
                <c:pt idx="1430">
                  <c:v>285000</c:v>
                </c:pt>
                <c:pt idx="1431">
                  <c:v>285000</c:v>
                </c:pt>
                <c:pt idx="1432">
                  <c:v>285000</c:v>
                </c:pt>
                <c:pt idx="1433">
                  <c:v>285000</c:v>
                </c:pt>
                <c:pt idx="1434">
                  <c:v>285000</c:v>
                </c:pt>
                <c:pt idx="1435">
                  <c:v>285000</c:v>
                </c:pt>
                <c:pt idx="1436">
                  <c:v>389708</c:v>
                </c:pt>
                <c:pt idx="1437">
                  <c:v>389100</c:v>
                </c:pt>
                <c:pt idx="1438">
                  <c:v>387876</c:v>
                </c:pt>
                <c:pt idx="1439">
                  <c:v>385876</c:v>
                </c:pt>
                <c:pt idx="1440">
                  <c:v>369000</c:v>
                </c:pt>
                <c:pt idx="1441">
                  <c:v>367000</c:v>
                </c:pt>
                <c:pt idx="1442">
                  <c:v>366000</c:v>
                </c:pt>
                <c:pt idx="1443">
                  <c:v>366000</c:v>
                </c:pt>
                <c:pt idx="1444">
                  <c:v>366000</c:v>
                </c:pt>
                <c:pt idx="1445">
                  <c:v>366000</c:v>
                </c:pt>
                <c:pt idx="1446">
                  <c:v>366000</c:v>
                </c:pt>
                <c:pt idx="1447">
                  <c:v>366000</c:v>
                </c:pt>
                <c:pt idx="1448">
                  <c:v>366000</c:v>
                </c:pt>
                <c:pt idx="1449">
                  <c:v>366000</c:v>
                </c:pt>
                <c:pt idx="1450">
                  <c:v>366000</c:v>
                </c:pt>
                <c:pt idx="1451">
                  <c:v>366000</c:v>
                </c:pt>
                <c:pt idx="1452">
                  <c:v>366000</c:v>
                </c:pt>
                <c:pt idx="1453">
                  <c:v>366000</c:v>
                </c:pt>
                <c:pt idx="1454">
                  <c:v>370632</c:v>
                </c:pt>
                <c:pt idx="1455">
                  <c:v>369454</c:v>
                </c:pt>
                <c:pt idx="1456">
                  <c:v>372709</c:v>
                </c:pt>
                <c:pt idx="1457">
                  <c:v>377206</c:v>
                </c:pt>
                <c:pt idx="1458">
                  <c:v>379206</c:v>
                </c:pt>
                <c:pt idx="1459">
                  <c:v>379206</c:v>
                </c:pt>
                <c:pt idx="1460">
                  <c:v>379310</c:v>
                </c:pt>
                <c:pt idx="1461">
                  <c:v>381012</c:v>
                </c:pt>
                <c:pt idx="1462">
                  <c:v>382069</c:v>
                </c:pt>
                <c:pt idx="1463">
                  <c:v>383338</c:v>
                </c:pt>
                <c:pt idx="1464">
                  <c:v>384433</c:v>
                </c:pt>
                <c:pt idx="1465">
                  <c:v>385916</c:v>
                </c:pt>
                <c:pt idx="1466">
                  <c:v>382900</c:v>
                </c:pt>
                <c:pt idx="1467">
                  <c:v>382009</c:v>
                </c:pt>
                <c:pt idx="1468">
                  <c:v>381509</c:v>
                </c:pt>
                <c:pt idx="1469">
                  <c:v>381509</c:v>
                </c:pt>
                <c:pt idx="1470">
                  <c:v>381509</c:v>
                </c:pt>
                <c:pt idx="1471">
                  <c:v>381509</c:v>
                </c:pt>
                <c:pt idx="1472">
                  <c:v>381509</c:v>
                </c:pt>
                <c:pt idx="1473">
                  <c:v>382604</c:v>
                </c:pt>
                <c:pt idx="1474">
                  <c:v>384601</c:v>
                </c:pt>
                <c:pt idx="1475">
                  <c:v>384601</c:v>
                </c:pt>
                <c:pt idx="1476">
                  <c:v>384601</c:v>
                </c:pt>
                <c:pt idx="1477">
                  <c:v>384601</c:v>
                </c:pt>
                <c:pt idx="1478">
                  <c:v>384601</c:v>
                </c:pt>
                <c:pt idx="1479">
                  <c:v>384601</c:v>
                </c:pt>
                <c:pt idx="1480">
                  <c:v>384601</c:v>
                </c:pt>
                <c:pt idx="1481">
                  <c:v>384601</c:v>
                </c:pt>
                <c:pt idx="1482">
                  <c:v>385025</c:v>
                </c:pt>
                <c:pt idx="1483">
                  <c:v>385025</c:v>
                </c:pt>
                <c:pt idx="1484">
                  <c:v>385025</c:v>
                </c:pt>
                <c:pt idx="1485">
                  <c:v>385025</c:v>
                </c:pt>
                <c:pt idx="1486">
                  <c:v>385025</c:v>
                </c:pt>
                <c:pt idx="1487">
                  <c:v>385025</c:v>
                </c:pt>
                <c:pt idx="1488">
                  <c:v>385025</c:v>
                </c:pt>
                <c:pt idx="1489">
                  <c:v>385025</c:v>
                </c:pt>
                <c:pt idx="1490">
                  <c:v>386025</c:v>
                </c:pt>
                <c:pt idx="1491">
                  <c:v>386225</c:v>
                </c:pt>
                <c:pt idx="1492">
                  <c:v>386425</c:v>
                </c:pt>
                <c:pt idx="1493">
                  <c:v>386425</c:v>
                </c:pt>
                <c:pt idx="1494">
                  <c:v>386360</c:v>
                </c:pt>
                <c:pt idx="1495">
                  <c:v>387129</c:v>
                </c:pt>
                <c:pt idx="1496">
                  <c:v>383129</c:v>
                </c:pt>
                <c:pt idx="1497">
                  <c:v>383129</c:v>
                </c:pt>
                <c:pt idx="1498">
                  <c:v>383046</c:v>
                </c:pt>
                <c:pt idx="1499">
                  <c:v>383046</c:v>
                </c:pt>
                <c:pt idx="1500">
                  <c:v>383046</c:v>
                </c:pt>
                <c:pt idx="1501">
                  <c:v>382952</c:v>
                </c:pt>
                <c:pt idx="1502">
                  <c:v>382569</c:v>
                </c:pt>
                <c:pt idx="1503">
                  <c:v>382569</c:v>
                </c:pt>
                <c:pt idx="1504">
                  <c:v>381720</c:v>
                </c:pt>
                <c:pt idx="1505">
                  <c:v>377406</c:v>
                </c:pt>
                <c:pt idx="1506">
                  <c:v>376566</c:v>
                </c:pt>
                <c:pt idx="1507">
                  <c:v>376494</c:v>
                </c:pt>
                <c:pt idx="1508">
                  <c:v>375994</c:v>
                </c:pt>
                <c:pt idx="1509">
                  <c:v>375903</c:v>
                </c:pt>
                <c:pt idx="1510">
                  <c:v>375883</c:v>
                </c:pt>
                <c:pt idx="1511">
                  <c:v>375686</c:v>
                </c:pt>
                <c:pt idx="1512">
                  <c:v>375497</c:v>
                </c:pt>
                <c:pt idx="1513">
                  <c:v>375399</c:v>
                </c:pt>
                <c:pt idx="1514">
                  <c:v>375347</c:v>
                </c:pt>
                <c:pt idx="1515">
                  <c:v>375312</c:v>
                </c:pt>
                <c:pt idx="1516">
                  <c:v>375161</c:v>
                </c:pt>
                <c:pt idx="1517">
                  <c:v>375112</c:v>
                </c:pt>
                <c:pt idx="1518">
                  <c:v>375110</c:v>
                </c:pt>
                <c:pt idx="1519">
                  <c:v>375110</c:v>
                </c:pt>
                <c:pt idx="1520">
                  <c:v>375100</c:v>
                </c:pt>
                <c:pt idx="1521">
                  <c:v>375090</c:v>
                </c:pt>
                <c:pt idx="1522">
                  <c:v>375090</c:v>
                </c:pt>
                <c:pt idx="1523">
                  <c:v>375080</c:v>
                </c:pt>
                <c:pt idx="1524">
                  <c:v>375073</c:v>
                </c:pt>
                <c:pt idx="1525">
                  <c:v>375072</c:v>
                </c:pt>
                <c:pt idx="1526">
                  <c:v>375070</c:v>
                </c:pt>
                <c:pt idx="1527">
                  <c:v>375070</c:v>
                </c:pt>
                <c:pt idx="1528">
                  <c:v>375070</c:v>
                </c:pt>
                <c:pt idx="1529">
                  <c:v>375068</c:v>
                </c:pt>
                <c:pt idx="1530">
                  <c:v>375068</c:v>
                </c:pt>
                <c:pt idx="1531">
                  <c:v>375075</c:v>
                </c:pt>
                <c:pt idx="1532">
                  <c:v>375086</c:v>
                </c:pt>
                <c:pt idx="1533">
                  <c:v>375086</c:v>
                </c:pt>
                <c:pt idx="1534">
                  <c:v>375090</c:v>
                </c:pt>
                <c:pt idx="1535">
                  <c:v>375187</c:v>
                </c:pt>
                <c:pt idx="1536">
                  <c:v>375165</c:v>
                </c:pt>
                <c:pt idx="1537">
                  <c:v>375264</c:v>
                </c:pt>
                <c:pt idx="1538">
                  <c:v>375255</c:v>
                </c:pt>
                <c:pt idx="1539">
                  <c:v>375255</c:v>
                </c:pt>
                <c:pt idx="1540">
                  <c:v>375356</c:v>
                </c:pt>
                <c:pt idx="1541">
                  <c:v>375498</c:v>
                </c:pt>
                <c:pt idx="1542">
                  <c:v>375476</c:v>
                </c:pt>
                <c:pt idx="1543">
                  <c:v>375476</c:v>
                </c:pt>
                <c:pt idx="1544">
                  <c:v>375477</c:v>
                </c:pt>
                <c:pt idx="1545">
                  <c:v>375581</c:v>
                </c:pt>
                <c:pt idx="1546">
                  <c:v>375776</c:v>
                </c:pt>
                <c:pt idx="1547">
                  <c:v>375854</c:v>
                </c:pt>
                <c:pt idx="1548">
                  <c:v>375966</c:v>
                </c:pt>
                <c:pt idx="1549">
                  <c:v>375966</c:v>
                </c:pt>
                <c:pt idx="1550">
                  <c:v>375814</c:v>
                </c:pt>
                <c:pt idx="1551">
                  <c:v>375717</c:v>
                </c:pt>
                <c:pt idx="1552">
                  <c:v>375692</c:v>
                </c:pt>
                <c:pt idx="1553">
                  <c:v>375671</c:v>
                </c:pt>
                <c:pt idx="1554">
                  <c:v>375542</c:v>
                </c:pt>
                <c:pt idx="1555">
                  <c:v>375481</c:v>
                </c:pt>
                <c:pt idx="1556">
                  <c:v>375452</c:v>
                </c:pt>
                <c:pt idx="1557">
                  <c:v>375443</c:v>
                </c:pt>
                <c:pt idx="1558">
                  <c:v>375432</c:v>
                </c:pt>
                <c:pt idx="1559">
                  <c:v>375424</c:v>
                </c:pt>
                <c:pt idx="1560">
                  <c:v>375373</c:v>
                </c:pt>
                <c:pt idx="1561">
                  <c:v>375367</c:v>
                </c:pt>
                <c:pt idx="1562">
                  <c:v>375352</c:v>
                </c:pt>
                <c:pt idx="1563">
                  <c:v>375370</c:v>
                </c:pt>
                <c:pt idx="1564">
                  <c:v>375358</c:v>
                </c:pt>
                <c:pt idx="1565">
                  <c:v>375344</c:v>
                </c:pt>
                <c:pt idx="1566">
                  <c:v>375335</c:v>
                </c:pt>
                <c:pt idx="1567">
                  <c:v>375323</c:v>
                </c:pt>
                <c:pt idx="1568">
                  <c:v>375314</c:v>
                </c:pt>
                <c:pt idx="1569">
                  <c:v>375314</c:v>
                </c:pt>
                <c:pt idx="1570">
                  <c:v>375305</c:v>
                </c:pt>
                <c:pt idx="1571">
                  <c:v>375320</c:v>
                </c:pt>
                <c:pt idx="1572">
                  <c:v>375308</c:v>
                </c:pt>
                <c:pt idx="1573">
                  <c:v>375297</c:v>
                </c:pt>
                <c:pt idx="1574">
                  <c:v>375342</c:v>
                </c:pt>
                <c:pt idx="1575">
                  <c:v>375342</c:v>
                </c:pt>
                <c:pt idx="1576">
                  <c:v>375272</c:v>
                </c:pt>
                <c:pt idx="1577">
                  <c:v>374772</c:v>
                </c:pt>
                <c:pt idx="1578">
                  <c:v>374672</c:v>
                </c:pt>
                <c:pt idx="1579">
                  <c:v>374543</c:v>
                </c:pt>
                <c:pt idx="1580">
                  <c:v>374445</c:v>
                </c:pt>
                <c:pt idx="1581">
                  <c:v>374396</c:v>
                </c:pt>
                <c:pt idx="1582">
                  <c:v>374377</c:v>
                </c:pt>
                <c:pt idx="1583">
                  <c:v>374494</c:v>
                </c:pt>
                <c:pt idx="1584">
                  <c:v>374496</c:v>
                </c:pt>
                <c:pt idx="1585">
                  <c:v>374544</c:v>
                </c:pt>
                <c:pt idx="1586">
                  <c:v>374513</c:v>
                </c:pt>
                <c:pt idx="1587">
                  <c:v>374581</c:v>
                </c:pt>
                <c:pt idx="1588">
                  <c:v>374683</c:v>
                </c:pt>
                <c:pt idx="1589">
                  <c:v>374636</c:v>
                </c:pt>
                <c:pt idx="1590">
                  <c:v>374635</c:v>
                </c:pt>
                <c:pt idx="1591">
                  <c:v>374635</c:v>
                </c:pt>
                <c:pt idx="1592">
                  <c:v>374633</c:v>
                </c:pt>
                <c:pt idx="1593">
                  <c:v>374632</c:v>
                </c:pt>
                <c:pt idx="1594">
                  <c:v>374612</c:v>
                </c:pt>
                <c:pt idx="1595">
                  <c:v>374612</c:v>
                </c:pt>
                <c:pt idx="1596">
                  <c:v>374608</c:v>
                </c:pt>
                <c:pt idx="1597">
                  <c:v>374641</c:v>
                </c:pt>
                <c:pt idx="1598">
                  <c:v>374676</c:v>
                </c:pt>
                <c:pt idx="1599">
                  <c:v>374747</c:v>
                </c:pt>
                <c:pt idx="1600">
                  <c:v>374745</c:v>
                </c:pt>
                <c:pt idx="1601">
                  <c:v>374746</c:v>
                </c:pt>
                <c:pt idx="1602">
                  <c:v>374741</c:v>
                </c:pt>
                <c:pt idx="1603">
                  <c:v>374824</c:v>
                </c:pt>
                <c:pt idx="1604">
                  <c:v>374824</c:v>
                </c:pt>
                <c:pt idx="1605">
                  <c:v>374964</c:v>
                </c:pt>
                <c:pt idx="1606">
                  <c:v>375057</c:v>
                </c:pt>
                <c:pt idx="1607">
                  <c:v>375027</c:v>
                </c:pt>
                <c:pt idx="1608">
                  <c:v>375026</c:v>
                </c:pt>
                <c:pt idx="1609">
                  <c:v>375076</c:v>
                </c:pt>
                <c:pt idx="1610">
                  <c:v>375137</c:v>
                </c:pt>
                <c:pt idx="1611">
                  <c:v>375262</c:v>
                </c:pt>
                <c:pt idx="1612">
                  <c:v>375402</c:v>
                </c:pt>
                <c:pt idx="1613">
                  <c:v>375451</c:v>
                </c:pt>
                <c:pt idx="1614">
                  <c:v>375540</c:v>
                </c:pt>
                <c:pt idx="1615">
                  <c:v>375759</c:v>
                </c:pt>
                <c:pt idx="1616">
                  <c:v>375718</c:v>
                </c:pt>
                <c:pt idx="1617">
                  <c:v>375963</c:v>
                </c:pt>
                <c:pt idx="1618">
                  <c:v>376214</c:v>
                </c:pt>
                <c:pt idx="1619">
                  <c:v>376315</c:v>
                </c:pt>
                <c:pt idx="1620">
                  <c:v>376310</c:v>
                </c:pt>
                <c:pt idx="1621">
                  <c:v>376581</c:v>
                </c:pt>
                <c:pt idx="1622">
                  <c:v>376767</c:v>
                </c:pt>
                <c:pt idx="1623">
                  <c:v>376994</c:v>
                </c:pt>
                <c:pt idx="1624">
                  <c:v>377314</c:v>
                </c:pt>
                <c:pt idx="1625">
                  <c:v>377421</c:v>
                </c:pt>
                <c:pt idx="1626">
                  <c:v>377822</c:v>
                </c:pt>
                <c:pt idx="1627">
                  <c:v>378302</c:v>
                </c:pt>
                <c:pt idx="1628">
                  <c:v>378201</c:v>
                </c:pt>
                <c:pt idx="1629">
                  <c:v>378891</c:v>
                </c:pt>
                <c:pt idx="1630">
                  <c:v>379399</c:v>
                </c:pt>
                <c:pt idx="1631">
                  <c:v>379298</c:v>
                </c:pt>
                <c:pt idx="1632">
                  <c:v>379796</c:v>
                </c:pt>
                <c:pt idx="1633">
                  <c:v>380692</c:v>
                </c:pt>
                <c:pt idx="1634">
                  <c:v>381451</c:v>
                </c:pt>
                <c:pt idx="1635">
                  <c:v>381717</c:v>
                </c:pt>
                <c:pt idx="1636">
                  <c:v>381663</c:v>
                </c:pt>
                <c:pt idx="1637">
                  <c:v>382528</c:v>
                </c:pt>
                <c:pt idx="1638">
                  <c:v>383341</c:v>
                </c:pt>
                <c:pt idx="1639">
                  <c:v>384161</c:v>
                </c:pt>
                <c:pt idx="1640">
                  <c:v>384021</c:v>
                </c:pt>
                <c:pt idx="1641">
                  <c:v>384996</c:v>
                </c:pt>
                <c:pt idx="1642">
                  <c:v>385706</c:v>
                </c:pt>
                <c:pt idx="1643">
                  <c:v>386486</c:v>
                </c:pt>
                <c:pt idx="1644">
                  <c:v>387412</c:v>
                </c:pt>
                <c:pt idx="1645">
                  <c:v>388246</c:v>
                </c:pt>
                <c:pt idx="1646">
                  <c:v>388473</c:v>
                </c:pt>
                <c:pt idx="1647">
                  <c:v>389668</c:v>
                </c:pt>
                <c:pt idx="1648">
                  <c:v>389438</c:v>
                </c:pt>
                <c:pt idx="1649">
                  <c:v>390576</c:v>
                </c:pt>
                <c:pt idx="1650">
                  <c:v>390382</c:v>
                </c:pt>
                <c:pt idx="1651">
                  <c:v>390468</c:v>
                </c:pt>
                <c:pt idx="1652">
                  <c:v>390576</c:v>
                </c:pt>
                <c:pt idx="1653">
                  <c:v>390516</c:v>
                </c:pt>
                <c:pt idx="1654">
                  <c:v>390472</c:v>
                </c:pt>
                <c:pt idx="1655">
                  <c:v>390434</c:v>
                </c:pt>
                <c:pt idx="1656">
                  <c:v>390356</c:v>
                </c:pt>
                <c:pt idx="1657">
                  <c:v>390318</c:v>
                </c:pt>
                <c:pt idx="1658">
                  <c:v>390301</c:v>
                </c:pt>
                <c:pt idx="1659">
                  <c:v>390287</c:v>
                </c:pt>
                <c:pt idx="1660">
                  <c:v>390757</c:v>
                </c:pt>
                <c:pt idx="1661">
                  <c:v>391682</c:v>
                </c:pt>
                <c:pt idx="1662">
                  <c:v>392699</c:v>
                </c:pt>
                <c:pt idx="1663">
                  <c:v>392699</c:v>
                </c:pt>
                <c:pt idx="1664">
                  <c:v>393589</c:v>
                </c:pt>
                <c:pt idx="1665">
                  <c:v>394402</c:v>
                </c:pt>
                <c:pt idx="1666">
                  <c:v>395332</c:v>
                </c:pt>
                <c:pt idx="1667">
                  <c:v>395281</c:v>
                </c:pt>
                <c:pt idx="1668">
                  <c:v>395273</c:v>
                </c:pt>
                <c:pt idx="1669">
                  <c:v>395273</c:v>
                </c:pt>
                <c:pt idx="1670">
                  <c:v>395272</c:v>
                </c:pt>
                <c:pt idx="1671">
                  <c:v>395272</c:v>
                </c:pt>
                <c:pt idx="1672">
                  <c:v>395272</c:v>
                </c:pt>
                <c:pt idx="1673">
                  <c:v>395269</c:v>
                </c:pt>
                <c:pt idx="1674">
                  <c:v>395248</c:v>
                </c:pt>
                <c:pt idx="1675">
                  <c:v>395248</c:v>
                </c:pt>
                <c:pt idx="1676">
                  <c:v>395237</c:v>
                </c:pt>
                <c:pt idx="1677">
                  <c:v>395237</c:v>
                </c:pt>
                <c:pt idx="1678">
                  <c:v>395236</c:v>
                </c:pt>
                <c:pt idx="1679">
                  <c:v>395236</c:v>
                </c:pt>
                <c:pt idx="1680">
                  <c:v>395236</c:v>
                </c:pt>
                <c:pt idx="1681">
                  <c:v>395236</c:v>
                </c:pt>
                <c:pt idx="1682">
                  <c:v>395227</c:v>
                </c:pt>
                <c:pt idx="1683">
                  <c:v>395227</c:v>
                </c:pt>
                <c:pt idx="1684">
                  <c:v>395227</c:v>
                </c:pt>
                <c:pt idx="1685">
                  <c:v>395227</c:v>
                </c:pt>
                <c:pt idx="1686">
                  <c:v>395218</c:v>
                </c:pt>
                <c:pt idx="1687">
                  <c:v>395218</c:v>
                </c:pt>
                <c:pt idx="1688">
                  <c:v>395218</c:v>
                </c:pt>
                <c:pt idx="1689">
                  <c:v>395218</c:v>
                </c:pt>
                <c:pt idx="1690">
                  <c:v>395217</c:v>
                </c:pt>
                <c:pt idx="1691">
                  <c:v>395217</c:v>
                </c:pt>
                <c:pt idx="1692">
                  <c:v>395209</c:v>
                </c:pt>
                <c:pt idx="1693">
                  <c:v>395218</c:v>
                </c:pt>
                <c:pt idx="1694">
                  <c:v>395218</c:v>
                </c:pt>
                <c:pt idx="1695">
                  <c:v>395218</c:v>
                </c:pt>
                <c:pt idx="1696">
                  <c:v>395218</c:v>
                </c:pt>
                <c:pt idx="1697">
                  <c:v>397093</c:v>
                </c:pt>
                <c:pt idx="1698">
                  <c:v>397092</c:v>
                </c:pt>
                <c:pt idx="1699">
                  <c:v>397092</c:v>
                </c:pt>
                <c:pt idx="1700">
                  <c:v>397092</c:v>
                </c:pt>
                <c:pt idx="1701">
                  <c:v>397092</c:v>
                </c:pt>
                <c:pt idx="1702">
                  <c:v>397093</c:v>
                </c:pt>
                <c:pt idx="1703">
                  <c:v>397093</c:v>
                </c:pt>
                <c:pt idx="1704">
                  <c:v>398643</c:v>
                </c:pt>
                <c:pt idx="1705">
                  <c:v>398643</c:v>
                </c:pt>
                <c:pt idx="1706">
                  <c:v>398643</c:v>
                </c:pt>
                <c:pt idx="1707">
                  <c:v>398643</c:v>
                </c:pt>
                <c:pt idx="1708">
                  <c:v>398641</c:v>
                </c:pt>
                <c:pt idx="1709">
                  <c:v>398646</c:v>
                </c:pt>
                <c:pt idx="1710">
                  <c:v>398646</c:v>
                </c:pt>
                <c:pt idx="1711">
                  <c:v>398645</c:v>
                </c:pt>
                <c:pt idx="1712">
                  <c:v>398644</c:v>
                </c:pt>
                <c:pt idx="1713">
                  <c:v>398643</c:v>
                </c:pt>
                <c:pt idx="1714">
                  <c:v>398643</c:v>
                </c:pt>
                <c:pt idx="1715">
                  <c:v>400055</c:v>
                </c:pt>
                <c:pt idx="1716">
                  <c:v>401259</c:v>
                </c:pt>
                <c:pt idx="1717">
                  <c:v>401259</c:v>
                </c:pt>
                <c:pt idx="1718">
                  <c:v>401598</c:v>
                </c:pt>
                <c:pt idx="1719">
                  <c:v>401811</c:v>
                </c:pt>
                <c:pt idx="1720">
                  <c:v>402425</c:v>
                </c:pt>
                <c:pt idx="1721">
                  <c:v>402425</c:v>
                </c:pt>
                <c:pt idx="1722">
                  <c:v>403494</c:v>
                </c:pt>
                <c:pt idx="1723">
                  <c:v>404569</c:v>
                </c:pt>
                <c:pt idx="1724">
                  <c:v>404567</c:v>
                </c:pt>
                <c:pt idx="1725">
                  <c:v>405527</c:v>
                </c:pt>
                <c:pt idx="1726">
                  <c:v>405527</c:v>
                </c:pt>
                <c:pt idx="1727">
                  <c:v>405527</c:v>
                </c:pt>
                <c:pt idx="1728">
                  <c:v>405527</c:v>
                </c:pt>
                <c:pt idx="1729">
                  <c:v>405527</c:v>
                </c:pt>
                <c:pt idx="1730">
                  <c:v>405527</c:v>
                </c:pt>
                <c:pt idx="1731">
                  <c:v>405527</c:v>
                </c:pt>
                <c:pt idx="1732">
                  <c:v>405527</c:v>
                </c:pt>
                <c:pt idx="1733">
                  <c:v>405429</c:v>
                </c:pt>
                <c:pt idx="1734">
                  <c:v>405429</c:v>
                </c:pt>
                <c:pt idx="1735">
                  <c:v>405429</c:v>
                </c:pt>
                <c:pt idx="1736">
                  <c:v>406489</c:v>
                </c:pt>
                <c:pt idx="1737">
                  <c:v>406484</c:v>
                </c:pt>
                <c:pt idx="1738">
                  <c:v>406484</c:v>
                </c:pt>
                <c:pt idx="1739">
                  <c:v>406483</c:v>
                </c:pt>
                <c:pt idx="1740">
                  <c:v>406483</c:v>
                </c:pt>
                <c:pt idx="1741">
                  <c:v>406483</c:v>
                </c:pt>
                <c:pt idx="1742">
                  <c:v>406483</c:v>
                </c:pt>
                <c:pt idx="1743">
                  <c:v>406483</c:v>
                </c:pt>
                <c:pt idx="1744">
                  <c:v>406483</c:v>
                </c:pt>
                <c:pt idx="1745">
                  <c:v>406482</c:v>
                </c:pt>
                <c:pt idx="1746">
                  <c:v>406482</c:v>
                </c:pt>
                <c:pt idx="1747">
                  <c:v>406459</c:v>
                </c:pt>
                <c:pt idx="1748">
                  <c:v>407959</c:v>
                </c:pt>
                <c:pt idx="1749">
                  <c:v>408057</c:v>
                </c:pt>
                <c:pt idx="1750">
                  <c:v>409769</c:v>
                </c:pt>
                <c:pt idx="1751">
                  <c:v>411189</c:v>
                </c:pt>
                <c:pt idx="1752">
                  <c:v>411189</c:v>
                </c:pt>
                <c:pt idx="1753">
                  <c:v>412680</c:v>
                </c:pt>
                <c:pt idx="1754">
                  <c:v>414188</c:v>
                </c:pt>
                <c:pt idx="1755">
                  <c:v>413767</c:v>
                </c:pt>
                <c:pt idx="1756">
                  <c:v>413766</c:v>
                </c:pt>
                <c:pt idx="1757">
                  <c:v>413766</c:v>
                </c:pt>
                <c:pt idx="1758">
                  <c:v>413766</c:v>
                </c:pt>
                <c:pt idx="1759">
                  <c:v>414915</c:v>
                </c:pt>
                <c:pt idx="1760">
                  <c:v>416328</c:v>
                </c:pt>
                <c:pt idx="1761">
                  <c:v>418149</c:v>
                </c:pt>
                <c:pt idx="1762">
                  <c:v>418149</c:v>
                </c:pt>
                <c:pt idx="1763">
                  <c:v>418149</c:v>
                </c:pt>
                <c:pt idx="1764">
                  <c:v>419042</c:v>
                </c:pt>
                <c:pt idx="1765">
                  <c:v>419042</c:v>
                </c:pt>
                <c:pt idx="1766">
                  <c:v>419042</c:v>
                </c:pt>
                <c:pt idx="1767">
                  <c:v>418944</c:v>
                </c:pt>
                <c:pt idx="1768">
                  <c:v>418944</c:v>
                </c:pt>
                <c:pt idx="1769">
                  <c:v>418944</c:v>
                </c:pt>
                <c:pt idx="1770">
                  <c:v>418944</c:v>
                </c:pt>
                <c:pt idx="1771">
                  <c:v>418944</c:v>
                </c:pt>
                <c:pt idx="1772">
                  <c:v>418404</c:v>
                </c:pt>
                <c:pt idx="1773">
                  <c:v>418404</c:v>
                </c:pt>
                <c:pt idx="1774">
                  <c:v>418404</c:v>
                </c:pt>
                <c:pt idx="1775">
                  <c:v>419389</c:v>
                </c:pt>
                <c:pt idx="1776">
                  <c:v>419143</c:v>
                </c:pt>
                <c:pt idx="1777">
                  <c:v>420432</c:v>
                </c:pt>
                <c:pt idx="1778">
                  <c:v>420957</c:v>
                </c:pt>
                <c:pt idx="1779">
                  <c:v>420957</c:v>
                </c:pt>
                <c:pt idx="1780">
                  <c:v>421875</c:v>
                </c:pt>
                <c:pt idx="1781">
                  <c:v>421874</c:v>
                </c:pt>
                <c:pt idx="1782">
                  <c:v>421874</c:v>
                </c:pt>
                <c:pt idx="1783">
                  <c:v>422784</c:v>
                </c:pt>
                <c:pt idx="1784">
                  <c:v>423254</c:v>
                </c:pt>
                <c:pt idx="1785">
                  <c:v>424917</c:v>
                </c:pt>
                <c:pt idx="1786">
                  <c:v>424917</c:v>
                </c:pt>
                <c:pt idx="1787">
                  <c:v>425167</c:v>
                </c:pt>
                <c:pt idx="1788">
                  <c:v>425998</c:v>
                </c:pt>
                <c:pt idx="1789">
                  <c:v>425998</c:v>
                </c:pt>
                <c:pt idx="1790">
                  <c:v>426508</c:v>
                </c:pt>
                <c:pt idx="1791">
                  <c:v>427159</c:v>
                </c:pt>
                <c:pt idx="1792">
                  <c:v>428098</c:v>
                </c:pt>
                <c:pt idx="1793">
                  <c:v>428098</c:v>
                </c:pt>
                <c:pt idx="1794">
                  <c:v>428998</c:v>
                </c:pt>
                <c:pt idx="1795">
                  <c:v>429523</c:v>
                </c:pt>
                <c:pt idx="1796">
                  <c:v>429523</c:v>
                </c:pt>
                <c:pt idx="1797">
                  <c:v>429523</c:v>
                </c:pt>
                <c:pt idx="1798">
                  <c:v>429523</c:v>
                </c:pt>
                <c:pt idx="1799">
                  <c:v>429523</c:v>
                </c:pt>
                <c:pt idx="1800">
                  <c:v>430174</c:v>
                </c:pt>
                <c:pt idx="1801">
                  <c:v>431064</c:v>
                </c:pt>
                <c:pt idx="1802">
                  <c:v>431064</c:v>
                </c:pt>
                <c:pt idx="1803">
                  <c:v>431064</c:v>
                </c:pt>
                <c:pt idx="1804">
                  <c:v>431064</c:v>
                </c:pt>
                <c:pt idx="1805">
                  <c:v>431064</c:v>
                </c:pt>
                <c:pt idx="1806">
                  <c:v>432062</c:v>
                </c:pt>
                <c:pt idx="1807">
                  <c:v>433272</c:v>
                </c:pt>
                <c:pt idx="1808">
                  <c:v>432887</c:v>
                </c:pt>
                <c:pt idx="1809">
                  <c:v>433799</c:v>
                </c:pt>
                <c:pt idx="1810">
                  <c:v>433799</c:v>
                </c:pt>
                <c:pt idx="1811">
                  <c:v>434109</c:v>
                </c:pt>
                <c:pt idx="1812">
                  <c:v>435060</c:v>
                </c:pt>
                <c:pt idx="1813">
                  <c:v>436012</c:v>
                </c:pt>
                <c:pt idx="1814">
                  <c:v>436012</c:v>
                </c:pt>
                <c:pt idx="1815">
                  <c:v>437132</c:v>
                </c:pt>
                <c:pt idx="1816">
                  <c:v>438010</c:v>
                </c:pt>
                <c:pt idx="1817">
                  <c:v>438010</c:v>
                </c:pt>
                <c:pt idx="1818">
                  <c:v>438690</c:v>
                </c:pt>
                <c:pt idx="1819">
                  <c:v>439860</c:v>
                </c:pt>
                <c:pt idx="1820">
                  <c:v>439860</c:v>
                </c:pt>
                <c:pt idx="1821">
                  <c:v>440160</c:v>
                </c:pt>
                <c:pt idx="1822">
                  <c:v>440973</c:v>
                </c:pt>
                <c:pt idx="1823">
                  <c:v>441834</c:v>
                </c:pt>
                <c:pt idx="1824">
                  <c:v>442544</c:v>
                </c:pt>
                <c:pt idx="1825">
                  <c:v>442544</c:v>
                </c:pt>
                <c:pt idx="1826">
                  <c:v>442544</c:v>
                </c:pt>
                <c:pt idx="1827">
                  <c:v>443535</c:v>
                </c:pt>
                <c:pt idx="1828">
                  <c:v>444373</c:v>
                </c:pt>
                <c:pt idx="1829">
                  <c:v>444373</c:v>
                </c:pt>
                <c:pt idx="1830">
                  <c:v>444923</c:v>
                </c:pt>
                <c:pt idx="1831">
                  <c:v>444923</c:v>
                </c:pt>
                <c:pt idx="1832">
                  <c:v>445943</c:v>
                </c:pt>
                <c:pt idx="1833">
                  <c:v>447093</c:v>
                </c:pt>
                <c:pt idx="1834">
                  <c:v>447093</c:v>
                </c:pt>
                <c:pt idx="1835">
                  <c:v>448226</c:v>
                </c:pt>
                <c:pt idx="1836">
                  <c:v>450036</c:v>
                </c:pt>
                <c:pt idx="1837">
                  <c:v>450036</c:v>
                </c:pt>
                <c:pt idx="1838">
                  <c:v>450937</c:v>
                </c:pt>
                <c:pt idx="1839">
                  <c:v>451662</c:v>
                </c:pt>
                <c:pt idx="1840">
                  <c:v>451662</c:v>
                </c:pt>
                <c:pt idx="1841">
                  <c:v>452549</c:v>
                </c:pt>
                <c:pt idx="1842">
                  <c:v>452149</c:v>
                </c:pt>
                <c:pt idx="1843">
                  <c:v>452149</c:v>
                </c:pt>
                <c:pt idx="1844">
                  <c:v>452508</c:v>
                </c:pt>
                <c:pt idx="1845">
                  <c:v>452508</c:v>
                </c:pt>
                <c:pt idx="1846">
                  <c:v>452958</c:v>
                </c:pt>
                <c:pt idx="1847">
                  <c:v>453456</c:v>
                </c:pt>
                <c:pt idx="1848">
                  <c:v>453966</c:v>
                </c:pt>
                <c:pt idx="1849">
                  <c:v>454617</c:v>
                </c:pt>
                <c:pt idx="1850">
                  <c:v>455128</c:v>
                </c:pt>
                <c:pt idx="1851">
                  <c:v>455926</c:v>
                </c:pt>
                <c:pt idx="1852">
                  <c:v>456430</c:v>
                </c:pt>
                <c:pt idx="1853">
                  <c:v>456928</c:v>
                </c:pt>
                <c:pt idx="1854">
                  <c:v>457429</c:v>
                </c:pt>
                <c:pt idx="1855">
                  <c:v>457137</c:v>
                </c:pt>
                <c:pt idx="1856">
                  <c:v>457838</c:v>
                </c:pt>
                <c:pt idx="1857">
                  <c:v>458536</c:v>
                </c:pt>
                <c:pt idx="1858">
                  <c:v>458536</c:v>
                </c:pt>
                <c:pt idx="1859">
                  <c:v>458536</c:v>
                </c:pt>
                <c:pt idx="1860">
                  <c:v>459626</c:v>
                </c:pt>
                <c:pt idx="1861">
                  <c:v>460727</c:v>
                </c:pt>
                <c:pt idx="1862">
                  <c:v>461528</c:v>
                </c:pt>
                <c:pt idx="1863">
                  <c:v>462648</c:v>
                </c:pt>
                <c:pt idx="1864">
                  <c:v>462648</c:v>
                </c:pt>
                <c:pt idx="1865">
                  <c:v>464569</c:v>
                </c:pt>
                <c:pt idx="1866">
                  <c:v>464213</c:v>
                </c:pt>
                <c:pt idx="1867">
                  <c:v>465114</c:v>
                </c:pt>
                <c:pt idx="1868">
                  <c:v>465965</c:v>
                </c:pt>
                <c:pt idx="1869">
                  <c:v>466155</c:v>
                </c:pt>
                <c:pt idx="1870">
                  <c:v>466404</c:v>
                </c:pt>
                <c:pt idx="1871">
                  <c:v>467474</c:v>
                </c:pt>
                <c:pt idx="1872">
                  <c:v>468329</c:v>
                </c:pt>
                <c:pt idx="1873">
                  <c:v>468680</c:v>
                </c:pt>
                <c:pt idx="1874">
                  <c:v>470031</c:v>
                </c:pt>
                <c:pt idx="1875">
                  <c:v>471464</c:v>
                </c:pt>
                <c:pt idx="1876">
                  <c:v>471887</c:v>
                </c:pt>
                <c:pt idx="1877">
                  <c:v>472638</c:v>
                </c:pt>
                <c:pt idx="1878">
                  <c:v>472638</c:v>
                </c:pt>
                <c:pt idx="1879">
                  <c:v>474760</c:v>
                </c:pt>
                <c:pt idx="1880">
                  <c:v>476040</c:v>
                </c:pt>
                <c:pt idx="1881">
                  <c:v>474760</c:v>
                </c:pt>
                <c:pt idx="1882">
                  <c:v>476040</c:v>
                </c:pt>
                <c:pt idx="1883">
                  <c:v>477501</c:v>
                </c:pt>
                <c:pt idx="1884">
                  <c:v>479055</c:v>
                </c:pt>
                <c:pt idx="1885">
                  <c:v>480475</c:v>
                </c:pt>
                <c:pt idx="1886">
                  <c:v>481846</c:v>
                </c:pt>
                <c:pt idx="1887">
                  <c:v>483026</c:v>
                </c:pt>
                <c:pt idx="1888">
                  <c:v>484057</c:v>
                </c:pt>
                <c:pt idx="1889">
                  <c:v>485438</c:v>
                </c:pt>
                <c:pt idx="1890">
                  <c:v>486499</c:v>
                </c:pt>
                <c:pt idx="1891">
                  <c:v>486897</c:v>
                </c:pt>
                <c:pt idx="1892">
                  <c:v>488317</c:v>
                </c:pt>
                <c:pt idx="1893">
                  <c:v>489728</c:v>
                </c:pt>
                <c:pt idx="1894">
                  <c:v>490158</c:v>
                </c:pt>
                <c:pt idx="1895">
                  <c:v>490158</c:v>
                </c:pt>
                <c:pt idx="1896">
                  <c:v>490459</c:v>
                </c:pt>
                <c:pt idx="1897">
                  <c:v>490710</c:v>
                </c:pt>
                <c:pt idx="1898">
                  <c:v>491492</c:v>
                </c:pt>
                <c:pt idx="1899">
                  <c:v>492523</c:v>
                </c:pt>
                <c:pt idx="1900">
                  <c:v>493503</c:v>
                </c:pt>
                <c:pt idx="1901">
                  <c:v>493548</c:v>
                </c:pt>
                <c:pt idx="1902">
                  <c:v>493553</c:v>
                </c:pt>
                <c:pt idx="1903">
                  <c:v>493559</c:v>
                </c:pt>
                <c:pt idx="1904">
                  <c:v>493562</c:v>
                </c:pt>
                <c:pt idx="1905">
                  <c:v>493562</c:v>
                </c:pt>
                <c:pt idx="1906">
                  <c:v>493562</c:v>
                </c:pt>
                <c:pt idx="1907">
                  <c:v>493562</c:v>
                </c:pt>
                <c:pt idx="1908">
                  <c:v>494692</c:v>
                </c:pt>
                <c:pt idx="1909">
                  <c:v>497593</c:v>
                </c:pt>
                <c:pt idx="1910">
                  <c:v>499114</c:v>
                </c:pt>
                <c:pt idx="1911">
                  <c:v>500501</c:v>
                </c:pt>
                <c:pt idx="1912">
                  <c:v>501902</c:v>
                </c:pt>
                <c:pt idx="1913">
                  <c:v>502833</c:v>
                </c:pt>
                <c:pt idx="1914">
                  <c:v>504044</c:v>
                </c:pt>
                <c:pt idx="1915">
                  <c:v>504985</c:v>
                </c:pt>
                <c:pt idx="1916">
                  <c:v>506286</c:v>
                </c:pt>
                <c:pt idx="1917">
                  <c:v>508277</c:v>
                </c:pt>
                <c:pt idx="1918">
                  <c:v>510259</c:v>
                </c:pt>
                <c:pt idx="1919">
                  <c:v>511190</c:v>
                </c:pt>
                <c:pt idx="1920">
                  <c:v>512991</c:v>
                </c:pt>
                <c:pt idx="1921">
                  <c:v>514830</c:v>
                </c:pt>
                <c:pt idx="1922">
                  <c:v>516411</c:v>
                </c:pt>
                <c:pt idx="1923">
                  <c:v>516964</c:v>
                </c:pt>
                <c:pt idx="1924">
                  <c:v>517555</c:v>
                </c:pt>
                <c:pt idx="1925">
                  <c:v>517555</c:v>
                </c:pt>
                <c:pt idx="1926">
                  <c:v>517555</c:v>
                </c:pt>
                <c:pt idx="1927">
                  <c:v>520300</c:v>
                </c:pt>
                <c:pt idx="1928">
                  <c:v>523281</c:v>
                </c:pt>
                <c:pt idx="1929">
                  <c:v>525362</c:v>
                </c:pt>
                <c:pt idx="1930">
                  <c:v>528492</c:v>
                </c:pt>
                <c:pt idx="1931">
                  <c:v>528492</c:v>
                </c:pt>
                <c:pt idx="1932">
                  <c:v>531393</c:v>
                </c:pt>
                <c:pt idx="1933">
                  <c:v>535403</c:v>
                </c:pt>
                <c:pt idx="1934">
                  <c:v>539254</c:v>
                </c:pt>
                <c:pt idx="1935">
                  <c:v>541755</c:v>
                </c:pt>
                <c:pt idx="1936">
                  <c:v>544436</c:v>
                </c:pt>
                <c:pt idx="1937">
                  <c:v>544404</c:v>
                </c:pt>
                <c:pt idx="1938">
                  <c:v>544404</c:v>
                </c:pt>
                <c:pt idx="1939">
                  <c:v>596478</c:v>
                </c:pt>
                <c:pt idx="1940">
                  <c:v>612895</c:v>
                </c:pt>
                <c:pt idx="1941">
                  <c:v>617524</c:v>
                </c:pt>
                <c:pt idx="1942">
                  <c:v>620457</c:v>
                </c:pt>
                <c:pt idx="1943">
                  <c:v>627321</c:v>
                </c:pt>
                <c:pt idx="1944">
                  <c:v>628894</c:v>
                </c:pt>
                <c:pt idx="1945">
                  <c:v>633549</c:v>
                </c:pt>
                <c:pt idx="1946">
                  <c:v>638426</c:v>
                </c:pt>
                <c:pt idx="1947">
                  <c:v>641207</c:v>
                </c:pt>
                <c:pt idx="1948">
                  <c:v>643403</c:v>
                </c:pt>
                <c:pt idx="1949">
                  <c:v>644996</c:v>
                </c:pt>
                <c:pt idx="1950">
                  <c:v>645955</c:v>
                </c:pt>
                <c:pt idx="1951">
                  <c:v>645290</c:v>
                </c:pt>
                <c:pt idx="1952">
                  <c:v>648764</c:v>
                </c:pt>
                <c:pt idx="1953">
                  <c:v>651374</c:v>
                </c:pt>
                <c:pt idx="1954">
                  <c:v>655953</c:v>
                </c:pt>
                <c:pt idx="1955">
                  <c:v>659148</c:v>
                </c:pt>
                <c:pt idx="1956">
                  <c:v>662501</c:v>
                </c:pt>
                <c:pt idx="1957">
                  <c:v>662202</c:v>
                </c:pt>
                <c:pt idx="1958">
                  <c:v>661728</c:v>
                </c:pt>
                <c:pt idx="1959">
                  <c:v>661384</c:v>
                </c:pt>
                <c:pt idx="1960">
                  <c:v>665245</c:v>
                </c:pt>
                <c:pt idx="1961">
                  <c:v>668677</c:v>
                </c:pt>
                <c:pt idx="1962">
                  <c:v>665532</c:v>
                </c:pt>
                <c:pt idx="1963">
                  <c:v>666421</c:v>
                </c:pt>
                <c:pt idx="1964">
                  <c:v>667239</c:v>
                </c:pt>
                <c:pt idx="1965">
                  <c:v>666861</c:v>
                </c:pt>
                <c:pt idx="1966">
                  <c:v>665332</c:v>
                </c:pt>
                <c:pt idx="1967">
                  <c:v>663928</c:v>
                </c:pt>
                <c:pt idx="1968">
                  <c:v>665436</c:v>
                </c:pt>
                <c:pt idx="1969">
                  <c:v>666518</c:v>
                </c:pt>
                <c:pt idx="1970">
                  <c:v>666528</c:v>
                </c:pt>
                <c:pt idx="1971">
                  <c:v>666032</c:v>
                </c:pt>
                <c:pt idx="1972">
                  <c:v>667373</c:v>
                </c:pt>
                <c:pt idx="1973">
                  <c:v>666809</c:v>
                </c:pt>
                <c:pt idx="1974">
                  <c:v>668976</c:v>
                </c:pt>
                <c:pt idx="1975">
                  <c:v>668317</c:v>
                </c:pt>
                <c:pt idx="1976">
                  <c:v>668718</c:v>
                </c:pt>
                <c:pt idx="1977">
                  <c:v>669318</c:v>
                </c:pt>
                <c:pt idx="1978">
                  <c:v>669165</c:v>
                </c:pt>
                <c:pt idx="1979">
                  <c:v>671232</c:v>
                </c:pt>
                <c:pt idx="1980">
                  <c:v>671239</c:v>
                </c:pt>
                <c:pt idx="1981">
                  <c:v>672202</c:v>
                </c:pt>
                <c:pt idx="1982">
                  <c:v>671175</c:v>
                </c:pt>
                <c:pt idx="1983">
                  <c:v>671274</c:v>
                </c:pt>
                <c:pt idx="1984">
                  <c:v>670644</c:v>
                </c:pt>
                <c:pt idx="1985">
                  <c:v>672512</c:v>
                </c:pt>
                <c:pt idx="1986">
                  <c:v>671393</c:v>
                </c:pt>
                <c:pt idx="1987">
                  <c:v>670121</c:v>
                </c:pt>
                <c:pt idx="1988">
                  <c:v>668769</c:v>
                </c:pt>
                <c:pt idx="1989" formatCode="General">
                  <c:v>673332</c:v>
                </c:pt>
                <c:pt idx="1990" formatCode="General">
                  <c:v>674912</c:v>
                </c:pt>
                <c:pt idx="1991" formatCode="General">
                  <c:v>675382</c:v>
                </c:pt>
                <c:pt idx="1992" formatCode="General">
                  <c:v>675610</c:v>
                </c:pt>
                <c:pt idx="1993" formatCode="General">
                  <c:v>675995</c:v>
                </c:pt>
                <c:pt idx="1994">
                  <c:v>677359</c:v>
                </c:pt>
                <c:pt idx="1995">
                  <c:v>676518</c:v>
                </c:pt>
                <c:pt idx="1996">
                  <c:v>677978</c:v>
                </c:pt>
                <c:pt idx="1997">
                  <c:v>676843</c:v>
                </c:pt>
                <c:pt idx="1998">
                  <c:v>677442</c:v>
                </c:pt>
                <c:pt idx="1999">
                  <c:v>679404</c:v>
                </c:pt>
                <c:pt idx="2000">
                  <c:v>679123</c:v>
                </c:pt>
                <c:pt idx="2001">
                  <c:v>682214</c:v>
                </c:pt>
                <c:pt idx="2002">
                  <c:v>682609</c:v>
                </c:pt>
                <c:pt idx="2003">
                  <c:v>682223</c:v>
                </c:pt>
                <c:pt idx="2004">
                  <c:v>682061</c:v>
                </c:pt>
                <c:pt idx="2005">
                  <c:v>683080</c:v>
                </c:pt>
                <c:pt idx="2006">
                  <c:v>684670</c:v>
                </c:pt>
                <c:pt idx="2007">
                  <c:v>682925</c:v>
                </c:pt>
                <c:pt idx="2008">
                  <c:v>683315</c:v>
                </c:pt>
                <c:pt idx="2009">
                  <c:v>684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3E-4570-8713-19B2CAE2BD8D}"/>
            </c:ext>
          </c:extLst>
        </c:ser>
        <c:ser>
          <c:idx val="1"/>
          <c:order val="1"/>
          <c:tx>
            <c:strRef>
              <c:f>'  ارز-دلار نیمایی      '!$D$1</c:f>
              <c:strCache>
                <c:ptCount val="1"/>
                <c:pt idx="0">
                  <c:v> دلار آزاد 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2007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C3E-4570-8713-19B2CAE2BD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anaFaNum" pitchFamily="2" charset="-78"/>
                    <a:ea typeface="+mn-ea"/>
                    <a:cs typeface="DanaFaNum" pitchFamily="2" charset="-78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  ارز-دلار نیمایی      '!$B$2:$B$2099</c:f>
              <c:strCache>
                <c:ptCount val="2010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09</c:v>
                </c:pt>
                <c:pt idx="5">
                  <c:v>1397-01-14</c:v>
                </c:pt>
                <c:pt idx="6">
                  <c:v>1397-01-15</c:v>
                </c:pt>
                <c:pt idx="7">
                  <c:v>1397-01-16</c:v>
                </c:pt>
                <c:pt idx="8">
                  <c:v>1397-01-18</c:v>
                </c:pt>
                <c:pt idx="9">
                  <c:v>1397-01-19</c:v>
                </c:pt>
                <c:pt idx="10">
                  <c:v>1397-01-20</c:v>
                </c:pt>
                <c:pt idx="11">
                  <c:v>1397-01-21</c:v>
                </c:pt>
                <c:pt idx="12">
                  <c:v>1397-01-22</c:v>
                </c:pt>
                <c:pt idx="13">
                  <c:v>1397-01-26</c:v>
                </c:pt>
                <c:pt idx="14">
                  <c:v>1397-01-27</c:v>
                </c:pt>
                <c:pt idx="15">
                  <c:v>1397-01-28</c:v>
                </c:pt>
                <c:pt idx="16">
                  <c:v>1397-01-29</c:v>
                </c:pt>
                <c:pt idx="17">
                  <c:v>1397-01-30</c:v>
                </c:pt>
                <c:pt idx="18">
                  <c:v>1397-02-01</c:v>
                </c:pt>
                <c:pt idx="19">
                  <c:v>1397-02-02</c:v>
                </c:pt>
                <c:pt idx="20">
                  <c:v>1397-02-03</c:v>
                </c:pt>
                <c:pt idx="21">
                  <c:v>1397-02-04</c:v>
                </c:pt>
                <c:pt idx="22">
                  <c:v>1397-02-05</c:v>
                </c:pt>
                <c:pt idx="23">
                  <c:v>1397-02-06</c:v>
                </c:pt>
                <c:pt idx="24">
                  <c:v>1397-02-08</c:v>
                </c:pt>
                <c:pt idx="25">
                  <c:v>1397-02-09</c:v>
                </c:pt>
                <c:pt idx="26">
                  <c:v>1397-02-10</c:v>
                </c:pt>
                <c:pt idx="27">
                  <c:v>1397-02-11</c:v>
                </c:pt>
                <c:pt idx="28">
                  <c:v>1397-02-12</c:v>
                </c:pt>
                <c:pt idx="29">
                  <c:v>1397-02-13</c:v>
                </c:pt>
                <c:pt idx="30">
                  <c:v>1397-02-15</c:v>
                </c:pt>
                <c:pt idx="31">
                  <c:v>1397-02-16</c:v>
                </c:pt>
                <c:pt idx="32">
                  <c:v>1397-02-17</c:v>
                </c:pt>
                <c:pt idx="33">
                  <c:v>1397-02-18</c:v>
                </c:pt>
                <c:pt idx="34">
                  <c:v>1397-02-19</c:v>
                </c:pt>
                <c:pt idx="35">
                  <c:v>1397-02-20</c:v>
                </c:pt>
                <c:pt idx="36">
                  <c:v>1397-02-22</c:v>
                </c:pt>
                <c:pt idx="37">
                  <c:v>1397-02-23</c:v>
                </c:pt>
                <c:pt idx="38">
                  <c:v>1397-02-24</c:v>
                </c:pt>
                <c:pt idx="39">
                  <c:v>1397-02-25</c:v>
                </c:pt>
                <c:pt idx="40">
                  <c:v>1397-02-26</c:v>
                </c:pt>
                <c:pt idx="41">
                  <c:v>1397-02-27</c:v>
                </c:pt>
                <c:pt idx="42">
                  <c:v>1397-02-29</c:v>
                </c:pt>
                <c:pt idx="43">
                  <c:v>1397-02-30</c:v>
                </c:pt>
                <c:pt idx="44">
                  <c:v>1397-02-31</c:v>
                </c:pt>
                <c:pt idx="45">
                  <c:v>1397-03-01</c:v>
                </c:pt>
                <c:pt idx="46">
                  <c:v>1397-03-02</c:v>
                </c:pt>
                <c:pt idx="47">
                  <c:v>1397-03-03</c:v>
                </c:pt>
                <c:pt idx="48">
                  <c:v>1397-03-05</c:v>
                </c:pt>
                <c:pt idx="49">
                  <c:v>1397-03-06</c:v>
                </c:pt>
                <c:pt idx="50">
                  <c:v>1397-03-07</c:v>
                </c:pt>
                <c:pt idx="51">
                  <c:v>1397-03-08</c:v>
                </c:pt>
                <c:pt idx="52">
                  <c:v>1397-03-09</c:v>
                </c:pt>
                <c:pt idx="53">
                  <c:v>1397-03-10</c:v>
                </c:pt>
                <c:pt idx="54">
                  <c:v>1397-03-12</c:v>
                </c:pt>
                <c:pt idx="55">
                  <c:v>1397-03-13</c:v>
                </c:pt>
                <c:pt idx="56">
                  <c:v>1397-03-14</c:v>
                </c:pt>
                <c:pt idx="57">
                  <c:v>1397-03-15</c:v>
                </c:pt>
                <c:pt idx="58">
                  <c:v>1397-03-16</c:v>
                </c:pt>
                <c:pt idx="59">
                  <c:v>1397-03-17</c:v>
                </c:pt>
                <c:pt idx="60">
                  <c:v>1397-03-19</c:v>
                </c:pt>
                <c:pt idx="61">
                  <c:v>1397-03-20</c:v>
                </c:pt>
                <c:pt idx="62">
                  <c:v>1397-03-21</c:v>
                </c:pt>
                <c:pt idx="63">
                  <c:v>1397-03-22</c:v>
                </c:pt>
                <c:pt idx="64">
                  <c:v>1397-03-23</c:v>
                </c:pt>
                <c:pt idx="65">
                  <c:v>1397-03-24</c:v>
                </c:pt>
                <c:pt idx="66">
                  <c:v>1397-03-26</c:v>
                </c:pt>
                <c:pt idx="67">
                  <c:v>1397-03-27</c:v>
                </c:pt>
                <c:pt idx="68">
                  <c:v>1397-03-28</c:v>
                </c:pt>
                <c:pt idx="69">
                  <c:v>1397-03-29</c:v>
                </c:pt>
                <c:pt idx="70">
                  <c:v>1397-03-30</c:v>
                </c:pt>
                <c:pt idx="71">
                  <c:v>1397-03-31</c:v>
                </c:pt>
                <c:pt idx="72">
                  <c:v>1397-04-02</c:v>
                </c:pt>
                <c:pt idx="73">
                  <c:v>1397-04-03</c:v>
                </c:pt>
                <c:pt idx="74">
                  <c:v>1397-04-04</c:v>
                </c:pt>
                <c:pt idx="75">
                  <c:v>1397-04-05</c:v>
                </c:pt>
                <c:pt idx="76">
                  <c:v>1397-04-06</c:v>
                </c:pt>
                <c:pt idx="77">
                  <c:v>1397-04-07</c:v>
                </c:pt>
                <c:pt idx="78">
                  <c:v>1397-04-09</c:v>
                </c:pt>
                <c:pt idx="79">
                  <c:v>1397-04-10</c:v>
                </c:pt>
                <c:pt idx="80">
                  <c:v>1397-04-11</c:v>
                </c:pt>
                <c:pt idx="81">
                  <c:v>1397-04-12</c:v>
                </c:pt>
                <c:pt idx="82">
                  <c:v>1397-04-13</c:v>
                </c:pt>
                <c:pt idx="83">
                  <c:v>1397-04-14</c:v>
                </c:pt>
                <c:pt idx="84">
                  <c:v>1397-04-16</c:v>
                </c:pt>
                <c:pt idx="85">
                  <c:v>1397-04-17</c:v>
                </c:pt>
                <c:pt idx="86">
                  <c:v>1397-04-18</c:v>
                </c:pt>
                <c:pt idx="87">
                  <c:v>1397-04-19</c:v>
                </c:pt>
                <c:pt idx="88">
                  <c:v>1397-04-20</c:v>
                </c:pt>
                <c:pt idx="89">
                  <c:v>1397-04-21</c:v>
                </c:pt>
                <c:pt idx="90">
                  <c:v>1397-04-23</c:v>
                </c:pt>
                <c:pt idx="91">
                  <c:v>1397-04-24</c:v>
                </c:pt>
                <c:pt idx="92">
                  <c:v>1397-04-25</c:v>
                </c:pt>
                <c:pt idx="93">
                  <c:v>1397-04-26</c:v>
                </c:pt>
                <c:pt idx="94">
                  <c:v>1397-04-27</c:v>
                </c:pt>
                <c:pt idx="95">
                  <c:v>1397-04-28</c:v>
                </c:pt>
                <c:pt idx="96">
                  <c:v>1397-04-30</c:v>
                </c:pt>
                <c:pt idx="97">
                  <c:v>1397-04-31</c:v>
                </c:pt>
                <c:pt idx="98">
                  <c:v>1397-05-01</c:v>
                </c:pt>
                <c:pt idx="99">
                  <c:v>1397-05-02</c:v>
                </c:pt>
                <c:pt idx="100">
                  <c:v>1397-05-03</c:v>
                </c:pt>
                <c:pt idx="101">
                  <c:v>1397-05-04</c:v>
                </c:pt>
                <c:pt idx="102">
                  <c:v>1397-05-05</c:v>
                </c:pt>
                <c:pt idx="103">
                  <c:v>1397-05-06</c:v>
                </c:pt>
                <c:pt idx="104">
                  <c:v>1397-05-07</c:v>
                </c:pt>
                <c:pt idx="105">
                  <c:v>1397-05-08</c:v>
                </c:pt>
                <c:pt idx="106">
                  <c:v>1397-05-09</c:v>
                </c:pt>
                <c:pt idx="107">
                  <c:v>1397-05-10</c:v>
                </c:pt>
                <c:pt idx="108">
                  <c:v>1397-05-11</c:v>
                </c:pt>
                <c:pt idx="109">
                  <c:v>1397-05-12</c:v>
                </c:pt>
                <c:pt idx="110">
                  <c:v>1397-05-13</c:v>
                </c:pt>
                <c:pt idx="111">
                  <c:v>1397-05-14</c:v>
                </c:pt>
                <c:pt idx="112">
                  <c:v>1397-05-15</c:v>
                </c:pt>
                <c:pt idx="113">
                  <c:v>1397-05-16</c:v>
                </c:pt>
                <c:pt idx="114">
                  <c:v>1397-05-17</c:v>
                </c:pt>
                <c:pt idx="115">
                  <c:v>1397-05-18</c:v>
                </c:pt>
                <c:pt idx="116">
                  <c:v>1397-05-19</c:v>
                </c:pt>
                <c:pt idx="117">
                  <c:v>1397-05-20</c:v>
                </c:pt>
                <c:pt idx="118">
                  <c:v>1397-05-21</c:v>
                </c:pt>
                <c:pt idx="119">
                  <c:v>1397-05-22</c:v>
                </c:pt>
                <c:pt idx="120">
                  <c:v>1397-05-23</c:v>
                </c:pt>
                <c:pt idx="121">
                  <c:v>1397-05-24</c:v>
                </c:pt>
                <c:pt idx="122">
                  <c:v>1397-05-25</c:v>
                </c:pt>
                <c:pt idx="123">
                  <c:v>1397-05-26</c:v>
                </c:pt>
                <c:pt idx="124">
                  <c:v>1397-05-27</c:v>
                </c:pt>
                <c:pt idx="125">
                  <c:v>1397-05-28</c:v>
                </c:pt>
                <c:pt idx="126">
                  <c:v>1397-05-29</c:v>
                </c:pt>
                <c:pt idx="127">
                  <c:v>1397-05-30</c:v>
                </c:pt>
                <c:pt idx="128">
                  <c:v>1397-05-31</c:v>
                </c:pt>
                <c:pt idx="129">
                  <c:v>1397-06-01</c:v>
                </c:pt>
                <c:pt idx="130">
                  <c:v>1397-06-02</c:v>
                </c:pt>
                <c:pt idx="131">
                  <c:v>1397-06-03</c:v>
                </c:pt>
                <c:pt idx="132">
                  <c:v>1397-06-04</c:v>
                </c:pt>
                <c:pt idx="133">
                  <c:v>1397-06-05</c:v>
                </c:pt>
                <c:pt idx="134">
                  <c:v>1397-06-06</c:v>
                </c:pt>
                <c:pt idx="135">
                  <c:v>1397-06-07</c:v>
                </c:pt>
                <c:pt idx="136">
                  <c:v>1397-06-08</c:v>
                </c:pt>
                <c:pt idx="137">
                  <c:v>1397-06-09</c:v>
                </c:pt>
                <c:pt idx="138">
                  <c:v>1397-06-10</c:v>
                </c:pt>
                <c:pt idx="139">
                  <c:v>1397-06-11</c:v>
                </c:pt>
                <c:pt idx="140">
                  <c:v>1397-06-12</c:v>
                </c:pt>
                <c:pt idx="141">
                  <c:v>1397-06-13</c:v>
                </c:pt>
                <c:pt idx="142">
                  <c:v>1397-06-14</c:v>
                </c:pt>
                <c:pt idx="143">
                  <c:v>1397-06-15</c:v>
                </c:pt>
                <c:pt idx="144">
                  <c:v>1397-06-17</c:v>
                </c:pt>
                <c:pt idx="145">
                  <c:v>1397-06-18</c:v>
                </c:pt>
                <c:pt idx="146">
                  <c:v>1397-06-19</c:v>
                </c:pt>
                <c:pt idx="147">
                  <c:v>1397-06-20</c:v>
                </c:pt>
                <c:pt idx="148">
                  <c:v>1397-06-21</c:v>
                </c:pt>
                <c:pt idx="149">
                  <c:v>1397-06-22</c:v>
                </c:pt>
                <c:pt idx="150">
                  <c:v>1397-06-24</c:v>
                </c:pt>
                <c:pt idx="151">
                  <c:v>1397-06-25</c:v>
                </c:pt>
                <c:pt idx="152">
                  <c:v>1397-06-26</c:v>
                </c:pt>
                <c:pt idx="153">
                  <c:v>1397-06-27</c:v>
                </c:pt>
                <c:pt idx="154">
                  <c:v>1397-06-31</c:v>
                </c:pt>
                <c:pt idx="155">
                  <c:v>1397-07-01</c:v>
                </c:pt>
                <c:pt idx="156">
                  <c:v>1397-07-02</c:v>
                </c:pt>
                <c:pt idx="157">
                  <c:v>1397-07-03</c:v>
                </c:pt>
                <c:pt idx="158">
                  <c:v>1397-07-04</c:v>
                </c:pt>
                <c:pt idx="159">
                  <c:v>1397-07-05</c:v>
                </c:pt>
                <c:pt idx="160">
                  <c:v>1397-07-07</c:v>
                </c:pt>
                <c:pt idx="161">
                  <c:v>1397-07-08</c:v>
                </c:pt>
                <c:pt idx="162">
                  <c:v>1397-07-09</c:v>
                </c:pt>
                <c:pt idx="163">
                  <c:v>1397-07-10</c:v>
                </c:pt>
                <c:pt idx="164">
                  <c:v>1397-07-11</c:v>
                </c:pt>
                <c:pt idx="165">
                  <c:v>1397-07-12</c:v>
                </c:pt>
                <c:pt idx="166">
                  <c:v>1397-07-14</c:v>
                </c:pt>
                <c:pt idx="167">
                  <c:v>1397-07-15</c:v>
                </c:pt>
                <c:pt idx="168">
                  <c:v>1397-07-16</c:v>
                </c:pt>
                <c:pt idx="169">
                  <c:v>1397-07-17</c:v>
                </c:pt>
                <c:pt idx="170">
                  <c:v>1397-07-18</c:v>
                </c:pt>
                <c:pt idx="171">
                  <c:v>1397-07-19</c:v>
                </c:pt>
                <c:pt idx="172">
                  <c:v>1397-07-21</c:v>
                </c:pt>
                <c:pt idx="173">
                  <c:v>1397-07-22</c:v>
                </c:pt>
                <c:pt idx="174">
                  <c:v>1397-07-23</c:v>
                </c:pt>
                <c:pt idx="175">
                  <c:v>1397-07-24</c:v>
                </c:pt>
                <c:pt idx="176">
                  <c:v>1397-07-25</c:v>
                </c:pt>
                <c:pt idx="177">
                  <c:v>1397-07-26</c:v>
                </c:pt>
                <c:pt idx="178">
                  <c:v>1397-07-28</c:v>
                </c:pt>
                <c:pt idx="179">
                  <c:v>1397-07-29</c:v>
                </c:pt>
                <c:pt idx="180">
                  <c:v>1397-07-30</c:v>
                </c:pt>
                <c:pt idx="181">
                  <c:v>1397-08-01</c:v>
                </c:pt>
                <c:pt idx="182">
                  <c:v>1397-08-02</c:v>
                </c:pt>
                <c:pt idx="183">
                  <c:v>1397-08-03</c:v>
                </c:pt>
                <c:pt idx="184">
                  <c:v>1397-08-04</c:v>
                </c:pt>
                <c:pt idx="185">
                  <c:v>1397-08-05</c:v>
                </c:pt>
                <c:pt idx="186">
                  <c:v>1397-08-06</c:v>
                </c:pt>
                <c:pt idx="187">
                  <c:v>1397-08-07</c:v>
                </c:pt>
                <c:pt idx="188">
                  <c:v>1397-08-09</c:v>
                </c:pt>
                <c:pt idx="189">
                  <c:v>1397-08-10</c:v>
                </c:pt>
                <c:pt idx="190">
                  <c:v>1397-08-11</c:v>
                </c:pt>
                <c:pt idx="191">
                  <c:v>1397-08-12</c:v>
                </c:pt>
                <c:pt idx="192">
                  <c:v>1397-08-13</c:v>
                </c:pt>
                <c:pt idx="193">
                  <c:v>1397-08-14</c:v>
                </c:pt>
                <c:pt idx="194">
                  <c:v>1397-08-15</c:v>
                </c:pt>
                <c:pt idx="195">
                  <c:v>1397-08-18</c:v>
                </c:pt>
                <c:pt idx="196">
                  <c:v>1397-08-19</c:v>
                </c:pt>
                <c:pt idx="197">
                  <c:v>1397-08-20</c:v>
                </c:pt>
                <c:pt idx="198">
                  <c:v>1397-08-21</c:v>
                </c:pt>
                <c:pt idx="199">
                  <c:v>1397-08-22</c:v>
                </c:pt>
                <c:pt idx="200">
                  <c:v>1397-08-23</c:v>
                </c:pt>
                <c:pt idx="201">
                  <c:v>1397-08-24</c:v>
                </c:pt>
                <c:pt idx="202">
                  <c:v>1397-08-25</c:v>
                </c:pt>
                <c:pt idx="203">
                  <c:v>1397-08-26</c:v>
                </c:pt>
                <c:pt idx="204">
                  <c:v>1397-08-27</c:v>
                </c:pt>
                <c:pt idx="205">
                  <c:v>1397-08-28</c:v>
                </c:pt>
                <c:pt idx="206">
                  <c:v>1397-08-29</c:v>
                </c:pt>
                <c:pt idx="207">
                  <c:v>1397-08-30</c:v>
                </c:pt>
                <c:pt idx="208">
                  <c:v>1397-09-01</c:v>
                </c:pt>
                <c:pt idx="209">
                  <c:v>1397-09-03</c:v>
                </c:pt>
                <c:pt idx="210">
                  <c:v>1397-09-05</c:v>
                </c:pt>
                <c:pt idx="211">
                  <c:v>1397-09-06</c:v>
                </c:pt>
                <c:pt idx="212">
                  <c:v>1397-09-07</c:v>
                </c:pt>
                <c:pt idx="213">
                  <c:v>1397-09-08</c:v>
                </c:pt>
                <c:pt idx="214">
                  <c:v>1397-09-10</c:v>
                </c:pt>
                <c:pt idx="215">
                  <c:v>1397-09-11</c:v>
                </c:pt>
                <c:pt idx="216">
                  <c:v>1397-09-12</c:v>
                </c:pt>
                <c:pt idx="217">
                  <c:v>1397-09-13</c:v>
                </c:pt>
                <c:pt idx="218">
                  <c:v>1397-09-14</c:v>
                </c:pt>
                <c:pt idx="219">
                  <c:v>1397-09-15</c:v>
                </c:pt>
                <c:pt idx="220">
                  <c:v>1397-09-17</c:v>
                </c:pt>
                <c:pt idx="221">
                  <c:v>1397-09-18</c:v>
                </c:pt>
                <c:pt idx="222">
                  <c:v>1397-09-19</c:v>
                </c:pt>
                <c:pt idx="223">
                  <c:v>1397-09-20</c:v>
                </c:pt>
                <c:pt idx="224">
                  <c:v>1397-09-21</c:v>
                </c:pt>
                <c:pt idx="225">
                  <c:v>1397-09-22</c:v>
                </c:pt>
                <c:pt idx="226">
                  <c:v>1397-09-24</c:v>
                </c:pt>
                <c:pt idx="227">
                  <c:v>1397-09-25</c:v>
                </c:pt>
                <c:pt idx="228">
                  <c:v>1397-09-26</c:v>
                </c:pt>
                <c:pt idx="229">
                  <c:v>1397-09-27</c:v>
                </c:pt>
                <c:pt idx="230">
                  <c:v>1397-09-28</c:v>
                </c:pt>
                <c:pt idx="231">
                  <c:v>1397-09-29</c:v>
                </c:pt>
                <c:pt idx="232">
                  <c:v>1397-10-01</c:v>
                </c:pt>
                <c:pt idx="233">
                  <c:v>1397-10-02</c:v>
                </c:pt>
                <c:pt idx="234">
                  <c:v>1397-10-03</c:v>
                </c:pt>
                <c:pt idx="235">
                  <c:v>1397-10-04</c:v>
                </c:pt>
                <c:pt idx="236">
                  <c:v>1397-10-05</c:v>
                </c:pt>
                <c:pt idx="237">
                  <c:v>1397-10-06</c:v>
                </c:pt>
                <c:pt idx="238">
                  <c:v>1397-10-08</c:v>
                </c:pt>
                <c:pt idx="239">
                  <c:v>1397-10-09</c:v>
                </c:pt>
                <c:pt idx="240">
                  <c:v>1397-10-10</c:v>
                </c:pt>
                <c:pt idx="241">
                  <c:v>1397-10-11</c:v>
                </c:pt>
                <c:pt idx="242">
                  <c:v>1397-10-12</c:v>
                </c:pt>
                <c:pt idx="243">
                  <c:v>1397-10-13</c:v>
                </c:pt>
                <c:pt idx="244">
                  <c:v>1397-10-15</c:v>
                </c:pt>
                <c:pt idx="245">
                  <c:v>1397-10-16</c:v>
                </c:pt>
                <c:pt idx="246">
                  <c:v>1397-10-17</c:v>
                </c:pt>
                <c:pt idx="247">
                  <c:v>1397-10-18</c:v>
                </c:pt>
                <c:pt idx="248">
                  <c:v>1397-10-19</c:v>
                </c:pt>
                <c:pt idx="249">
                  <c:v>1397-10-20</c:v>
                </c:pt>
                <c:pt idx="250">
                  <c:v>1397-10-22</c:v>
                </c:pt>
                <c:pt idx="251">
                  <c:v>1397-10-23</c:v>
                </c:pt>
                <c:pt idx="252">
                  <c:v>1397-10-24</c:v>
                </c:pt>
                <c:pt idx="253">
                  <c:v>1397-10-25</c:v>
                </c:pt>
                <c:pt idx="254">
                  <c:v>1397-10-26</c:v>
                </c:pt>
                <c:pt idx="255">
                  <c:v>1397-10-27</c:v>
                </c:pt>
                <c:pt idx="256">
                  <c:v>1397-10-29</c:v>
                </c:pt>
                <c:pt idx="257">
                  <c:v>1397-10-30</c:v>
                </c:pt>
                <c:pt idx="258">
                  <c:v>1397-11-01</c:v>
                </c:pt>
                <c:pt idx="259">
                  <c:v>1397-11-02</c:v>
                </c:pt>
                <c:pt idx="260">
                  <c:v>1397-11-03</c:v>
                </c:pt>
                <c:pt idx="261">
                  <c:v>1397-11-04</c:v>
                </c:pt>
                <c:pt idx="262">
                  <c:v>1397-11-06</c:v>
                </c:pt>
                <c:pt idx="263">
                  <c:v>1397-11-07</c:v>
                </c:pt>
                <c:pt idx="264">
                  <c:v>1397-11-08</c:v>
                </c:pt>
                <c:pt idx="265">
                  <c:v>1397-11-09</c:v>
                </c:pt>
                <c:pt idx="266">
                  <c:v>1397-11-10</c:v>
                </c:pt>
                <c:pt idx="267">
                  <c:v>1397-11-11</c:v>
                </c:pt>
                <c:pt idx="268">
                  <c:v>1397-11-13</c:v>
                </c:pt>
                <c:pt idx="269">
                  <c:v>1397-11-14</c:v>
                </c:pt>
                <c:pt idx="270">
                  <c:v>1397-11-15</c:v>
                </c:pt>
                <c:pt idx="271">
                  <c:v>1397-11-16</c:v>
                </c:pt>
                <c:pt idx="272">
                  <c:v>1397-11-17</c:v>
                </c:pt>
                <c:pt idx="273">
                  <c:v>1397-11-18</c:v>
                </c:pt>
                <c:pt idx="274">
                  <c:v>1397-11-21</c:v>
                </c:pt>
                <c:pt idx="275">
                  <c:v>1397-11-23</c:v>
                </c:pt>
                <c:pt idx="276">
                  <c:v>1397-11-24</c:v>
                </c:pt>
                <c:pt idx="277">
                  <c:v>1397-11-27</c:v>
                </c:pt>
                <c:pt idx="278">
                  <c:v>1397-11-28</c:v>
                </c:pt>
                <c:pt idx="279">
                  <c:v>1397-11-29</c:v>
                </c:pt>
                <c:pt idx="280">
                  <c:v>1397-11-30</c:v>
                </c:pt>
                <c:pt idx="281">
                  <c:v>1397-12-01</c:v>
                </c:pt>
                <c:pt idx="282">
                  <c:v>1397-12-02</c:v>
                </c:pt>
                <c:pt idx="283">
                  <c:v>1397-12-04</c:v>
                </c:pt>
                <c:pt idx="284">
                  <c:v>1397-12-05</c:v>
                </c:pt>
                <c:pt idx="285">
                  <c:v>1397-12-06</c:v>
                </c:pt>
                <c:pt idx="286">
                  <c:v>1397-12-07</c:v>
                </c:pt>
                <c:pt idx="287">
                  <c:v>1397-12-08</c:v>
                </c:pt>
                <c:pt idx="288">
                  <c:v>1397-12-09</c:v>
                </c:pt>
                <c:pt idx="289">
                  <c:v>1397-12-11</c:v>
                </c:pt>
                <c:pt idx="290">
                  <c:v>1397-12-12</c:v>
                </c:pt>
                <c:pt idx="291">
                  <c:v>1397-12-13</c:v>
                </c:pt>
                <c:pt idx="292">
                  <c:v>1397-12-14</c:v>
                </c:pt>
                <c:pt idx="293">
                  <c:v>1397-12-15</c:v>
                </c:pt>
                <c:pt idx="294">
                  <c:v>1397-12-16</c:v>
                </c:pt>
                <c:pt idx="295">
                  <c:v>1397-12-18</c:v>
                </c:pt>
                <c:pt idx="296">
                  <c:v>1397-12-19</c:v>
                </c:pt>
                <c:pt idx="297">
                  <c:v>1397-12-20</c:v>
                </c:pt>
                <c:pt idx="298">
                  <c:v>1397-12-21</c:v>
                </c:pt>
                <c:pt idx="299">
                  <c:v>1397-12-22</c:v>
                </c:pt>
                <c:pt idx="300">
                  <c:v>1397-12-23</c:v>
                </c:pt>
                <c:pt idx="301">
                  <c:v>1397-12-25</c:v>
                </c:pt>
                <c:pt idx="302">
                  <c:v>1397-12-26</c:v>
                </c:pt>
                <c:pt idx="303">
                  <c:v>1397-12-27</c:v>
                </c:pt>
                <c:pt idx="304">
                  <c:v>1397-12-28</c:v>
                </c:pt>
                <c:pt idx="305">
                  <c:v>1398-01-05</c:v>
                </c:pt>
                <c:pt idx="306">
                  <c:v>1398-01-06</c:v>
                </c:pt>
                <c:pt idx="307">
                  <c:v>1398-01-07</c:v>
                </c:pt>
                <c:pt idx="308">
                  <c:v>1398-01-10</c:v>
                </c:pt>
                <c:pt idx="309">
                  <c:v>1398-01-11</c:v>
                </c:pt>
                <c:pt idx="310">
                  <c:v>1398-01-17</c:v>
                </c:pt>
                <c:pt idx="311">
                  <c:v>1398-01-18</c:v>
                </c:pt>
                <c:pt idx="312">
                  <c:v>1398-01-19</c:v>
                </c:pt>
                <c:pt idx="313">
                  <c:v>1398-01-20</c:v>
                </c:pt>
                <c:pt idx="314">
                  <c:v>1398-01-21</c:v>
                </c:pt>
                <c:pt idx="315">
                  <c:v>1398-01-24</c:v>
                </c:pt>
                <c:pt idx="316">
                  <c:v>1398-01-25</c:v>
                </c:pt>
                <c:pt idx="317">
                  <c:v>1398-01-26</c:v>
                </c:pt>
                <c:pt idx="318">
                  <c:v>1398-01-27</c:v>
                </c:pt>
                <c:pt idx="319">
                  <c:v>1398-01-28</c:v>
                </c:pt>
                <c:pt idx="320">
                  <c:v>1398-01-31</c:v>
                </c:pt>
                <c:pt idx="321">
                  <c:v>1398-02-02</c:v>
                </c:pt>
                <c:pt idx="322">
                  <c:v>1398-02-03</c:v>
                </c:pt>
                <c:pt idx="323">
                  <c:v>1398-02-04</c:v>
                </c:pt>
                <c:pt idx="324">
                  <c:v>1398-02-07</c:v>
                </c:pt>
                <c:pt idx="325">
                  <c:v>1398-02-08</c:v>
                </c:pt>
                <c:pt idx="326">
                  <c:v>1398-02-09</c:v>
                </c:pt>
                <c:pt idx="327">
                  <c:v>1398-02-10</c:v>
                </c:pt>
                <c:pt idx="328">
                  <c:v>1398-02-11</c:v>
                </c:pt>
                <c:pt idx="329">
                  <c:v>1398-02-12</c:v>
                </c:pt>
                <c:pt idx="330">
                  <c:v>1398-02-14</c:v>
                </c:pt>
                <c:pt idx="331">
                  <c:v>1398-02-15</c:v>
                </c:pt>
                <c:pt idx="332">
                  <c:v>1398-02-16</c:v>
                </c:pt>
                <c:pt idx="333">
                  <c:v>1398-02-17</c:v>
                </c:pt>
                <c:pt idx="334">
                  <c:v>1398-02-18</c:v>
                </c:pt>
                <c:pt idx="335">
                  <c:v>1398-02-19</c:v>
                </c:pt>
                <c:pt idx="336">
                  <c:v>1398-02-21</c:v>
                </c:pt>
                <c:pt idx="337">
                  <c:v>1398-02-22</c:v>
                </c:pt>
                <c:pt idx="338">
                  <c:v>1398-02-23</c:v>
                </c:pt>
                <c:pt idx="339">
                  <c:v>1398-02-24</c:v>
                </c:pt>
                <c:pt idx="340">
                  <c:v>1398-02-25</c:v>
                </c:pt>
                <c:pt idx="341">
                  <c:v>1398-02-26</c:v>
                </c:pt>
                <c:pt idx="342">
                  <c:v>1398-02-28</c:v>
                </c:pt>
                <c:pt idx="343">
                  <c:v>1398-02-29</c:v>
                </c:pt>
                <c:pt idx="344">
                  <c:v>1398-02-30</c:v>
                </c:pt>
                <c:pt idx="345">
                  <c:v>1398-02-31</c:v>
                </c:pt>
                <c:pt idx="346">
                  <c:v>1398-03-01</c:v>
                </c:pt>
                <c:pt idx="347">
                  <c:v>1398-03-02</c:v>
                </c:pt>
                <c:pt idx="348">
                  <c:v>1398-03-04</c:v>
                </c:pt>
                <c:pt idx="349">
                  <c:v>1398-03-05</c:v>
                </c:pt>
                <c:pt idx="350">
                  <c:v>1398-03-07</c:v>
                </c:pt>
                <c:pt idx="351">
                  <c:v>1398-03-08</c:v>
                </c:pt>
                <c:pt idx="352">
                  <c:v>1398-03-09</c:v>
                </c:pt>
                <c:pt idx="353">
                  <c:v>1398-03-11</c:v>
                </c:pt>
                <c:pt idx="354">
                  <c:v>1398-03-12</c:v>
                </c:pt>
                <c:pt idx="355">
                  <c:v>1398-03-13</c:v>
                </c:pt>
                <c:pt idx="356">
                  <c:v>1398-03-18</c:v>
                </c:pt>
                <c:pt idx="357">
                  <c:v>1398-03-19</c:v>
                </c:pt>
                <c:pt idx="358">
                  <c:v>1398-03-20</c:v>
                </c:pt>
                <c:pt idx="359">
                  <c:v>1398-03-21</c:v>
                </c:pt>
                <c:pt idx="360">
                  <c:v>1398-03-22</c:v>
                </c:pt>
                <c:pt idx="361">
                  <c:v>1398-03-25</c:v>
                </c:pt>
                <c:pt idx="362">
                  <c:v>1398-03-26</c:v>
                </c:pt>
                <c:pt idx="363">
                  <c:v>1398-03-27</c:v>
                </c:pt>
                <c:pt idx="364">
                  <c:v>1398-03-28</c:v>
                </c:pt>
                <c:pt idx="365">
                  <c:v>1398-03-29</c:v>
                </c:pt>
                <c:pt idx="366">
                  <c:v>1398-03-30</c:v>
                </c:pt>
                <c:pt idx="367">
                  <c:v>1398-04-01</c:v>
                </c:pt>
                <c:pt idx="368">
                  <c:v>1398-04-02</c:v>
                </c:pt>
                <c:pt idx="369">
                  <c:v>1398-04-03</c:v>
                </c:pt>
                <c:pt idx="370">
                  <c:v>1398-04-04</c:v>
                </c:pt>
                <c:pt idx="371">
                  <c:v>1398-04-05</c:v>
                </c:pt>
                <c:pt idx="372">
                  <c:v>1398-04-06</c:v>
                </c:pt>
                <c:pt idx="373">
                  <c:v>1398-04-09</c:v>
                </c:pt>
                <c:pt idx="374">
                  <c:v>1398-04-10</c:v>
                </c:pt>
                <c:pt idx="375">
                  <c:v>1398-04-11</c:v>
                </c:pt>
                <c:pt idx="376">
                  <c:v>1398-04-12</c:v>
                </c:pt>
                <c:pt idx="377">
                  <c:v>1398-04-13</c:v>
                </c:pt>
                <c:pt idx="378">
                  <c:v>1398-04-15</c:v>
                </c:pt>
                <c:pt idx="379">
                  <c:v>1398-04-16</c:v>
                </c:pt>
                <c:pt idx="380">
                  <c:v>1398-04-17</c:v>
                </c:pt>
                <c:pt idx="381">
                  <c:v>1398-04-18</c:v>
                </c:pt>
                <c:pt idx="382">
                  <c:v>1398-04-19</c:v>
                </c:pt>
                <c:pt idx="383">
                  <c:v>1398-04-20</c:v>
                </c:pt>
                <c:pt idx="384">
                  <c:v>1398-04-22</c:v>
                </c:pt>
                <c:pt idx="385">
                  <c:v>1398-04-23</c:v>
                </c:pt>
                <c:pt idx="386">
                  <c:v>1398-04-24</c:v>
                </c:pt>
                <c:pt idx="387">
                  <c:v>1398-04-25</c:v>
                </c:pt>
                <c:pt idx="388">
                  <c:v>1398-04-26</c:v>
                </c:pt>
                <c:pt idx="389">
                  <c:v>1398-04-27</c:v>
                </c:pt>
                <c:pt idx="390">
                  <c:v>1398-04-29</c:v>
                </c:pt>
                <c:pt idx="391">
                  <c:v>1398-04-30</c:v>
                </c:pt>
                <c:pt idx="392">
                  <c:v>1398-04-31</c:v>
                </c:pt>
                <c:pt idx="393">
                  <c:v>1398-05-01</c:v>
                </c:pt>
                <c:pt idx="394">
                  <c:v>1398-05-02</c:v>
                </c:pt>
                <c:pt idx="395">
                  <c:v>1398-05-03</c:v>
                </c:pt>
                <c:pt idx="396">
                  <c:v>1398-05-05</c:v>
                </c:pt>
                <c:pt idx="397">
                  <c:v>1398-05-06</c:v>
                </c:pt>
                <c:pt idx="398">
                  <c:v>1398-05-07</c:v>
                </c:pt>
                <c:pt idx="399">
                  <c:v>1398-05-08</c:v>
                </c:pt>
                <c:pt idx="400">
                  <c:v>1398-05-09</c:v>
                </c:pt>
                <c:pt idx="401">
                  <c:v>1398-05-10</c:v>
                </c:pt>
                <c:pt idx="402">
                  <c:v>1398-05-12</c:v>
                </c:pt>
                <c:pt idx="403">
                  <c:v>1398-05-13</c:v>
                </c:pt>
                <c:pt idx="404">
                  <c:v>1398-05-14</c:v>
                </c:pt>
                <c:pt idx="405">
                  <c:v>1398-05-15</c:v>
                </c:pt>
                <c:pt idx="406">
                  <c:v>1398-05-16</c:v>
                </c:pt>
                <c:pt idx="407">
                  <c:v>1398-05-17</c:v>
                </c:pt>
                <c:pt idx="408">
                  <c:v>1398-05-19</c:v>
                </c:pt>
                <c:pt idx="409">
                  <c:v>1398-05-20</c:v>
                </c:pt>
                <c:pt idx="410">
                  <c:v>1398-05-22</c:v>
                </c:pt>
                <c:pt idx="411">
                  <c:v>1398-05-23</c:v>
                </c:pt>
                <c:pt idx="412">
                  <c:v>1398-05-24</c:v>
                </c:pt>
                <c:pt idx="413">
                  <c:v>1398-05-26</c:v>
                </c:pt>
                <c:pt idx="414">
                  <c:v>1398-05-27</c:v>
                </c:pt>
                <c:pt idx="415">
                  <c:v>1398-05-28</c:v>
                </c:pt>
                <c:pt idx="416">
                  <c:v>1398-05-30</c:v>
                </c:pt>
                <c:pt idx="417">
                  <c:v>1398-05-31</c:v>
                </c:pt>
                <c:pt idx="418">
                  <c:v>1398-06-02</c:v>
                </c:pt>
                <c:pt idx="419">
                  <c:v>1398-06-03</c:v>
                </c:pt>
                <c:pt idx="420">
                  <c:v>1398-06-04</c:v>
                </c:pt>
                <c:pt idx="421">
                  <c:v>1398-06-05</c:v>
                </c:pt>
                <c:pt idx="422">
                  <c:v>1398-06-06</c:v>
                </c:pt>
                <c:pt idx="423">
                  <c:v>1398-06-07</c:v>
                </c:pt>
                <c:pt idx="424">
                  <c:v>1398-06-09</c:v>
                </c:pt>
                <c:pt idx="425">
                  <c:v>1398-06-10</c:v>
                </c:pt>
                <c:pt idx="426">
                  <c:v>1398-06-11</c:v>
                </c:pt>
                <c:pt idx="427">
                  <c:v>1398-06-12</c:v>
                </c:pt>
                <c:pt idx="428">
                  <c:v>1398-06-13</c:v>
                </c:pt>
                <c:pt idx="429">
                  <c:v>1398-06-14</c:v>
                </c:pt>
                <c:pt idx="430">
                  <c:v>1398-06-16</c:v>
                </c:pt>
                <c:pt idx="431">
                  <c:v>1398-06-17</c:v>
                </c:pt>
                <c:pt idx="432">
                  <c:v>1398-06-20</c:v>
                </c:pt>
                <c:pt idx="433">
                  <c:v>1398-06-21</c:v>
                </c:pt>
                <c:pt idx="434">
                  <c:v>1398-06-23</c:v>
                </c:pt>
                <c:pt idx="435">
                  <c:v>1398-06-24</c:v>
                </c:pt>
                <c:pt idx="436">
                  <c:v>1398-06-25</c:v>
                </c:pt>
                <c:pt idx="437">
                  <c:v>1398-06-26</c:v>
                </c:pt>
                <c:pt idx="438">
                  <c:v>1398-06-27</c:v>
                </c:pt>
                <c:pt idx="439">
                  <c:v>1398-06-28</c:v>
                </c:pt>
                <c:pt idx="440">
                  <c:v>1398-06-30</c:v>
                </c:pt>
                <c:pt idx="441">
                  <c:v>1398-06-31</c:v>
                </c:pt>
                <c:pt idx="442">
                  <c:v>1398-07-01</c:v>
                </c:pt>
                <c:pt idx="443">
                  <c:v>1398-07-02</c:v>
                </c:pt>
                <c:pt idx="444">
                  <c:v>1398-07-03</c:v>
                </c:pt>
                <c:pt idx="445">
                  <c:v>1398-07-04</c:v>
                </c:pt>
                <c:pt idx="446">
                  <c:v>1398-07-06</c:v>
                </c:pt>
                <c:pt idx="447">
                  <c:v>1398-07-07</c:v>
                </c:pt>
                <c:pt idx="448">
                  <c:v>1398-07-08</c:v>
                </c:pt>
                <c:pt idx="449">
                  <c:v>1398-07-09</c:v>
                </c:pt>
                <c:pt idx="450">
                  <c:v>1398-07-10</c:v>
                </c:pt>
                <c:pt idx="451">
                  <c:v>1398-07-11</c:v>
                </c:pt>
                <c:pt idx="452">
                  <c:v>1398-07-13</c:v>
                </c:pt>
                <c:pt idx="453">
                  <c:v>1398-07-14</c:v>
                </c:pt>
                <c:pt idx="454">
                  <c:v>1398-07-15</c:v>
                </c:pt>
                <c:pt idx="455">
                  <c:v>1398-07-16</c:v>
                </c:pt>
                <c:pt idx="456">
                  <c:v>1398-07-17</c:v>
                </c:pt>
                <c:pt idx="457">
                  <c:v>1398-07-18</c:v>
                </c:pt>
                <c:pt idx="458">
                  <c:v>1398-07-20</c:v>
                </c:pt>
                <c:pt idx="459">
                  <c:v>1398-07-21</c:v>
                </c:pt>
                <c:pt idx="460">
                  <c:v>1398-07-22</c:v>
                </c:pt>
                <c:pt idx="461">
                  <c:v>1398-07-23</c:v>
                </c:pt>
                <c:pt idx="462">
                  <c:v>1398-07-24</c:v>
                </c:pt>
                <c:pt idx="463">
                  <c:v>1398-07-25</c:v>
                </c:pt>
                <c:pt idx="464">
                  <c:v>1398-07-28</c:v>
                </c:pt>
                <c:pt idx="465">
                  <c:v>1398-07-29</c:v>
                </c:pt>
                <c:pt idx="466">
                  <c:v>1398-07-30</c:v>
                </c:pt>
                <c:pt idx="467">
                  <c:v>1398-08-01</c:v>
                </c:pt>
                <c:pt idx="468">
                  <c:v>1398-08-02</c:v>
                </c:pt>
                <c:pt idx="469">
                  <c:v>1398-08-04</c:v>
                </c:pt>
                <c:pt idx="470">
                  <c:v>1398-08-06</c:v>
                </c:pt>
                <c:pt idx="471">
                  <c:v>1398-08-08</c:v>
                </c:pt>
                <c:pt idx="472">
                  <c:v>1398-08-09</c:v>
                </c:pt>
                <c:pt idx="473">
                  <c:v>1398-08-11</c:v>
                </c:pt>
                <c:pt idx="474">
                  <c:v>1398-08-12</c:v>
                </c:pt>
                <c:pt idx="475">
                  <c:v>1398-08-13</c:v>
                </c:pt>
                <c:pt idx="476">
                  <c:v>1398-08-14</c:v>
                </c:pt>
                <c:pt idx="477">
                  <c:v>1398-08-16</c:v>
                </c:pt>
                <c:pt idx="478">
                  <c:v>1398-08-18</c:v>
                </c:pt>
                <c:pt idx="479">
                  <c:v>1398-08-19</c:v>
                </c:pt>
                <c:pt idx="480">
                  <c:v>1398-08-20</c:v>
                </c:pt>
                <c:pt idx="481">
                  <c:v>1398-08-21</c:v>
                </c:pt>
                <c:pt idx="482">
                  <c:v>1398-08-22</c:v>
                </c:pt>
                <c:pt idx="483">
                  <c:v>1398-08-23</c:v>
                </c:pt>
                <c:pt idx="484">
                  <c:v>1398-08-25</c:v>
                </c:pt>
                <c:pt idx="485">
                  <c:v>1398-08-26</c:v>
                </c:pt>
                <c:pt idx="486">
                  <c:v>1398-08-27</c:v>
                </c:pt>
                <c:pt idx="487">
                  <c:v>1398-08-28</c:v>
                </c:pt>
                <c:pt idx="488">
                  <c:v>1398-08-29</c:v>
                </c:pt>
                <c:pt idx="489">
                  <c:v>1398-08-30</c:v>
                </c:pt>
                <c:pt idx="490">
                  <c:v>1398-09-02</c:v>
                </c:pt>
                <c:pt idx="491">
                  <c:v>1398-09-03</c:v>
                </c:pt>
                <c:pt idx="492">
                  <c:v>1398-09-04</c:v>
                </c:pt>
                <c:pt idx="493">
                  <c:v>1398-09-05</c:v>
                </c:pt>
                <c:pt idx="494">
                  <c:v>1398-09-06</c:v>
                </c:pt>
                <c:pt idx="495">
                  <c:v>1398-09-07</c:v>
                </c:pt>
                <c:pt idx="496">
                  <c:v>1398-09-09</c:v>
                </c:pt>
                <c:pt idx="497">
                  <c:v>1398-09-10</c:v>
                </c:pt>
                <c:pt idx="498">
                  <c:v>1398-09-11</c:v>
                </c:pt>
                <c:pt idx="499">
                  <c:v>1398-09-12</c:v>
                </c:pt>
                <c:pt idx="500">
                  <c:v>1398-09-13</c:v>
                </c:pt>
                <c:pt idx="501">
                  <c:v>1398-09-14</c:v>
                </c:pt>
                <c:pt idx="502">
                  <c:v>1398-09-16</c:v>
                </c:pt>
                <c:pt idx="503">
                  <c:v>1398-09-17</c:v>
                </c:pt>
                <c:pt idx="504">
                  <c:v>1398-09-18</c:v>
                </c:pt>
                <c:pt idx="505">
                  <c:v>1398-09-19</c:v>
                </c:pt>
                <c:pt idx="506">
                  <c:v>1398-09-20</c:v>
                </c:pt>
                <c:pt idx="507">
                  <c:v>1398-09-21</c:v>
                </c:pt>
                <c:pt idx="508">
                  <c:v>1398-09-23</c:v>
                </c:pt>
                <c:pt idx="509">
                  <c:v>1398-09-24</c:v>
                </c:pt>
                <c:pt idx="510">
                  <c:v>1398-09-25</c:v>
                </c:pt>
                <c:pt idx="511">
                  <c:v>1398-09-26</c:v>
                </c:pt>
                <c:pt idx="512">
                  <c:v>1398-09-27</c:v>
                </c:pt>
                <c:pt idx="513">
                  <c:v>1398-09-28</c:v>
                </c:pt>
                <c:pt idx="514">
                  <c:v>1398-09-30</c:v>
                </c:pt>
                <c:pt idx="515">
                  <c:v>1398-10-01</c:v>
                </c:pt>
                <c:pt idx="516">
                  <c:v>1398-10-02</c:v>
                </c:pt>
                <c:pt idx="517">
                  <c:v>1398-10-03</c:v>
                </c:pt>
                <c:pt idx="518">
                  <c:v>1398-10-04</c:v>
                </c:pt>
                <c:pt idx="519">
                  <c:v>1398-10-05</c:v>
                </c:pt>
                <c:pt idx="520">
                  <c:v>1398-10-07</c:v>
                </c:pt>
                <c:pt idx="521">
                  <c:v>1398-10-08</c:v>
                </c:pt>
                <c:pt idx="522">
                  <c:v>1398-10-09</c:v>
                </c:pt>
                <c:pt idx="523">
                  <c:v>1398-10-10</c:v>
                </c:pt>
                <c:pt idx="524">
                  <c:v>1398-10-11</c:v>
                </c:pt>
                <c:pt idx="525">
                  <c:v>1398-10-12</c:v>
                </c:pt>
                <c:pt idx="526">
                  <c:v>1398-10-14</c:v>
                </c:pt>
                <c:pt idx="527">
                  <c:v>1398-10-15</c:v>
                </c:pt>
                <c:pt idx="528">
                  <c:v>1398-10-16</c:v>
                </c:pt>
                <c:pt idx="529">
                  <c:v>1398-10-17</c:v>
                </c:pt>
                <c:pt idx="530">
                  <c:v>1398-10-18</c:v>
                </c:pt>
                <c:pt idx="531">
                  <c:v>1398-10-19</c:v>
                </c:pt>
                <c:pt idx="532">
                  <c:v>1398-10-21</c:v>
                </c:pt>
                <c:pt idx="533">
                  <c:v>1398-10-22</c:v>
                </c:pt>
                <c:pt idx="534">
                  <c:v>1398-10-23</c:v>
                </c:pt>
                <c:pt idx="535">
                  <c:v>1398-10-24</c:v>
                </c:pt>
                <c:pt idx="536">
                  <c:v>1398-10-25</c:v>
                </c:pt>
                <c:pt idx="537">
                  <c:v>1398-10-26</c:v>
                </c:pt>
                <c:pt idx="538">
                  <c:v>1398-10-28</c:v>
                </c:pt>
                <c:pt idx="539">
                  <c:v>1398-10-29</c:v>
                </c:pt>
                <c:pt idx="540">
                  <c:v>1398-10-30</c:v>
                </c:pt>
                <c:pt idx="541">
                  <c:v>1398-11-01</c:v>
                </c:pt>
                <c:pt idx="542">
                  <c:v>1398-11-02</c:v>
                </c:pt>
                <c:pt idx="543">
                  <c:v>1398-11-03</c:v>
                </c:pt>
                <c:pt idx="544">
                  <c:v>1398-11-05</c:v>
                </c:pt>
                <c:pt idx="545">
                  <c:v>1398-11-06</c:v>
                </c:pt>
                <c:pt idx="546">
                  <c:v>1398-11-07</c:v>
                </c:pt>
                <c:pt idx="547">
                  <c:v>1398-11-08</c:v>
                </c:pt>
                <c:pt idx="548">
                  <c:v>1398-11-10</c:v>
                </c:pt>
                <c:pt idx="549">
                  <c:v>1398-11-12</c:v>
                </c:pt>
                <c:pt idx="550">
                  <c:v>1398-11-13</c:v>
                </c:pt>
                <c:pt idx="551">
                  <c:v>1398-11-14</c:v>
                </c:pt>
                <c:pt idx="552">
                  <c:v>1398-11-15</c:v>
                </c:pt>
                <c:pt idx="553">
                  <c:v>1398-11-16</c:v>
                </c:pt>
                <c:pt idx="554">
                  <c:v>1398-11-17</c:v>
                </c:pt>
                <c:pt idx="555">
                  <c:v>1398-11-19</c:v>
                </c:pt>
                <c:pt idx="556">
                  <c:v>1398-11-20</c:v>
                </c:pt>
                <c:pt idx="557">
                  <c:v>1398-11-21</c:v>
                </c:pt>
                <c:pt idx="558">
                  <c:v>1398-11-23</c:v>
                </c:pt>
                <c:pt idx="559">
                  <c:v>1398-11-24</c:v>
                </c:pt>
                <c:pt idx="560">
                  <c:v>1398-11-26</c:v>
                </c:pt>
                <c:pt idx="561">
                  <c:v>1398-11-27</c:v>
                </c:pt>
                <c:pt idx="562">
                  <c:v>1398-11-28</c:v>
                </c:pt>
                <c:pt idx="563">
                  <c:v>1398-11-29</c:v>
                </c:pt>
                <c:pt idx="564">
                  <c:v>1398-11-30</c:v>
                </c:pt>
                <c:pt idx="565">
                  <c:v>1398-12-01</c:v>
                </c:pt>
                <c:pt idx="566">
                  <c:v>1398-12-03</c:v>
                </c:pt>
                <c:pt idx="567">
                  <c:v>1398-12-04</c:v>
                </c:pt>
                <c:pt idx="568">
                  <c:v>1398-12-05</c:v>
                </c:pt>
                <c:pt idx="569">
                  <c:v>1398-12-06</c:v>
                </c:pt>
                <c:pt idx="570">
                  <c:v>1398-12-07</c:v>
                </c:pt>
                <c:pt idx="571">
                  <c:v>1398-12-08</c:v>
                </c:pt>
                <c:pt idx="572">
                  <c:v>1398-12-10</c:v>
                </c:pt>
                <c:pt idx="573">
                  <c:v>1398-12-11</c:v>
                </c:pt>
                <c:pt idx="574">
                  <c:v>1398-12-12</c:v>
                </c:pt>
                <c:pt idx="575">
                  <c:v>1398-12-13</c:v>
                </c:pt>
                <c:pt idx="576">
                  <c:v>1398-12-14</c:v>
                </c:pt>
                <c:pt idx="577">
                  <c:v>1398-12-15</c:v>
                </c:pt>
                <c:pt idx="578">
                  <c:v>1398-12-17</c:v>
                </c:pt>
                <c:pt idx="579">
                  <c:v>1398-12-19</c:v>
                </c:pt>
                <c:pt idx="580">
                  <c:v>1398-12-20</c:v>
                </c:pt>
                <c:pt idx="581">
                  <c:v>1398-12-21</c:v>
                </c:pt>
                <c:pt idx="582">
                  <c:v>1398-12-22</c:v>
                </c:pt>
                <c:pt idx="583">
                  <c:v>1398-12-24</c:v>
                </c:pt>
                <c:pt idx="584">
                  <c:v>1398-12-25</c:v>
                </c:pt>
                <c:pt idx="585">
                  <c:v>1398-12-26</c:v>
                </c:pt>
                <c:pt idx="586">
                  <c:v>1398-12-27</c:v>
                </c:pt>
                <c:pt idx="587">
                  <c:v>1398-12-28</c:v>
                </c:pt>
                <c:pt idx="588">
                  <c:v>1399-01-05</c:v>
                </c:pt>
                <c:pt idx="589">
                  <c:v>1399-01-06</c:v>
                </c:pt>
                <c:pt idx="590">
                  <c:v>1399-01-09</c:v>
                </c:pt>
                <c:pt idx="591">
                  <c:v>1399-01-10</c:v>
                </c:pt>
                <c:pt idx="592">
                  <c:v>1399-01-11</c:v>
                </c:pt>
                <c:pt idx="593">
                  <c:v>1399-01-14</c:v>
                </c:pt>
                <c:pt idx="594">
                  <c:v>1399-01-16</c:v>
                </c:pt>
                <c:pt idx="595">
                  <c:v>1399-01-17</c:v>
                </c:pt>
                <c:pt idx="596">
                  <c:v>1399-01-18</c:v>
                </c:pt>
                <c:pt idx="597">
                  <c:v>1399-01-19</c:v>
                </c:pt>
                <c:pt idx="598">
                  <c:v>1399-01-20</c:v>
                </c:pt>
                <c:pt idx="599">
                  <c:v>1399-01-23</c:v>
                </c:pt>
                <c:pt idx="600">
                  <c:v>1399-01-24</c:v>
                </c:pt>
                <c:pt idx="601">
                  <c:v>1399-01-25</c:v>
                </c:pt>
                <c:pt idx="602">
                  <c:v>1399-01-26</c:v>
                </c:pt>
                <c:pt idx="603">
                  <c:v>1399-01-27</c:v>
                </c:pt>
                <c:pt idx="604">
                  <c:v>1399-01-30</c:v>
                </c:pt>
                <c:pt idx="605">
                  <c:v>1399-01-31</c:v>
                </c:pt>
                <c:pt idx="606">
                  <c:v>1399-02-01</c:v>
                </c:pt>
                <c:pt idx="607">
                  <c:v>1399-02-02</c:v>
                </c:pt>
                <c:pt idx="608">
                  <c:v>1399-02-03</c:v>
                </c:pt>
                <c:pt idx="609">
                  <c:v>1399-02-04</c:v>
                </c:pt>
                <c:pt idx="610">
                  <c:v>1399-02-06</c:v>
                </c:pt>
                <c:pt idx="611">
                  <c:v>1399-02-07</c:v>
                </c:pt>
                <c:pt idx="612">
                  <c:v>1399-02-08</c:v>
                </c:pt>
                <c:pt idx="613">
                  <c:v>1399-02-09</c:v>
                </c:pt>
                <c:pt idx="614">
                  <c:v>1399-02-10</c:v>
                </c:pt>
                <c:pt idx="615">
                  <c:v>1399-02-11</c:v>
                </c:pt>
                <c:pt idx="616">
                  <c:v>1399-02-13</c:v>
                </c:pt>
                <c:pt idx="617">
                  <c:v>1399-02-14</c:v>
                </c:pt>
                <c:pt idx="618">
                  <c:v>1399-02-15</c:v>
                </c:pt>
                <c:pt idx="619">
                  <c:v>1399-02-16</c:v>
                </c:pt>
                <c:pt idx="620">
                  <c:v>1399-02-17</c:v>
                </c:pt>
                <c:pt idx="621">
                  <c:v>1399-02-18</c:v>
                </c:pt>
                <c:pt idx="622">
                  <c:v>1399-02-20</c:v>
                </c:pt>
                <c:pt idx="623">
                  <c:v>1399-02-21</c:v>
                </c:pt>
                <c:pt idx="624">
                  <c:v>1399-02-22</c:v>
                </c:pt>
                <c:pt idx="625">
                  <c:v>1399-02-23</c:v>
                </c:pt>
                <c:pt idx="626">
                  <c:v>1399-02-24</c:v>
                </c:pt>
                <c:pt idx="627">
                  <c:v>1399-02-25</c:v>
                </c:pt>
                <c:pt idx="628">
                  <c:v>1399-02-27</c:v>
                </c:pt>
                <c:pt idx="629">
                  <c:v>1399-02-28</c:v>
                </c:pt>
                <c:pt idx="630">
                  <c:v>1399-02-29</c:v>
                </c:pt>
                <c:pt idx="631">
                  <c:v>1399-02-30</c:v>
                </c:pt>
                <c:pt idx="632">
                  <c:v>1399-02-31</c:v>
                </c:pt>
                <c:pt idx="633">
                  <c:v>1399-03-01</c:v>
                </c:pt>
                <c:pt idx="634">
                  <c:v>1399-03-03</c:v>
                </c:pt>
                <c:pt idx="635">
                  <c:v>1399-03-06</c:v>
                </c:pt>
                <c:pt idx="636">
                  <c:v>1399-03-07</c:v>
                </c:pt>
                <c:pt idx="637">
                  <c:v>1399-03-08</c:v>
                </c:pt>
                <c:pt idx="638">
                  <c:v>1399-03-10</c:v>
                </c:pt>
                <c:pt idx="639">
                  <c:v>1399-03-11</c:v>
                </c:pt>
                <c:pt idx="640">
                  <c:v>1399-03-12</c:v>
                </c:pt>
                <c:pt idx="641">
                  <c:v>1399-03-13</c:v>
                </c:pt>
                <c:pt idx="642">
                  <c:v>1399-03-17</c:v>
                </c:pt>
                <c:pt idx="643">
                  <c:v>1399-03-18</c:v>
                </c:pt>
                <c:pt idx="644">
                  <c:v>1399-03-19</c:v>
                </c:pt>
                <c:pt idx="645">
                  <c:v>1399-03-20</c:v>
                </c:pt>
                <c:pt idx="646">
                  <c:v>1399-03-21</c:v>
                </c:pt>
                <c:pt idx="647">
                  <c:v>1399-03-22</c:v>
                </c:pt>
                <c:pt idx="648">
                  <c:v>1399-03-24</c:v>
                </c:pt>
                <c:pt idx="649">
                  <c:v>1399-03-25</c:v>
                </c:pt>
                <c:pt idx="650">
                  <c:v>1399-03-26</c:v>
                </c:pt>
                <c:pt idx="651">
                  <c:v>1399-03-27</c:v>
                </c:pt>
                <c:pt idx="652">
                  <c:v>1399-03-29</c:v>
                </c:pt>
                <c:pt idx="653">
                  <c:v>1399-03-31</c:v>
                </c:pt>
                <c:pt idx="654">
                  <c:v>1399-04-01</c:v>
                </c:pt>
                <c:pt idx="655">
                  <c:v>1399-04-02</c:v>
                </c:pt>
                <c:pt idx="656">
                  <c:v>1399-04-03</c:v>
                </c:pt>
                <c:pt idx="657">
                  <c:v>1399-04-04</c:v>
                </c:pt>
                <c:pt idx="658">
                  <c:v>1399-04-05</c:v>
                </c:pt>
                <c:pt idx="659">
                  <c:v>1399-04-07</c:v>
                </c:pt>
                <c:pt idx="660">
                  <c:v>1399-04-08</c:v>
                </c:pt>
                <c:pt idx="661">
                  <c:v>1399-04-09</c:v>
                </c:pt>
                <c:pt idx="662">
                  <c:v>1399-04-10</c:v>
                </c:pt>
                <c:pt idx="663">
                  <c:v>1399-04-11</c:v>
                </c:pt>
                <c:pt idx="664">
                  <c:v>1399-04-12</c:v>
                </c:pt>
                <c:pt idx="665">
                  <c:v>1399-04-14</c:v>
                </c:pt>
                <c:pt idx="666">
                  <c:v>1399-04-15</c:v>
                </c:pt>
                <c:pt idx="667">
                  <c:v>1399-04-16</c:v>
                </c:pt>
                <c:pt idx="668">
                  <c:v>1399-04-17</c:v>
                </c:pt>
                <c:pt idx="669">
                  <c:v>1399-04-18</c:v>
                </c:pt>
                <c:pt idx="670">
                  <c:v>1399-04-19</c:v>
                </c:pt>
                <c:pt idx="671">
                  <c:v>1399-04-21</c:v>
                </c:pt>
                <c:pt idx="672">
                  <c:v>1399-04-22</c:v>
                </c:pt>
                <c:pt idx="673">
                  <c:v>1399-04-23</c:v>
                </c:pt>
                <c:pt idx="674">
                  <c:v>1399-04-24</c:v>
                </c:pt>
                <c:pt idx="675">
                  <c:v>1399-04-25</c:v>
                </c:pt>
                <c:pt idx="676">
                  <c:v>1399-04-26</c:v>
                </c:pt>
                <c:pt idx="677">
                  <c:v>1399-04-28</c:v>
                </c:pt>
                <c:pt idx="678">
                  <c:v>1399-04-29</c:v>
                </c:pt>
                <c:pt idx="679">
                  <c:v>1399-04-30</c:v>
                </c:pt>
                <c:pt idx="680">
                  <c:v>1399-04-31</c:v>
                </c:pt>
                <c:pt idx="681">
                  <c:v>1399-05-01</c:v>
                </c:pt>
                <c:pt idx="682">
                  <c:v>1399-05-02</c:v>
                </c:pt>
                <c:pt idx="683">
                  <c:v>1399-05-04</c:v>
                </c:pt>
                <c:pt idx="684">
                  <c:v>1399-05-05</c:v>
                </c:pt>
                <c:pt idx="685">
                  <c:v>1399-05-06</c:v>
                </c:pt>
                <c:pt idx="686">
                  <c:v>1399-05-07</c:v>
                </c:pt>
                <c:pt idx="687">
                  <c:v>1399-05-08</c:v>
                </c:pt>
                <c:pt idx="688">
                  <c:v>1399-05-09</c:v>
                </c:pt>
                <c:pt idx="689">
                  <c:v>1399-05-11</c:v>
                </c:pt>
                <c:pt idx="690">
                  <c:v>1399-05-12</c:v>
                </c:pt>
                <c:pt idx="691">
                  <c:v>1399-05-13</c:v>
                </c:pt>
                <c:pt idx="692">
                  <c:v>1399-05-14</c:v>
                </c:pt>
                <c:pt idx="693">
                  <c:v>1399-05-15</c:v>
                </c:pt>
                <c:pt idx="694">
                  <c:v>1399-05-16</c:v>
                </c:pt>
                <c:pt idx="695">
                  <c:v>1399-05-19</c:v>
                </c:pt>
                <c:pt idx="696">
                  <c:v>1399-05-20</c:v>
                </c:pt>
                <c:pt idx="697">
                  <c:v>1399-05-21</c:v>
                </c:pt>
                <c:pt idx="698">
                  <c:v>1399-05-22</c:v>
                </c:pt>
                <c:pt idx="699">
                  <c:v>1399-05-23</c:v>
                </c:pt>
                <c:pt idx="700">
                  <c:v>1399-05-25</c:v>
                </c:pt>
                <c:pt idx="701">
                  <c:v>1399-05-26</c:v>
                </c:pt>
                <c:pt idx="702">
                  <c:v>1399-05-27</c:v>
                </c:pt>
                <c:pt idx="703">
                  <c:v>1399-05-28</c:v>
                </c:pt>
                <c:pt idx="704">
                  <c:v>1399-05-29</c:v>
                </c:pt>
                <c:pt idx="705">
                  <c:v>1399-05-30</c:v>
                </c:pt>
                <c:pt idx="706">
                  <c:v>1399-06-01</c:v>
                </c:pt>
                <c:pt idx="707">
                  <c:v>1399-06-02</c:v>
                </c:pt>
                <c:pt idx="708">
                  <c:v>1399-06-03</c:v>
                </c:pt>
                <c:pt idx="709">
                  <c:v>1399-06-04</c:v>
                </c:pt>
                <c:pt idx="710">
                  <c:v>1399-06-05</c:v>
                </c:pt>
                <c:pt idx="711">
                  <c:v>1399-06-06</c:v>
                </c:pt>
                <c:pt idx="712">
                  <c:v>1399-06-10</c:v>
                </c:pt>
                <c:pt idx="713">
                  <c:v>1399-06-11</c:v>
                </c:pt>
                <c:pt idx="714">
                  <c:v>1399-06-12</c:v>
                </c:pt>
                <c:pt idx="715">
                  <c:v>1399-06-13</c:v>
                </c:pt>
                <c:pt idx="716">
                  <c:v>1399-06-15</c:v>
                </c:pt>
                <c:pt idx="717">
                  <c:v>1399-06-16</c:v>
                </c:pt>
                <c:pt idx="718">
                  <c:v>1399-06-17</c:v>
                </c:pt>
                <c:pt idx="719">
                  <c:v>1399-06-18</c:v>
                </c:pt>
                <c:pt idx="720">
                  <c:v>1399-06-19</c:v>
                </c:pt>
                <c:pt idx="721">
                  <c:v>1399-06-20</c:v>
                </c:pt>
                <c:pt idx="722">
                  <c:v>1399-06-22</c:v>
                </c:pt>
                <c:pt idx="723">
                  <c:v>1399-06-23</c:v>
                </c:pt>
                <c:pt idx="724">
                  <c:v>1399-06-24</c:v>
                </c:pt>
                <c:pt idx="725">
                  <c:v>1399-06-25</c:v>
                </c:pt>
                <c:pt idx="726">
                  <c:v>1399-06-26</c:v>
                </c:pt>
                <c:pt idx="727">
                  <c:v>1399-06-27</c:v>
                </c:pt>
                <c:pt idx="728">
                  <c:v>1399-06-29</c:v>
                </c:pt>
                <c:pt idx="729">
                  <c:v>1399-06-30</c:v>
                </c:pt>
                <c:pt idx="730">
                  <c:v>1399-06-31</c:v>
                </c:pt>
                <c:pt idx="731">
                  <c:v>1399-07-01</c:v>
                </c:pt>
                <c:pt idx="732">
                  <c:v>1399-07-02</c:v>
                </c:pt>
                <c:pt idx="733">
                  <c:v>1399-07-03</c:v>
                </c:pt>
                <c:pt idx="734">
                  <c:v>1399-07-05</c:v>
                </c:pt>
                <c:pt idx="735">
                  <c:v>1399-07-06</c:v>
                </c:pt>
                <c:pt idx="736">
                  <c:v>1399-07-07</c:v>
                </c:pt>
                <c:pt idx="737">
                  <c:v>1399-07-08</c:v>
                </c:pt>
                <c:pt idx="738">
                  <c:v>1399-07-09</c:v>
                </c:pt>
                <c:pt idx="739">
                  <c:v>1399-07-10</c:v>
                </c:pt>
                <c:pt idx="740">
                  <c:v>1399-07-12</c:v>
                </c:pt>
                <c:pt idx="741">
                  <c:v>1399-07-13</c:v>
                </c:pt>
                <c:pt idx="742">
                  <c:v>1399-07-14</c:v>
                </c:pt>
                <c:pt idx="743">
                  <c:v>1399-07-15</c:v>
                </c:pt>
                <c:pt idx="744">
                  <c:v>1399-07-16</c:v>
                </c:pt>
                <c:pt idx="745">
                  <c:v>1399-07-19</c:v>
                </c:pt>
                <c:pt idx="746">
                  <c:v>1399-07-20</c:v>
                </c:pt>
                <c:pt idx="747">
                  <c:v>1399-07-21</c:v>
                </c:pt>
                <c:pt idx="748">
                  <c:v>1399-07-22</c:v>
                </c:pt>
                <c:pt idx="749">
                  <c:v>1399-07-23</c:v>
                </c:pt>
                <c:pt idx="750">
                  <c:v>1399-07-24</c:v>
                </c:pt>
                <c:pt idx="751">
                  <c:v>1399-07-27</c:v>
                </c:pt>
                <c:pt idx="752">
                  <c:v>1399-07-28</c:v>
                </c:pt>
                <c:pt idx="753">
                  <c:v>1399-07-29</c:v>
                </c:pt>
                <c:pt idx="754">
                  <c:v>1399-07-30</c:v>
                </c:pt>
                <c:pt idx="755">
                  <c:v>1399-08-01</c:v>
                </c:pt>
                <c:pt idx="756">
                  <c:v>1399-08-03</c:v>
                </c:pt>
                <c:pt idx="757">
                  <c:v>1399-08-05</c:v>
                </c:pt>
                <c:pt idx="758">
                  <c:v>1399-08-06</c:v>
                </c:pt>
                <c:pt idx="759">
                  <c:v>1399-08-07</c:v>
                </c:pt>
                <c:pt idx="760">
                  <c:v>1399-08-08</c:v>
                </c:pt>
                <c:pt idx="761">
                  <c:v>1399-08-10</c:v>
                </c:pt>
                <c:pt idx="762">
                  <c:v>1399-08-11</c:v>
                </c:pt>
                <c:pt idx="763">
                  <c:v>1399-08-12</c:v>
                </c:pt>
                <c:pt idx="764">
                  <c:v>1399-08-14</c:v>
                </c:pt>
                <c:pt idx="765">
                  <c:v>1399-08-15</c:v>
                </c:pt>
                <c:pt idx="766">
                  <c:v>1399-08-17</c:v>
                </c:pt>
                <c:pt idx="767">
                  <c:v>1399-08-18</c:v>
                </c:pt>
                <c:pt idx="768">
                  <c:v>1399-08-19</c:v>
                </c:pt>
                <c:pt idx="769">
                  <c:v>1399-08-20</c:v>
                </c:pt>
                <c:pt idx="770">
                  <c:v>1399-08-21</c:v>
                </c:pt>
                <c:pt idx="771">
                  <c:v>1399-08-22</c:v>
                </c:pt>
                <c:pt idx="772">
                  <c:v>1399-08-24</c:v>
                </c:pt>
                <c:pt idx="773">
                  <c:v>1399-08-25</c:v>
                </c:pt>
                <c:pt idx="774">
                  <c:v>1399-08-26</c:v>
                </c:pt>
                <c:pt idx="775">
                  <c:v>1399-08-27</c:v>
                </c:pt>
                <c:pt idx="776">
                  <c:v>1399-08-28</c:v>
                </c:pt>
                <c:pt idx="777">
                  <c:v>1399-08-29</c:v>
                </c:pt>
                <c:pt idx="778">
                  <c:v>1399-09-01</c:v>
                </c:pt>
                <c:pt idx="779">
                  <c:v>1399-09-02</c:v>
                </c:pt>
                <c:pt idx="780">
                  <c:v>1399-09-03</c:v>
                </c:pt>
                <c:pt idx="781">
                  <c:v>1399-09-04</c:v>
                </c:pt>
                <c:pt idx="782">
                  <c:v>1399-09-05</c:v>
                </c:pt>
                <c:pt idx="783">
                  <c:v>1399-09-08</c:v>
                </c:pt>
                <c:pt idx="784">
                  <c:v>1399-09-09</c:v>
                </c:pt>
                <c:pt idx="785">
                  <c:v>1399-09-10</c:v>
                </c:pt>
                <c:pt idx="786">
                  <c:v>1399-09-11</c:v>
                </c:pt>
                <c:pt idx="787">
                  <c:v>1399-09-12</c:v>
                </c:pt>
                <c:pt idx="788">
                  <c:v>1399-09-13</c:v>
                </c:pt>
                <c:pt idx="789">
                  <c:v>1399-09-15</c:v>
                </c:pt>
                <c:pt idx="790">
                  <c:v>1399-09-16</c:v>
                </c:pt>
                <c:pt idx="791">
                  <c:v>1399-09-17</c:v>
                </c:pt>
                <c:pt idx="792">
                  <c:v>1399-09-18</c:v>
                </c:pt>
                <c:pt idx="793">
                  <c:v>1399-09-19</c:v>
                </c:pt>
                <c:pt idx="794">
                  <c:v>1399-09-20</c:v>
                </c:pt>
                <c:pt idx="795">
                  <c:v>1399-09-21</c:v>
                </c:pt>
                <c:pt idx="796">
                  <c:v>1399-09-22</c:v>
                </c:pt>
                <c:pt idx="797">
                  <c:v>1399-09-23</c:v>
                </c:pt>
                <c:pt idx="798">
                  <c:v>1399-09-24</c:v>
                </c:pt>
                <c:pt idx="799">
                  <c:v>1399-09-25</c:v>
                </c:pt>
                <c:pt idx="800">
                  <c:v>1399-09-26</c:v>
                </c:pt>
                <c:pt idx="801">
                  <c:v>1399-09-27</c:v>
                </c:pt>
                <c:pt idx="802">
                  <c:v>1399-09-29</c:v>
                </c:pt>
                <c:pt idx="803">
                  <c:v>1399-09-30</c:v>
                </c:pt>
                <c:pt idx="804">
                  <c:v>1399-10-01</c:v>
                </c:pt>
                <c:pt idx="805">
                  <c:v>1399-10-02</c:v>
                </c:pt>
                <c:pt idx="806">
                  <c:v>1399-10-03</c:v>
                </c:pt>
                <c:pt idx="807">
                  <c:v>1399-10-04</c:v>
                </c:pt>
                <c:pt idx="808">
                  <c:v>1399-10-06</c:v>
                </c:pt>
                <c:pt idx="809">
                  <c:v>1399-10-07</c:v>
                </c:pt>
                <c:pt idx="810">
                  <c:v>1399-10-08</c:v>
                </c:pt>
                <c:pt idx="811">
                  <c:v>1399-10-09</c:v>
                </c:pt>
                <c:pt idx="812">
                  <c:v>1399-10-10</c:v>
                </c:pt>
                <c:pt idx="813">
                  <c:v>1399-10-11</c:v>
                </c:pt>
                <c:pt idx="814">
                  <c:v>1399-10-13</c:v>
                </c:pt>
                <c:pt idx="815">
                  <c:v>1399-10-14</c:v>
                </c:pt>
                <c:pt idx="816">
                  <c:v>1399-10-15</c:v>
                </c:pt>
                <c:pt idx="817">
                  <c:v>1399-10-16</c:v>
                </c:pt>
                <c:pt idx="818">
                  <c:v>1399-10-17</c:v>
                </c:pt>
                <c:pt idx="819">
                  <c:v>1399-10-18</c:v>
                </c:pt>
                <c:pt idx="820">
                  <c:v>1399-10-20</c:v>
                </c:pt>
                <c:pt idx="821">
                  <c:v>1399-10-21</c:v>
                </c:pt>
                <c:pt idx="822">
                  <c:v>1399-10-22</c:v>
                </c:pt>
                <c:pt idx="823">
                  <c:v>1399-10-23</c:v>
                </c:pt>
                <c:pt idx="824">
                  <c:v>1399-10-24</c:v>
                </c:pt>
                <c:pt idx="825">
                  <c:v>1399-10-25</c:v>
                </c:pt>
                <c:pt idx="826">
                  <c:v>1399-10-27</c:v>
                </c:pt>
                <c:pt idx="827">
                  <c:v>1399-10-29</c:v>
                </c:pt>
                <c:pt idx="828">
                  <c:v>1399-10-30</c:v>
                </c:pt>
                <c:pt idx="829">
                  <c:v>1399-11-01</c:v>
                </c:pt>
                <c:pt idx="830">
                  <c:v>1399-11-02</c:v>
                </c:pt>
                <c:pt idx="831">
                  <c:v>1399-11-04</c:v>
                </c:pt>
                <c:pt idx="832">
                  <c:v>1399-11-05</c:v>
                </c:pt>
                <c:pt idx="833">
                  <c:v>1399-11-06</c:v>
                </c:pt>
                <c:pt idx="834">
                  <c:v>1399-11-07</c:v>
                </c:pt>
                <c:pt idx="835">
                  <c:v>1399-11-08</c:v>
                </c:pt>
                <c:pt idx="836">
                  <c:v>1399-11-09</c:v>
                </c:pt>
                <c:pt idx="837">
                  <c:v>1399-11-11</c:v>
                </c:pt>
                <c:pt idx="838">
                  <c:v>1399-11-12</c:v>
                </c:pt>
                <c:pt idx="839">
                  <c:v>1399-11-13</c:v>
                </c:pt>
                <c:pt idx="840">
                  <c:v>1399-11-14</c:v>
                </c:pt>
                <c:pt idx="841">
                  <c:v>1399-11-15</c:v>
                </c:pt>
                <c:pt idx="842">
                  <c:v>1399-11-16</c:v>
                </c:pt>
                <c:pt idx="843">
                  <c:v>1399-11-18</c:v>
                </c:pt>
                <c:pt idx="844">
                  <c:v>1399-11-19</c:v>
                </c:pt>
                <c:pt idx="845">
                  <c:v>1399-11-20</c:v>
                </c:pt>
                <c:pt idx="846">
                  <c:v>1399-11-21</c:v>
                </c:pt>
                <c:pt idx="847">
                  <c:v>1399-11-23</c:v>
                </c:pt>
                <c:pt idx="848">
                  <c:v>1399-11-25</c:v>
                </c:pt>
                <c:pt idx="849">
                  <c:v>1399-11-26</c:v>
                </c:pt>
                <c:pt idx="850">
                  <c:v>1399-11-27</c:v>
                </c:pt>
                <c:pt idx="851">
                  <c:v>1399-11-28</c:v>
                </c:pt>
                <c:pt idx="852">
                  <c:v>1399-11-29</c:v>
                </c:pt>
                <c:pt idx="853">
                  <c:v>1399-11-30</c:v>
                </c:pt>
                <c:pt idx="854">
                  <c:v>1399-12-02</c:v>
                </c:pt>
                <c:pt idx="855">
                  <c:v>1399-12-03</c:v>
                </c:pt>
                <c:pt idx="856">
                  <c:v>1399-12-04</c:v>
                </c:pt>
                <c:pt idx="857">
                  <c:v>1399-12-05</c:v>
                </c:pt>
                <c:pt idx="858">
                  <c:v>1399-12-06</c:v>
                </c:pt>
                <c:pt idx="859">
                  <c:v>1399-12-07</c:v>
                </c:pt>
                <c:pt idx="860">
                  <c:v>1399-12-09</c:v>
                </c:pt>
                <c:pt idx="861">
                  <c:v>1399-12-10</c:v>
                </c:pt>
                <c:pt idx="862">
                  <c:v>1399-12-11</c:v>
                </c:pt>
                <c:pt idx="863">
                  <c:v>1399-12-12</c:v>
                </c:pt>
                <c:pt idx="864">
                  <c:v>1399-12-13</c:v>
                </c:pt>
                <c:pt idx="865">
                  <c:v>1399-12-14</c:v>
                </c:pt>
                <c:pt idx="866">
                  <c:v>1399-12-16</c:v>
                </c:pt>
                <c:pt idx="867">
                  <c:v>1399-12-17</c:v>
                </c:pt>
                <c:pt idx="868">
                  <c:v>1399-12-18</c:v>
                </c:pt>
                <c:pt idx="869">
                  <c:v>1399-12-19</c:v>
                </c:pt>
                <c:pt idx="870">
                  <c:v>1399-12-20</c:v>
                </c:pt>
                <c:pt idx="871">
                  <c:v>1399-12-21</c:v>
                </c:pt>
                <c:pt idx="872">
                  <c:v>1399-12-23</c:v>
                </c:pt>
                <c:pt idx="873">
                  <c:v>1399-12-24</c:v>
                </c:pt>
                <c:pt idx="874">
                  <c:v>1399-12-25</c:v>
                </c:pt>
                <c:pt idx="875">
                  <c:v>1399-12-26</c:v>
                </c:pt>
                <c:pt idx="876">
                  <c:v>1399-12-27</c:v>
                </c:pt>
                <c:pt idx="877">
                  <c:v>1399-12-28</c:v>
                </c:pt>
                <c:pt idx="878">
                  <c:v>1400-01-07</c:v>
                </c:pt>
                <c:pt idx="879">
                  <c:v>1400-01-08</c:v>
                </c:pt>
                <c:pt idx="880">
                  <c:v>1400-01-10</c:v>
                </c:pt>
                <c:pt idx="881">
                  <c:v>1400-01-11</c:v>
                </c:pt>
                <c:pt idx="882">
                  <c:v>1400-01-12</c:v>
                </c:pt>
                <c:pt idx="883">
                  <c:v>1400-01-14</c:v>
                </c:pt>
                <c:pt idx="884">
                  <c:v>1400-01-15</c:v>
                </c:pt>
                <c:pt idx="885">
                  <c:v>1400-01-16</c:v>
                </c:pt>
                <c:pt idx="886">
                  <c:v>1400-01-17</c:v>
                </c:pt>
                <c:pt idx="887">
                  <c:v>1400-01-18</c:v>
                </c:pt>
                <c:pt idx="888">
                  <c:v>1400-01-19</c:v>
                </c:pt>
                <c:pt idx="889">
                  <c:v>1400-01-21</c:v>
                </c:pt>
                <c:pt idx="890">
                  <c:v>1400-01-22</c:v>
                </c:pt>
                <c:pt idx="891">
                  <c:v>1400-01-23</c:v>
                </c:pt>
                <c:pt idx="892">
                  <c:v>1400-01-24</c:v>
                </c:pt>
                <c:pt idx="893">
                  <c:v>1400-01-25</c:v>
                </c:pt>
                <c:pt idx="894">
                  <c:v>1400-01-26</c:v>
                </c:pt>
                <c:pt idx="895">
                  <c:v>1400-01-28</c:v>
                </c:pt>
                <c:pt idx="896">
                  <c:v>1400-01-29</c:v>
                </c:pt>
                <c:pt idx="897">
                  <c:v>1400-01-30</c:v>
                </c:pt>
                <c:pt idx="898">
                  <c:v>1400-01-31</c:v>
                </c:pt>
                <c:pt idx="899">
                  <c:v>1400-02-01</c:v>
                </c:pt>
                <c:pt idx="900">
                  <c:v>1400-02-02</c:v>
                </c:pt>
                <c:pt idx="901">
                  <c:v>1400-02-04</c:v>
                </c:pt>
                <c:pt idx="902">
                  <c:v>1400-02-05</c:v>
                </c:pt>
                <c:pt idx="903">
                  <c:v>1400-02-06</c:v>
                </c:pt>
                <c:pt idx="904">
                  <c:v>1400-02-07</c:v>
                </c:pt>
                <c:pt idx="905">
                  <c:v>1400-02-08</c:v>
                </c:pt>
                <c:pt idx="906">
                  <c:v>1400-02-09</c:v>
                </c:pt>
                <c:pt idx="907">
                  <c:v>1400-02-11</c:v>
                </c:pt>
                <c:pt idx="908">
                  <c:v>1400-02-12</c:v>
                </c:pt>
                <c:pt idx="909">
                  <c:v>1400-02-13</c:v>
                </c:pt>
                <c:pt idx="910">
                  <c:v>1400-02-15</c:v>
                </c:pt>
                <c:pt idx="911">
                  <c:v>1400-02-16</c:v>
                </c:pt>
                <c:pt idx="912">
                  <c:v>1400-02-18</c:v>
                </c:pt>
                <c:pt idx="913">
                  <c:v>1400-02-19</c:v>
                </c:pt>
                <c:pt idx="914">
                  <c:v>1400-02-20</c:v>
                </c:pt>
                <c:pt idx="915">
                  <c:v>1400-02-21</c:v>
                </c:pt>
                <c:pt idx="916">
                  <c:v>1400-02-22</c:v>
                </c:pt>
                <c:pt idx="917">
                  <c:v>1400-02-23</c:v>
                </c:pt>
                <c:pt idx="918">
                  <c:v>1400-02-25</c:v>
                </c:pt>
                <c:pt idx="919">
                  <c:v>1400-02-26</c:v>
                </c:pt>
                <c:pt idx="920">
                  <c:v>1400-02-27</c:v>
                </c:pt>
                <c:pt idx="921">
                  <c:v>1400-02-28</c:v>
                </c:pt>
                <c:pt idx="922">
                  <c:v>1400-02-29</c:v>
                </c:pt>
                <c:pt idx="923">
                  <c:v>1400-02-30</c:v>
                </c:pt>
                <c:pt idx="924">
                  <c:v>1400-03-01</c:v>
                </c:pt>
                <c:pt idx="925">
                  <c:v>1400-03-02</c:v>
                </c:pt>
                <c:pt idx="926">
                  <c:v>1400-03-03</c:v>
                </c:pt>
                <c:pt idx="927">
                  <c:v>1400-03-04</c:v>
                </c:pt>
                <c:pt idx="928">
                  <c:v>1400-03-05</c:v>
                </c:pt>
                <c:pt idx="929">
                  <c:v>1400-03-06</c:v>
                </c:pt>
                <c:pt idx="930">
                  <c:v>1400-03-08</c:v>
                </c:pt>
                <c:pt idx="931">
                  <c:v>1400-03-09</c:v>
                </c:pt>
                <c:pt idx="932">
                  <c:v>1400-03-10</c:v>
                </c:pt>
                <c:pt idx="933">
                  <c:v>1400-03-11</c:v>
                </c:pt>
                <c:pt idx="934">
                  <c:v>1400-03-12</c:v>
                </c:pt>
                <c:pt idx="935">
                  <c:v>1400-03-13</c:v>
                </c:pt>
                <c:pt idx="936">
                  <c:v>1400-03-17</c:v>
                </c:pt>
                <c:pt idx="937">
                  <c:v>1400-03-18</c:v>
                </c:pt>
                <c:pt idx="938">
                  <c:v>1400-03-19</c:v>
                </c:pt>
                <c:pt idx="939">
                  <c:v>1400-03-20</c:v>
                </c:pt>
                <c:pt idx="940">
                  <c:v>1400-03-22</c:v>
                </c:pt>
                <c:pt idx="941">
                  <c:v>1400-03-23</c:v>
                </c:pt>
                <c:pt idx="942">
                  <c:v>1400-03-24</c:v>
                </c:pt>
                <c:pt idx="943">
                  <c:v>1400-03-25</c:v>
                </c:pt>
                <c:pt idx="944">
                  <c:v>1400-03-26</c:v>
                </c:pt>
                <c:pt idx="945">
                  <c:v>1400-03-27</c:v>
                </c:pt>
                <c:pt idx="946">
                  <c:v>1400-03-29</c:v>
                </c:pt>
                <c:pt idx="947">
                  <c:v>1400-03-30</c:v>
                </c:pt>
                <c:pt idx="948">
                  <c:v>1400-03-31</c:v>
                </c:pt>
                <c:pt idx="949">
                  <c:v>1400-04-01</c:v>
                </c:pt>
                <c:pt idx="950">
                  <c:v>1400-04-02</c:v>
                </c:pt>
                <c:pt idx="951">
                  <c:v>1400-04-03</c:v>
                </c:pt>
                <c:pt idx="952">
                  <c:v>1400-04-05</c:v>
                </c:pt>
                <c:pt idx="953">
                  <c:v>1400-04-06</c:v>
                </c:pt>
                <c:pt idx="954">
                  <c:v>1400-04-07</c:v>
                </c:pt>
                <c:pt idx="955">
                  <c:v>1400-04-08</c:v>
                </c:pt>
                <c:pt idx="956">
                  <c:v>1400-04-09</c:v>
                </c:pt>
                <c:pt idx="957">
                  <c:v>1400-04-10</c:v>
                </c:pt>
                <c:pt idx="958">
                  <c:v>1400-04-12</c:v>
                </c:pt>
                <c:pt idx="959">
                  <c:v>1400-04-13</c:v>
                </c:pt>
                <c:pt idx="960">
                  <c:v>1400-04-14</c:v>
                </c:pt>
                <c:pt idx="961">
                  <c:v>1400-04-15</c:v>
                </c:pt>
                <c:pt idx="962">
                  <c:v>1400-04-16</c:v>
                </c:pt>
                <c:pt idx="963">
                  <c:v>1400-04-17</c:v>
                </c:pt>
                <c:pt idx="964">
                  <c:v>1400-04-19</c:v>
                </c:pt>
                <c:pt idx="965">
                  <c:v>1400-04-20</c:v>
                </c:pt>
                <c:pt idx="966">
                  <c:v>1400-04-21</c:v>
                </c:pt>
                <c:pt idx="967">
                  <c:v>1400-04-22</c:v>
                </c:pt>
                <c:pt idx="968">
                  <c:v>1400-04-23</c:v>
                </c:pt>
                <c:pt idx="969">
                  <c:v>1400-04-24</c:v>
                </c:pt>
                <c:pt idx="970">
                  <c:v>1400-04-26</c:v>
                </c:pt>
                <c:pt idx="971">
                  <c:v>1400-04-27</c:v>
                </c:pt>
                <c:pt idx="972">
                  <c:v>1400-04-28</c:v>
                </c:pt>
                <c:pt idx="973">
                  <c:v>1400-04-31</c:v>
                </c:pt>
                <c:pt idx="974">
                  <c:v>1400-05-04</c:v>
                </c:pt>
                <c:pt idx="975">
                  <c:v>1400-05-05</c:v>
                </c:pt>
                <c:pt idx="976">
                  <c:v>1400-05-06</c:v>
                </c:pt>
                <c:pt idx="977">
                  <c:v>1400-05-07</c:v>
                </c:pt>
                <c:pt idx="978">
                  <c:v>1400-05-09</c:v>
                </c:pt>
                <c:pt idx="979">
                  <c:v>1400-05-10</c:v>
                </c:pt>
                <c:pt idx="980">
                  <c:v>1400-05-11</c:v>
                </c:pt>
                <c:pt idx="981">
                  <c:v>1400-05-12</c:v>
                </c:pt>
                <c:pt idx="982">
                  <c:v>1400-05-13</c:v>
                </c:pt>
                <c:pt idx="983">
                  <c:v>1400-05-14</c:v>
                </c:pt>
                <c:pt idx="984">
                  <c:v>1400-05-16</c:v>
                </c:pt>
                <c:pt idx="985">
                  <c:v>1400-05-17</c:v>
                </c:pt>
                <c:pt idx="986">
                  <c:v>1400-05-18</c:v>
                </c:pt>
                <c:pt idx="987">
                  <c:v>1400-05-19</c:v>
                </c:pt>
                <c:pt idx="988">
                  <c:v>1400-05-20</c:v>
                </c:pt>
                <c:pt idx="989">
                  <c:v>1400-05-21</c:v>
                </c:pt>
                <c:pt idx="990">
                  <c:v>1400-05-23</c:v>
                </c:pt>
                <c:pt idx="991">
                  <c:v>1400-05-24</c:v>
                </c:pt>
                <c:pt idx="992">
                  <c:v>1400-05-28</c:v>
                </c:pt>
                <c:pt idx="993">
                  <c:v>1400-05-31</c:v>
                </c:pt>
                <c:pt idx="994">
                  <c:v>1400-06-01</c:v>
                </c:pt>
                <c:pt idx="995">
                  <c:v>1400-06-02</c:v>
                </c:pt>
                <c:pt idx="996">
                  <c:v>1400-06-03</c:v>
                </c:pt>
                <c:pt idx="997">
                  <c:v>1400-06-04</c:v>
                </c:pt>
                <c:pt idx="998">
                  <c:v>1400-06-06</c:v>
                </c:pt>
                <c:pt idx="999">
                  <c:v>1400-06-07</c:v>
                </c:pt>
                <c:pt idx="1000">
                  <c:v>1400-06-08</c:v>
                </c:pt>
                <c:pt idx="1001">
                  <c:v>1400-06-09</c:v>
                </c:pt>
                <c:pt idx="1002">
                  <c:v>1400-06-10</c:v>
                </c:pt>
                <c:pt idx="1003">
                  <c:v>1400-06-11</c:v>
                </c:pt>
                <c:pt idx="1004">
                  <c:v>1400-06-13</c:v>
                </c:pt>
                <c:pt idx="1005">
                  <c:v>1400-06-14</c:v>
                </c:pt>
                <c:pt idx="1006">
                  <c:v>1400-06-15</c:v>
                </c:pt>
                <c:pt idx="1007">
                  <c:v>1400-06-16</c:v>
                </c:pt>
                <c:pt idx="1008">
                  <c:v>1400-06-17</c:v>
                </c:pt>
                <c:pt idx="1009">
                  <c:v>1400-06-18</c:v>
                </c:pt>
                <c:pt idx="1010">
                  <c:v>1400-06-20</c:v>
                </c:pt>
                <c:pt idx="1011">
                  <c:v>1400-06-21</c:v>
                </c:pt>
                <c:pt idx="1012">
                  <c:v>1400-06-22</c:v>
                </c:pt>
                <c:pt idx="1013">
                  <c:v>1400-06-23</c:v>
                </c:pt>
                <c:pt idx="1014">
                  <c:v>1400-06-24</c:v>
                </c:pt>
                <c:pt idx="1015">
                  <c:v>1400-06-25</c:v>
                </c:pt>
                <c:pt idx="1016">
                  <c:v>1400-06-27</c:v>
                </c:pt>
                <c:pt idx="1017">
                  <c:v>1400-06-28</c:v>
                </c:pt>
                <c:pt idx="1018">
                  <c:v>1400-06-29</c:v>
                </c:pt>
                <c:pt idx="1019">
                  <c:v>1400-06-30</c:v>
                </c:pt>
                <c:pt idx="1020">
                  <c:v>1400-06-31</c:v>
                </c:pt>
                <c:pt idx="1021">
                  <c:v>1400-07-01</c:v>
                </c:pt>
                <c:pt idx="1022">
                  <c:v>1400-07-03</c:v>
                </c:pt>
                <c:pt idx="1023">
                  <c:v>1400-07-04</c:v>
                </c:pt>
                <c:pt idx="1024">
                  <c:v>1400-07-06</c:v>
                </c:pt>
                <c:pt idx="1025">
                  <c:v>1400-07-07</c:v>
                </c:pt>
                <c:pt idx="1026">
                  <c:v>1400-07-08</c:v>
                </c:pt>
                <c:pt idx="1027">
                  <c:v>1400-07-10</c:v>
                </c:pt>
                <c:pt idx="1028">
                  <c:v>1400-07-11</c:v>
                </c:pt>
                <c:pt idx="1029">
                  <c:v>1400-07-12</c:v>
                </c:pt>
                <c:pt idx="1030">
                  <c:v>1400-07-14</c:v>
                </c:pt>
                <c:pt idx="1031">
                  <c:v>1400-07-15</c:v>
                </c:pt>
                <c:pt idx="1032">
                  <c:v>1400-07-17</c:v>
                </c:pt>
                <c:pt idx="1033">
                  <c:v>1400-07-18</c:v>
                </c:pt>
                <c:pt idx="1034">
                  <c:v>1400-07-19</c:v>
                </c:pt>
                <c:pt idx="1035">
                  <c:v>1400-07-20</c:v>
                </c:pt>
                <c:pt idx="1036">
                  <c:v>1400-07-21</c:v>
                </c:pt>
                <c:pt idx="1037">
                  <c:v>1400-07-22</c:v>
                </c:pt>
                <c:pt idx="1038">
                  <c:v>1400-07-24</c:v>
                </c:pt>
                <c:pt idx="1039">
                  <c:v>1400-07-25</c:v>
                </c:pt>
                <c:pt idx="1040">
                  <c:v>1400-07-26</c:v>
                </c:pt>
                <c:pt idx="1041">
                  <c:v>1400-07-27</c:v>
                </c:pt>
                <c:pt idx="1042">
                  <c:v>1400-07-28</c:v>
                </c:pt>
                <c:pt idx="1043">
                  <c:v>1400-07-29</c:v>
                </c:pt>
                <c:pt idx="1044">
                  <c:v>1400-08-01</c:v>
                </c:pt>
                <c:pt idx="1045">
                  <c:v>1400-08-03</c:v>
                </c:pt>
                <c:pt idx="1046">
                  <c:v>1400-08-04</c:v>
                </c:pt>
                <c:pt idx="1047">
                  <c:v>1400-08-05</c:v>
                </c:pt>
                <c:pt idx="1048">
                  <c:v>1400-08-06</c:v>
                </c:pt>
                <c:pt idx="1049">
                  <c:v>1400-08-08</c:v>
                </c:pt>
                <c:pt idx="1050">
                  <c:v>1400-08-09</c:v>
                </c:pt>
                <c:pt idx="1051">
                  <c:v>1400-08-10</c:v>
                </c:pt>
                <c:pt idx="1052">
                  <c:v>1400-08-11</c:v>
                </c:pt>
                <c:pt idx="1053">
                  <c:v>1400-08-12</c:v>
                </c:pt>
                <c:pt idx="1054">
                  <c:v>1400-08-13</c:v>
                </c:pt>
                <c:pt idx="1055">
                  <c:v>1400-08-15</c:v>
                </c:pt>
                <c:pt idx="1056">
                  <c:v>1400-08-16</c:v>
                </c:pt>
                <c:pt idx="1057">
                  <c:v>1400-08-17</c:v>
                </c:pt>
                <c:pt idx="1058">
                  <c:v>1400-08-18</c:v>
                </c:pt>
                <c:pt idx="1059">
                  <c:v>1400-08-19</c:v>
                </c:pt>
                <c:pt idx="1060">
                  <c:v>1400-08-20</c:v>
                </c:pt>
                <c:pt idx="1061">
                  <c:v>1400-08-22</c:v>
                </c:pt>
                <c:pt idx="1062">
                  <c:v>1400-08-23</c:v>
                </c:pt>
                <c:pt idx="1063">
                  <c:v>1400-08-24</c:v>
                </c:pt>
                <c:pt idx="1064">
                  <c:v>1400-08-25</c:v>
                </c:pt>
                <c:pt idx="1065">
                  <c:v>1400-08-26</c:v>
                </c:pt>
                <c:pt idx="1066">
                  <c:v>1400-08-27</c:v>
                </c:pt>
                <c:pt idx="1067">
                  <c:v>1400-08-29</c:v>
                </c:pt>
                <c:pt idx="1068">
                  <c:v>1400-08-30</c:v>
                </c:pt>
                <c:pt idx="1069">
                  <c:v>1400-09-01</c:v>
                </c:pt>
                <c:pt idx="1070">
                  <c:v>1400-09-02</c:v>
                </c:pt>
                <c:pt idx="1071">
                  <c:v>1400-09-03</c:v>
                </c:pt>
                <c:pt idx="1072">
                  <c:v>1400-09-04</c:v>
                </c:pt>
                <c:pt idx="1073">
                  <c:v>1400-09-06</c:v>
                </c:pt>
                <c:pt idx="1074">
                  <c:v>1400-09-07</c:v>
                </c:pt>
                <c:pt idx="1075">
                  <c:v>1400-09-08</c:v>
                </c:pt>
                <c:pt idx="1076">
                  <c:v>1400-09-09</c:v>
                </c:pt>
                <c:pt idx="1077">
                  <c:v>1400-09-10</c:v>
                </c:pt>
                <c:pt idx="1078">
                  <c:v>1400-09-11</c:v>
                </c:pt>
                <c:pt idx="1079">
                  <c:v>1400-09-13</c:v>
                </c:pt>
                <c:pt idx="1080">
                  <c:v>1400-09-14</c:v>
                </c:pt>
                <c:pt idx="1081">
                  <c:v>1400-09-15</c:v>
                </c:pt>
                <c:pt idx="1082">
                  <c:v>1400-09-16</c:v>
                </c:pt>
                <c:pt idx="1083">
                  <c:v>1400-09-17</c:v>
                </c:pt>
                <c:pt idx="1084">
                  <c:v>1400-09-18</c:v>
                </c:pt>
                <c:pt idx="1085">
                  <c:v>1400-09-20</c:v>
                </c:pt>
                <c:pt idx="1086">
                  <c:v>1400-09-21</c:v>
                </c:pt>
                <c:pt idx="1087">
                  <c:v>1400-09-22</c:v>
                </c:pt>
                <c:pt idx="1088">
                  <c:v>1400-09-23</c:v>
                </c:pt>
                <c:pt idx="1089">
                  <c:v>1400-09-24</c:v>
                </c:pt>
                <c:pt idx="1090">
                  <c:v>1400-09-25</c:v>
                </c:pt>
                <c:pt idx="1091">
                  <c:v>1400-09-27</c:v>
                </c:pt>
                <c:pt idx="1092">
                  <c:v>1400-09-28</c:v>
                </c:pt>
                <c:pt idx="1093">
                  <c:v>1400-09-29</c:v>
                </c:pt>
                <c:pt idx="1094">
                  <c:v>1400-09-30</c:v>
                </c:pt>
                <c:pt idx="1095">
                  <c:v>1400-10-01</c:v>
                </c:pt>
                <c:pt idx="1096">
                  <c:v>1400-10-02</c:v>
                </c:pt>
                <c:pt idx="1097">
                  <c:v>1400-10-04</c:v>
                </c:pt>
                <c:pt idx="1098">
                  <c:v>1400-10-05</c:v>
                </c:pt>
                <c:pt idx="1099">
                  <c:v>1400-10-06</c:v>
                </c:pt>
                <c:pt idx="1100">
                  <c:v>1400-10-07</c:v>
                </c:pt>
                <c:pt idx="1101">
                  <c:v>1400-10-08</c:v>
                </c:pt>
                <c:pt idx="1102">
                  <c:v>1400-10-09</c:v>
                </c:pt>
                <c:pt idx="1103">
                  <c:v>1400-10-11</c:v>
                </c:pt>
                <c:pt idx="1104">
                  <c:v>1400-10-12</c:v>
                </c:pt>
                <c:pt idx="1105">
                  <c:v>1400-10-13</c:v>
                </c:pt>
                <c:pt idx="1106">
                  <c:v>1400-10-14</c:v>
                </c:pt>
                <c:pt idx="1107">
                  <c:v>1400-10-15</c:v>
                </c:pt>
                <c:pt idx="1108">
                  <c:v>1400-10-16</c:v>
                </c:pt>
                <c:pt idx="1109">
                  <c:v>1400-10-18</c:v>
                </c:pt>
                <c:pt idx="1110">
                  <c:v>1400-10-19</c:v>
                </c:pt>
                <c:pt idx="1111">
                  <c:v>1400-10-20</c:v>
                </c:pt>
                <c:pt idx="1112">
                  <c:v>1400-10-21</c:v>
                </c:pt>
                <c:pt idx="1113">
                  <c:v>1400-10-22</c:v>
                </c:pt>
                <c:pt idx="1114">
                  <c:v>1400-10-23</c:v>
                </c:pt>
                <c:pt idx="1115">
                  <c:v>1400-10-25</c:v>
                </c:pt>
                <c:pt idx="1116">
                  <c:v>1400-10-26</c:v>
                </c:pt>
                <c:pt idx="1117">
                  <c:v>1400-10-27</c:v>
                </c:pt>
                <c:pt idx="1118">
                  <c:v>1400-10-28</c:v>
                </c:pt>
                <c:pt idx="1119">
                  <c:v>1400-10-29</c:v>
                </c:pt>
                <c:pt idx="1120">
                  <c:v>1400-10-30</c:v>
                </c:pt>
                <c:pt idx="1121">
                  <c:v>1400-11-02</c:v>
                </c:pt>
                <c:pt idx="1122">
                  <c:v>1400-11-03</c:v>
                </c:pt>
                <c:pt idx="1123">
                  <c:v>1400-11-04</c:v>
                </c:pt>
                <c:pt idx="1124">
                  <c:v>1400-11-05</c:v>
                </c:pt>
                <c:pt idx="1125">
                  <c:v>1400-11-06</c:v>
                </c:pt>
                <c:pt idx="1126">
                  <c:v>1400-11-07</c:v>
                </c:pt>
                <c:pt idx="1127">
                  <c:v>1400-11-09</c:v>
                </c:pt>
                <c:pt idx="1128">
                  <c:v>1400-11-10</c:v>
                </c:pt>
                <c:pt idx="1129">
                  <c:v>1400-11-11</c:v>
                </c:pt>
                <c:pt idx="1130">
                  <c:v>1400-11-12</c:v>
                </c:pt>
                <c:pt idx="1131">
                  <c:v>1400-11-13</c:v>
                </c:pt>
                <c:pt idx="1132">
                  <c:v>1400-11-14</c:v>
                </c:pt>
                <c:pt idx="1133">
                  <c:v>1400-11-16</c:v>
                </c:pt>
                <c:pt idx="1134">
                  <c:v>1400-11-17</c:v>
                </c:pt>
                <c:pt idx="1135">
                  <c:v>1400-11-18</c:v>
                </c:pt>
                <c:pt idx="1136">
                  <c:v>1400-11-19</c:v>
                </c:pt>
                <c:pt idx="1137">
                  <c:v>1400-11-20</c:v>
                </c:pt>
                <c:pt idx="1138">
                  <c:v>1400-11-21</c:v>
                </c:pt>
                <c:pt idx="1139">
                  <c:v>1400-11-23</c:v>
                </c:pt>
                <c:pt idx="1140">
                  <c:v>1400-11-24</c:v>
                </c:pt>
                <c:pt idx="1141">
                  <c:v>1400-11-25</c:v>
                </c:pt>
                <c:pt idx="1142">
                  <c:v>1400-11-27</c:v>
                </c:pt>
                <c:pt idx="1143">
                  <c:v>1400-11-28</c:v>
                </c:pt>
                <c:pt idx="1144">
                  <c:v>1400-11-30</c:v>
                </c:pt>
                <c:pt idx="1145">
                  <c:v>1400-12-01</c:v>
                </c:pt>
                <c:pt idx="1146">
                  <c:v>1400-12-02</c:v>
                </c:pt>
                <c:pt idx="1147">
                  <c:v>1400-12-03</c:v>
                </c:pt>
                <c:pt idx="1148">
                  <c:v>1400-12-04</c:v>
                </c:pt>
                <c:pt idx="1149">
                  <c:v>1400-12-05</c:v>
                </c:pt>
                <c:pt idx="1150">
                  <c:v>1400-12-07</c:v>
                </c:pt>
                <c:pt idx="1151">
                  <c:v>1400-12-08</c:v>
                </c:pt>
                <c:pt idx="1152">
                  <c:v>1400-12-09</c:v>
                </c:pt>
                <c:pt idx="1153">
                  <c:v>1400-12-11</c:v>
                </c:pt>
                <c:pt idx="1154">
                  <c:v>1400-12-12</c:v>
                </c:pt>
                <c:pt idx="1155">
                  <c:v>1400-12-14</c:v>
                </c:pt>
                <c:pt idx="1156">
                  <c:v>1400-12-15</c:v>
                </c:pt>
                <c:pt idx="1157">
                  <c:v>1400-12-16</c:v>
                </c:pt>
                <c:pt idx="1158">
                  <c:v>1400-12-17</c:v>
                </c:pt>
                <c:pt idx="1159">
                  <c:v>1400-12-18</c:v>
                </c:pt>
                <c:pt idx="1160">
                  <c:v>1400-12-19</c:v>
                </c:pt>
                <c:pt idx="1161">
                  <c:v>1400-12-21</c:v>
                </c:pt>
                <c:pt idx="1162">
                  <c:v>1400-12-22</c:v>
                </c:pt>
                <c:pt idx="1163">
                  <c:v>1400-12-23</c:v>
                </c:pt>
                <c:pt idx="1164">
                  <c:v>1400-12-24</c:v>
                </c:pt>
                <c:pt idx="1165">
                  <c:v>1400-12-25</c:v>
                </c:pt>
                <c:pt idx="1166">
                  <c:v>1400-12-26</c:v>
                </c:pt>
                <c:pt idx="1167">
                  <c:v>1400-12-28</c:v>
                </c:pt>
                <c:pt idx="1168">
                  <c:v>1401-01-06</c:v>
                </c:pt>
                <c:pt idx="1169">
                  <c:v>1401-01-07</c:v>
                </c:pt>
                <c:pt idx="1170">
                  <c:v>1401-01-08</c:v>
                </c:pt>
                <c:pt idx="1171">
                  <c:v>1401-01-09</c:v>
                </c:pt>
                <c:pt idx="1172">
                  <c:v>1401-01-10</c:v>
                </c:pt>
                <c:pt idx="1173">
                  <c:v>1401-01-11</c:v>
                </c:pt>
                <c:pt idx="1174">
                  <c:v>1401-01-14</c:v>
                </c:pt>
                <c:pt idx="1175">
                  <c:v>1401-01-15</c:v>
                </c:pt>
                <c:pt idx="1176">
                  <c:v>1401-01-16</c:v>
                </c:pt>
                <c:pt idx="1177">
                  <c:v>1401-01-17</c:v>
                </c:pt>
                <c:pt idx="1178">
                  <c:v>1401-01-18</c:v>
                </c:pt>
                <c:pt idx="1179">
                  <c:v>1401-01-20</c:v>
                </c:pt>
                <c:pt idx="1180">
                  <c:v>1401-01-21</c:v>
                </c:pt>
                <c:pt idx="1181">
                  <c:v>1401-01-22</c:v>
                </c:pt>
                <c:pt idx="1182">
                  <c:v>1401-01-23</c:v>
                </c:pt>
                <c:pt idx="1183">
                  <c:v>1401-01-24</c:v>
                </c:pt>
                <c:pt idx="1184">
                  <c:v>1401-01-25</c:v>
                </c:pt>
                <c:pt idx="1185">
                  <c:v>1401-01-27</c:v>
                </c:pt>
                <c:pt idx="1186">
                  <c:v>1401-01-28</c:v>
                </c:pt>
                <c:pt idx="1187">
                  <c:v>1401-01-29</c:v>
                </c:pt>
                <c:pt idx="1188">
                  <c:v>1401-01-30</c:v>
                </c:pt>
                <c:pt idx="1189">
                  <c:v>1401-01-31</c:v>
                </c:pt>
                <c:pt idx="1190">
                  <c:v>1401-02-01</c:v>
                </c:pt>
                <c:pt idx="1191">
                  <c:v>1401-02-04</c:v>
                </c:pt>
                <c:pt idx="1192">
                  <c:v>1401-02-05</c:v>
                </c:pt>
                <c:pt idx="1193">
                  <c:v>1401-02-06</c:v>
                </c:pt>
                <c:pt idx="1194">
                  <c:v>1401-02-07</c:v>
                </c:pt>
                <c:pt idx="1195">
                  <c:v>1401-02-08</c:v>
                </c:pt>
                <c:pt idx="1196">
                  <c:v>1401-02-10</c:v>
                </c:pt>
                <c:pt idx="1197">
                  <c:v>1401-02-11</c:v>
                </c:pt>
                <c:pt idx="1198">
                  <c:v>1401-02-12</c:v>
                </c:pt>
                <c:pt idx="1199">
                  <c:v>1401-02-15</c:v>
                </c:pt>
                <c:pt idx="1200">
                  <c:v>1401-02-17</c:v>
                </c:pt>
                <c:pt idx="1201">
                  <c:v>1401-02-18</c:v>
                </c:pt>
                <c:pt idx="1202">
                  <c:v>1401-02-19</c:v>
                </c:pt>
                <c:pt idx="1203">
                  <c:v>1401-02-20</c:v>
                </c:pt>
                <c:pt idx="1204">
                  <c:v>1401-02-21</c:v>
                </c:pt>
                <c:pt idx="1205">
                  <c:v>1401-02-22</c:v>
                </c:pt>
                <c:pt idx="1206">
                  <c:v>1401-02-24</c:v>
                </c:pt>
                <c:pt idx="1207">
                  <c:v>1401-02-25</c:v>
                </c:pt>
                <c:pt idx="1208">
                  <c:v>1401-02-26</c:v>
                </c:pt>
                <c:pt idx="1209">
                  <c:v>1401-02-27</c:v>
                </c:pt>
                <c:pt idx="1210">
                  <c:v>1401-02-28</c:v>
                </c:pt>
                <c:pt idx="1211">
                  <c:v>1401-02-29</c:v>
                </c:pt>
                <c:pt idx="1212">
                  <c:v>1401-02-31</c:v>
                </c:pt>
                <c:pt idx="1213">
                  <c:v>1401-03-01</c:v>
                </c:pt>
                <c:pt idx="1214">
                  <c:v>1401-03-02</c:v>
                </c:pt>
                <c:pt idx="1215">
                  <c:v>1401-03-03</c:v>
                </c:pt>
                <c:pt idx="1216">
                  <c:v>1401-03-04</c:v>
                </c:pt>
                <c:pt idx="1217">
                  <c:v>1401-03-05</c:v>
                </c:pt>
                <c:pt idx="1218">
                  <c:v>1401-03-07</c:v>
                </c:pt>
                <c:pt idx="1219">
                  <c:v>1401-03-08</c:v>
                </c:pt>
                <c:pt idx="1220">
                  <c:v>1401-03-09</c:v>
                </c:pt>
                <c:pt idx="1221">
                  <c:v>1401-03-10</c:v>
                </c:pt>
                <c:pt idx="1222">
                  <c:v>1401-03-11</c:v>
                </c:pt>
                <c:pt idx="1223">
                  <c:v>1401-03-12</c:v>
                </c:pt>
                <c:pt idx="1224">
                  <c:v>1401-03-16</c:v>
                </c:pt>
                <c:pt idx="1225">
                  <c:v>1401-03-17</c:v>
                </c:pt>
                <c:pt idx="1226">
                  <c:v>1401-03-18</c:v>
                </c:pt>
                <c:pt idx="1227">
                  <c:v>1401-03-19</c:v>
                </c:pt>
                <c:pt idx="1228">
                  <c:v>1401-03-21</c:v>
                </c:pt>
                <c:pt idx="1229">
                  <c:v>1401-03-22</c:v>
                </c:pt>
                <c:pt idx="1230">
                  <c:v>1401-03-23</c:v>
                </c:pt>
                <c:pt idx="1231">
                  <c:v>1401-03-24</c:v>
                </c:pt>
                <c:pt idx="1232">
                  <c:v>1401-03-25</c:v>
                </c:pt>
                <c:pt idx="1233">
                  <c:v>1401-03-26</c:v>
                </c:pt>
                <c:pt idx="1234">
                  <c:v>1401-03-28</c:v>
                </c:pt>
                <c:pt idx="1235">
                  <c:v>1401-03-29</c:v>
                </c:pt>
                <c:pt idx="1236">
                  <c:v>1401-03-30</c:v>
                </c:pt>
                <c:pt idx="1237">
                  <c:v>1401-04-01</c:v>
                </c:pt>
                <c:pt idx="1238">
                  <c:v>1401-04-02</c:v>
                </c:pt>
                <c:pt idx="1239">
                  <c:v>1401-04-04</c:v>
                </c:pt>
                <c:pt idx="1240">
                  <c:v>1401-04-05</c:v>
                </c:pt>
                <c:pt idx="1241">
                  <c:v>1401-04-06</c:v>
                </c:pt>
                <c:pt idx="1242">
                  <c:v>1401-04-07</c:v>
                </c:pt>
                <c:pt idx="1243">
                  <c:v>1401-04-08</c:v>
                </c:pt>
                <c:pt idx="1244">
                  <c:v>1401-04-09</c:v>
                </c:pt>
                <c:pt idx="1245">
                  <c:v>1401-04-11</c:v>
                </c:pt>
                <c:pt idx="1246">
                  <c:v>1401-04-12</c:v>
                </c:pt>
                <c:pt idx="1247">
                  <c:v>1401-04-13</c:v>
                </c:pt>
                <c:pt idx="1248">
                  <c:v>1401-04-14</c:v>
                </c:pt>
                <c:pt idx="1249">
                  <c:v>1401-04-15</c:v>
                </c:pt>
                <c:pt idx="1250">
                  <c:v>1401-04-16</c:v>
                </c:pt>
                <c:pt idx="1251">
                  <c:v>1401-04-25</c:v>
                </c:pt>
                <c:pt idx="1252">
                  <c:v>1401-04-26</c:v>
                </c:pt>
                <c:pt idx="1253">
                  <c:v>1401-04-28</c:v>
                </c:pt>
                <c:pt idx="1254">
                  <c:v>1401-04-29</c:v>
                </c:pt>
                <c:pt idx="1255">
                  <c:v>1401-04-30</c:v>
                </c:pt>
                <c:pt idx="1256">
                  <c:v>1401-05-01</c:v>
                </c:pt>
                <c:pt idx="1257">
                  <c:v>1401-05-02</c:v>
                </c:pt>
                <c:pt idx="1258">
                  <c:v>1401-05-03</c:v>
                </c:pt>
                <c:pt idx="1259">
                  <c:v>1401-05-04</c:v>
                </c:pt>
                <c:pt idx="1260">
                  <c:v>1401-05-05</c:v>
                </c:pt>
                <c:pt idx="1261">
                  <c:v>1401-05-06</c:v>
                </c:pt>
                <c:pt idx="1262">
                  <c:v>1401-05-08</c:v>
                </c:pt>
                <c:pt idx="1263">
                  <c:v>1401-05-09</c:v>
                </c:pt>
                <c:pt idx="1264">
                  <c:v>1401-05-10</c:v>
                </c:pt>
                <c:pt idx="1265">
                  <c:v>1401-05-11</c:v>
                </c:pt>
                <c:pt idx="1266">
                  <c:v>1401-05-12</c:v>
                </c:pt>
                <c:pt idx="1267">
                  <c:v>1401-05-13</c:v>
                </c:pt>
                <c:pt idx="1268">
                  <c:v>1401-05-15</c:v>
                </c:pt>
                <c:pt idx="1269">
                  <c:v>1401-05-19</c:v>
                </c:pt>
                <c:pt idx="1270">
                  <c:v>1401-05-20</c:v>
                </c:pt>
                <c:pt idx="1271">
                  <c:v>1401-05-22</c:v>
                </c:pt>
                <c:pt idx="1272">
                  <c:v>1401-05-23</c:v>
                </c:pt>
                <c:pt idx="1273">
                  <c:v>1401-05-24</c:v>
                </c:pt>
                <c:pt idx="1274">
                  <c:v>1401-05-25</c:v>
                </c:pt>
                <c:pt idx="1275">
                  <c:v>1401-05-26</c:v>
                </c:pt>
                <c:pt idx="1276">
                  <c:v>1401-05-27</c:v>
                </c:pt>
                <c:pt idx="1277">
                  <c:v>1401-05-29</c:v>
                </c:pt>
                <c:pt idx="1278">
                  <c:v>1401-05-30</c:v>
                </c:pt>
                <c:pt idx="1279">
                  <c:v>1401-05-31</c:v>
                </c:pt>
                <c:pt idx="1280">
                  <c:v>1401-06-01</c:v>
                </c:pt>
                <c:pt idx="1281">
                  <c:v>1401-06-02</c:v>
                </c:pt>
                <c:pt idx="1282">
                  <c:v>1401-06-03</c:v>
                </c:pt>
                <c:pt idx="1283">
                  <c:v>1401-06-05</c:v>
                </c:pt>
                <c:pt idx="1284">
                  <c:v>1401-06-06</c:v>
                </c:pt>
                <c:pt idx="1285">
                  <c:v>1401-06-07</c:v>
                </c:pt>
                <c:pt idx="1286">
                  <c:v>1401-06-08</c:v>
                </c:pt>
                <c:pt idx="1287">
                  <c:v>1401-06-09</c:v>
                </c:pt>
                <c:pt idx="1288">
                  <c:v>1401-06-10</c:v>
                </c:pt>
                <c:pt idx="1289">
                  <c:v>1401-06-12</c:v>
                </c:pt>
                <c:pt idx="1290">
                  <c:v>1401-06-13</c:v>
                </c:pt>
                <c:pt idx="1291">
                  <c:v>1401-06-14</c:v>
                </c:pt>
                <c:pt idx="1292">
                  <c:v>1401-06-15</c:v>
                </c:pt>
                <c:pt idx="1293">
                  <c:v>1401-06-16</c:v>
                </c:pt>
                <c:pt idx="1294">
                  <c:v>1401-06-17</c:v>
                </c:pt>
                <c:pt idx="1295">
                  <c:v>1401-06-19</c:v>
                </c:pt>
                <c:pt idx="1296">
                  <c:v>1401-06-20</c:v>
                </c:pt>
                <c:pt idx="1297">
                  <c:v>1401-06-21</c:v>
                </c:pt>
                <c:pt idx="1298">
                  <c:v>1401-06-22</c:v>
                </c:pt>
                <c:pt idx="1299">
                  <c:v>1401-06-23</c:v>
                </c:pt>
                <c:pt idx="1300">
                  <c:v>1401-06-24</c:v>
                </c:pt>
                <c:pt idx="1301">
                  <c:v>1401-06-27</c:v>
                </c:pt>
                <c:pt idx="1302">
                  <c:v>1401-06-28</c:v>
                </c:pt>
                <c:pt idx="1303">
                  <c:v>1401-06-29</c:v>
                </c:pt>
                <c:pt idx="1304">
                  <c:v>1401-06-30</c:v>
                </c:pt>
                <c:pt idx="1305">
                  <c:v>1401-06-31</c:v>
                </c:pt>
                <c:pt idx="1306">
                  <c:v>1401-07-02</c:v>
                </c:pt>
                <c:pt idx="1307">
                  <c:v>1401-07-04</c:v>
                </c:pt>
                <c:pt idx="1308">
                  <c:v>1401-07-06</c:v>
                </c:pt>
                <c:pt idx="1309">
                  <c:v>1401-07-07</c:v>
                </c:pt>
                <c:pt idx="1310">
                  <c:v>1401-07-09</c:v>
                </c:pt>
                <c:pt idx="1311">
                  <c:v>1401-07-10</c:v>
                </c:pt>
                <c:pt idx="1312">
                  <c:v>1401-07-11</c:v>
                </c:pt>
                <c:pt idx="1313">
                  <c:v>1401-07-12</c:v>
                </c:pt>
                <c:pt idx="1314">
                  <c:v>1401-07-14</c:v>
                </c:pt>
                <c:pt idx="1315">
                  <c:v>1401-07-16</c:v>
                </c:pt>
                <c:pt idx="1316">
                  <c:v>1401-07-17</c:v>
                </c:pt>
                <c:pt idx="1317">
                  <c:v>1401-07-18</c:v>
                </c:pt>
                <c:pt idx="1318">
                  <c:v>1401-07-19</c:v>
                </c:pt>
                <c:pt idx="1319">
                  <c:v>1401-07-20</c:v>
                </c:pt>
                <c:pt idx="1320">
                  <c:v>1401-07-21</c:v>
                </c:pt>
                <c:pt idx="1321">
                  <c:v>1401-07-23</c:v>
                </c:pt>
                <c:pt idx="1322">
                  <c:v>1401-07-24</c:v>
                </c:pt>
                <c:pt idx="1323">
                  <c:v>1401-07-25</c:v>
                </c:pt>
                <c:pt idx="1324">
                  <c:v>1401-07-26</c:v>
                </c:pt>
                <c:pt idx="1325">
                  <c:v>1401-07-27</c:v>
                </c:pt>
                <c:pt idx="1326">
                  <c:v>1401-07-28</c:v>
                </c:pt>
                <c:pt idx="1327">
                  <c:v>1401-07-30</c:v>
                </c:pt>
                <c:pt idx="1328">
                  <c:v>1401-08-01</c:v>
                </c:pt>
                <c:pt idx="1329">
                  <c:v>1401-08-02</c:v>
                </c:pt>
                <c:pt idx="1330">
                  <c:v>1401-08-03</c:v>
                </c:pt>
                <c:pt idx="1331">
                  <c:v>1401-08-04</c:v>
                </c:pt>
                <c:pt idx="1332">
                  <c:v>1401-08-05</c:v>
                </c:pt>
                <c:pt idx="1333">
                  <c:v>1401-08-07</c:v>
                </c:pt>
                <c:pt idx="1334">
                  <c:v>1401-08-08</c:v>
                </c:pt>
                <c:pt idx="1335">
                  <c:v>1401-08-09</c:v>
                </c:pt>
                <c:pt idx="1336">
                  <c:v>1401-08-10</c:v>
                </c:pt>
                <c:pt idx="1337">
                  <c:v>1401-08-11</c:v>
                </c:pt>
                <c:pt idx="1338">
                  <c:v>1401-08-12</c:v>
                </c:pt>
                <c:pt idx="1339">
                  <c:v>1401-08-14</c:v>
                </c:pt>
                <c:pt idx="1340">
                  <c:v>1401-08-15</c:v>
                </c:pt>
                <c:pt idx="1341">
                  <c:v>1401-08-16</c:v>
                </c:pt>
                <c:pt idx="1342">
                  <c:v>1401-08-17</c:v>
                </c:pt>
                <c:pt idx="1343">
                  <c:v>1401-08-18</c:v>
                </c:pt>
                <c:pt idx="1344">
                  <c:v>1401-08-19</c:v>
                </c:pt>
                <c:pt idx="1345">
                  <c:v>1401-08-21</c:v>
                </c:pt>
                <c:pt idx="1346">
                  <c:v>1401-08-22</c:v>
                </c:pt>
                <c:pt idx="1347">
                  <c:v>1401-08-23</c:v>
                </c:pt>
                <c:pt idx="1348">
                  <c:v>1401-08-24</c:v>
                </c:pt>
                <c:pt idx="1349">
                  <c:v>1401-08-25</c:v>
                </c:pt>
                <c:pt idx="1350">
                  <c:v>1401-08-26</c:v>
                </c:pt>
                <c:pt idx="1351">
                  <c:v>1401-08-28</c:v>
                </c:pt>
                <c:pt idx="1352">
                  <c:v>1401-08-29</c:v>
                </c:pt>
                <c:pt idx="1353">
                  <c:v>1401-08-30</c:v>
                </c:pt>
                <c:pt idx="1354">
                  <c:v>1401-09-01</c:v>
                </c:pt>
                <c:pt idx="1355">
                  <c:v>1401-09-02</c:v>
                </c:pt>
                <c:pt idx="1356">
                  <c:v>1401-09-03</c:v>
                </c:pt>
                <c:pt idx="1357">
                  <c:v>1401-09-05</c:v>
                </c:pt>
                <c:pt idx="1358">
                  <c:v>1401-09-06</c:v>
                </c:pt>
                <c:pt idx="1359">
                  <c:v>1401-09-07</c:v>
                </c:pt>
                <c:pt idx="1360">
                  <c:v>1401-09-08</c:v>
                </c:pt>
                <c:pt idx="1361">
                  <c:v>1401-09-09</c:v>
                </c:pt>
                <c:pt idx="1362">
                  <c:v>1401-09-10</c:v>
                </c:pt>
                <c:pt idx="1363">
                  <c:v>1401-09-12</c:v>
                </c:pt>
                <c:pt idx="1364">
                  <c:v>1401-09-13</c:v>
                </c:pt>
                <c:pt idx="1365">
                  <c:v>1401-09-14</c:v>
                </c:pt>
                <c:pt idx="1366">
                  <c:v>1401-09-15</c:v>
                </c:pt>
                <c:pt idx="1367">
                  <c:v>1401-09-16</c:v>
                </c:pt>
                <c:pt idx="1368">
                  <c:v>1401-09-17</c:v>
                </c:pt>
                <c:pt idx="1369">
                  <c:v>1401-09-19</c:v>
                </c:pt>
                <c:pt idx="1370">
                  <c:v>1401-09-20</c:v>
                </c:pt>
                <c:pt idx="1371">
                  <c:v>1401-09-21</c:v>
                </c:pt>
                <c:pt idx="1372">
                  <c:v>1401-09-22</c:v>
                </c:pt>
                <c:pt idx="1373">
                  <c:v>1401-09-23</c:v>
                </c:pt>
                <c:pt idx="1374">
                  <c:v>1401-09-24</c:v>
                </c:pt>
                <c:pt idx="1375">
                  <c:v>1401-09-26</c:v>
                </c:pt>
                <c:pt idx="1376">
                  <c:v>1401-09-27</c:v>
                </c:pt>
                <c:pt idx="1377">
                  <c:v>1401-09-28</c:v>
                </c:pt>
                <c:pt idx="1378">
                  <c:v>1401-09-29</c:v>
                </c:pt>
                <c:pt idx="1379">
                  <c:v>1401-09-30</c:v>
                </c:pt>
                <c:pt idx="1380">
                  <c:v>1401-10-01</c:v>
                </c:pt>
                <c:pt idx="1381">
                  <c:v>1401-10-03</c:v>
                </c:pt>
                <c:pt idx="1382">
                  <c:v>1401-10-04</c:v>
                </c:pt>
                <c:pt idx="1383">
                  <c:v>1401-10-05</c:v>
                </c:pt>
                <c:pt idx="1384">
                  <c:v>1401-10-07</c:v>
                </c:pt>
                <c:pt idx="1385">
                  <c:v>1401-10-08</c:v>
                </c:pt>
                <c:pt idx="1386">
                  <c:v>1401-10-10</c:v>
                </c:pt>
                <c:pt idx="1387">
                  <c:v>1401-10-11</c:v>
                </c:pt>
                <c:pt idx="1388">
                  <c:v>1401-10-12</c:v>
                </c:pt>
                <c:pt idx="1389">
                  <c:v>1401-10-13</c:v>
                </c:pt>
                <c:pt idx="1390">
                  <c:v>1401-10-14</c:v>
                </c:pt>
                <c:pt idx="1391">
                  <c:v>1401-10-15</c:v>
                </c:pt>
                <c:pt idx="1392">
                  <c:v>1401-10-17</c:v>
                </c:pt>
                <c:pt idx="1393">
                  <c:v>1401-10-18</c:v>
                </c:pt>
                <c:pt idx="1394">
                  <c:v>1401-10-19</c:v>
                </c:pt>
                <c:pt idx="1395">
                  <c:v>1401-10-20</c:v>
                </c:pt>
                <c:pt idx="1396">
                  <c:v>1401-10-21</c:v>
                </c:pt>
                <c:pt idx="1397">
                  <c:v>1401-10-22</c:v>
                </c:pt>
                <c:pt idx="1398">
                  <c:v>1401-10-24</c:v>
                </c:pt>
                <c:pt idx="1399">
                  <c:v>1401-10-26</c:v>
                </c:pt>
                <c:pt idx="1400">
                  <c:v>1401-10-27</c:v>
                </c:pt>
                <c:pt idx="1401">
                  <c:v>1401-10-28</c:v>
                </c:pt>
                <c:pt idx="1402">
                  <c:v>1401-10-29</c:v>
                </c:pt>
                <c:pt idx="1403">
                  <c:v>1401-11-01</c:v>
                </c:pt>
                <c:pt idx="1404">
                  <c:v>1401-11-02</c:v>
                </c:pt>
                <c:pt idx="1405">
                  <c:v>1401-11-03</c:v>
                </c:pt>
                <c:pt idx="1406">
                  <c:v>1401-11-04</c:v>
                </c:pt>
                <c:pt idx="1407">
                  <c:v>1401-11-05</c:v>
                </c:pt>
                <c:pt idx="1408">
                  <c:v>1401-11-06</c:v>
                </c:pt>
                <c:pt idx="1409">
                  <c:v>1401-11-08</c:v>
                </c:pt>
                <c:pt idx="1410">
                  <c:v>1401-11-09</c:v>
                </c:pt>
                <c:pt idx="1411">
                  <c:v>1401-11-10</c:v>
                </c:pt>
                <c:pt idx="1412">
                  <c:v>1401-11-11</c:v>
                </c:pt>
                <c:pt idx="1413">
                  <c:v>1401-11-12</c:v>
                </c:pt>
                <c:pt idx="1414">
                  <c:v>1401-11-13</c:v>
                </c:pt>
                <c:pt idx="1415">
                  <c:v>1401-11-16</c:v>
                </c:pt>
                <c:pt idx="1416">
                  <c:v>1401-11-17</c:v>
                </c:pt>
                <c:pt idx="1417">
                  <c:v>1401-11-18</c:v>
                </c:pt>
                <c:pt idx="1418">
                  <c:v>1401-11-19</c:v>
                </c:pt>
                <c:pt idx="1419">
                  <c:v>1401-11-20</c:v>
                </c:pt>
                <c:pt idx="1420">
                  <c:v>1401-11-23</c:v>
                </c:pt>
                <c:pt idx="1421">
                  <c:v>1401-11-24</c:v>
                </c:pt>
                <c:pt idx="1422">
                  <c:v>1401-11-25</c:v>
                </c:pt>
                <c:pt idx="1423">
                  <c:v>1401-11-26</c:v>
                </c:pt>
                <c:pt idx="1424">
                  <c:v>1401-11-27</c:v>
                </c:pt>
                <c:pt idx="1425">
                  <c:v>1401-11-30</c:v>
                </c:pt>
                <c:pt idx="1426">
                  <c:v>1401-12-01</c:v>
                </c:pt>
                <c:pt idx="1427">
                  <c:v>1401-12-02</c:v>
                </c:pt>
                <c:pt idx="1428">
                  <c:v>1401-12-03</c:v>
                </c:pt>
                <c:pt idx="1429">
                  <c:v>1401-12-04</c:v>
                </c:pt>
                <c:pt idx="1430">
                  <c:v>1401-12-06</c:v>
                </c:pt>
                <c:pt idx="1431">
                  <c:v>1401-12-07</c:v>
                </c:pt>
                <c:pt idx="1432">
                  <c:v>1401-12-08</c:v>
                </c:pt>
                <c:pt idx="1433">
                  <c:v>1401-12-09</c:v>
                </c:pt>
                <c:pt idx="1434">
                  <c:v>1401-12-10</c:v>
                </c:pt>
                <c:pt idx="1435">
                  <c:v>1401-12-11</c:v>
                </c:pt>
                <c:pt idx="1436">
                  <c:v>1401-12-13</c:v>
                </c:pt>
                <c:pt idx="1437">
                  <c:v>1401-12-14</c:v>
                </c:pt>
                <c:pt idx="1438">
                  <c:v>1401-12-15</c:v>
                </c:pt>
                <c:pt idx="1439">
                  <c:v>1401-12-16</c:v>
                </c:pt>
                <c:pt idx="1440">
                  <c:v>1401-12-21</c:v>
                </c:pt>
                <c:pt idx="1441">
                  <c:v>1401-12-22</c:v>
                </c:pt>
                <c:pt idx="1442">
                  <c:v>1401-12-25</c:v>
                </c:pt>
                <c:pt idx="1443">
                  <c:v>1401-12-27</c:v>
                </c:pt>
                <c:pt idx="1444">
                  <c:v>1401-12-28</c:v>
                </c:pt>
                <c:pt idx="1445">
                  <c:v>1402-01-05</c:v>
                </c:pt>
                <c:pt idx="1446">
                  <c:v>1402-01-06</c:v>
                </c:pt>
                <c:pt idx="1447">
                  <c:v>1402-01-07</c:v>
                </c:pt>
                <c:pt idx="1448">
                  <c:v>1402-01-08</c:v>
                </c:pt>
                <c:pt idx="1449">
                  <c:v>1402-01-09</c:v>
                </c:pt>
                <c:pt idx="1450">
                  <c:v>1402-01-10</c:v>
                </c:pt>
                <c:pt idx="1451">
                  <c:v>1402-01-14</c:v>
                </c:pt>
                <c:pt idx="1452">
                  <c:v>1402-01-15</c:v>
                </c:pt>
                <c:pt idx="1453">
                  <c:v>1402-01-16</c:v>
                </c:pt>
                <c:pt idx="1454">
                  <c:v>1402-01-17</c:v>
                </c:pt>
                <c:pt idx="1455">
                  <c:v>1402-01-19</c:v>
                </c:pt>
                <c:pt idx="1456">
                  <c:v>1402-01-20</c:v>
                </c:pt>
                <c:pt idx="1457">
                  <c:v>1402-01-21</c:v>
                </c:pt>
                <c:pt idx="1458">
                  <c:v>1402-01-22</c:v>
                </c:pt>
                <c:pt idx="1459">
                  <c:v>1402-01-24</c:v>
                </c:pt>
                <c:pt idx="1460">
                  <c:v>1402-01-26</c:v>
                </c:pt>
                <c:pt idx="1461">
                  <c:v>1402-01-27</c:v>
                </c:pt>
                <c:pt idx="1462">
                  <c:v>1402-01-28</c:v>
                </c:pt>
                <c:pt idx="1463">
                  <c:v>1402-01-29</c:v>
                </c:pt>
                <c:pt idx="1464">
                  <c:v>1402-01-30</c:v>
                </c:pt>
                <c:pt idx="1465">
                  <c:v>1402-01-31</c:v>
                </c:pt>
                <c:pt idx="1466">
                  <c:v>1402-02-04</c:v>
                </c:pt>
                <c:pt idx="1467">
                  <c:v>1402-02-05</c:v>
                </c:pt>
                <c:pt idx="1468">
                  <c:v>1402-02-06</c:v>
                </c:pt>
                <c:pt idx="1469">
                  <c:v>1402-02-07</c:v>
                </c:pt>
                <c:pt idx="1470">
                  <c:v>1402-02-09</c:v>
                </c:pt>
                <c:pt idx="1471">
                  <c:v>1402-02-10</c:v>
                </c:pt>
                <c:pt idx="1472">
                  <c:v>1402-02-11</c:v>
                </c:pt>
                <c:pt idx="1473">
                  <c:v>1402-02-12</c:v>
                </c:pt>
                <c:pt idx="1474">
                  <c:v>1402-02-13</c:v>
                </c:pt>
                <c:pt idx="1475">
                  <c:v>1402-02-14</c:v>
                </c:pt>
                <c:pt idx="1476">
                  <c:v>1402-02-16</c:v>
                </c:pt>
                <c:pt idx="1477">
                  <c:v>1402-02-17</c:v>
                </c:pt>
                <c:pt idx="1478">
                  <c:v>1402-02-18</c:v>
                </c:pt>
                <c:pt idx="1479">
                  <c:v>1402-02-19</c:v>
                </c:pt>
                <c:pt idx="1480">
                  <c:v>1402-02-20</c:v>
                </c:pt>
                <c:pt idx="1481">
                  <c:v>1402-02-21</c:v>
                </c:pt>
                <c:pt idx="1482">
                  <c:v>1402-02-23</c:v>
                </c:pt>
                <c:pt idx="1483">
                  <c:v>1402-02-24</c:v>
                </c:pt>
                <c:pt idx="1484">
                  <c:v>1402-02-25</c:v>
                </c:pt>
                <c:pt idx="1485">
                  <c:v>1402-02-27</c:v>
                </c:pt>
                <c:pt idx="1486">
                  <c:v>1402-02-28</c:v>
                </c:pt>
                <c:pt idx="1487">
                  <c:v>1402-02-30</c:v>
                </c:pt>
                <c:pt idx="1488">
                  <c:v>1402-02-31</c:v>
                </c:pt>
                <c:pt idx="1489">
                  <c:v>1402-03-01</c:v>
                </c:pt>
                <c:pt idx="1490">
                  <c:v>1402-03-02</c:v>
                </c:pt>
                <c:pt idx="1491">
                  <c:v>1402-03-03</c:v>
                </c:pt>
                <c:pt idx="1492">
                  <c:v>1402-03-04</c:v>
                </c:pt>
                <c:pt idx="1493">
                  <c:v>1402-03-06</c:v>
                </c:pt>
                <c:pt idx="1494">
                  <c:v>1402-03-07</c:v>
                </c:pt>
                <c:pt idx="1495">
                  <c:v>1402-03-08</c:v>
                </c:pt>
                <c:pt idx="1496">
                  <c:v>1402-03-09</c:v>
                </c:pt>
                <c:pt idx="1497">
                  <c:v>1402-03-10</c:v>
                </c:pt>
                <c:pt idx="1498">
                  <c:v>1402-03-11</c:v>
                </c:pt>
                <c:pt idx="1499">
                  <c:v>1402-03-13</c:v>
                </c:pt>
                <c:pt idx="1500">
                  <c:v>1402-03-16</c:v>
                </c:pt>
                <c:pt idx="1501">
                  <c:v>1402-03-17</c:v>
                </c:pt>
                <c:pt idx="1502">
                  <c:v>1402-03-18</c:v>
                </c:pt>
                <c:pt idx="1503">
                  <c:v>1402-03-20</c:v>
                </c:pt>
                <c:pt idx="1504">
                  <c:v>1402-03-21</c:v>
                </c:pt>
                <c:pt idx="1505">
                  <c:v>1402-03-22</c:v>
                </c:pt>
                <c:pt idx="1506">
                  <c:v>1402-03-23</c:v>
                </c:pt>
                <c:pt idx="1507">
                  <c:v>1402-03-24</c:v>
                </c:pt>
                <c:pt idx="1508">
                  <c:v>1402-03-25</c:v>
                </c:pt>
                <c:pt idx="1509">
                  <c:v>1402-03-27</c:v>
                </c:pt>
                <c:pt idx="1510">
                  <c:v>1402-03-28</c:v>
                </c:pt>
                <c:pt idx="1511">
                  <c:v>1402-03-29</c:v>
                </c:pt>
                <c:pt idx="1512">
                  <c:v>1402-03-30</c:v>
                </c:pt>
                <c:pt idx="1513">
                  <c:v>1402-03-31</c:v>
                </c:pt>
                <c:pt idx="1514">
                  <c:v>1402-04-04</c:v>
                </c:pt>
                <c:pt idx="1515">
                  <c:v>1402-04-05</c:v>
                </c:pt>
                <c:pt idx="1516">
                  <c:v>1402-04-06</c:v>
                </c:pt>
                <c:pt idx="1517">
                  <c:v>1402-04-07</c:v>
                </c:pt>
                <c:pt idx="1518">
                  <c:v>1402-04-10</c:v>
                </c:pt>
                <c:pt idx="1519">
                  <c:v>1402-04-11</c:v>
                </c:pt>
                <c:pt idx="1520">
                  <c:v>1402-04-12</c:v>
                </c:pt>
                <c:pt idx="1521">
                  <c:v>1402-04-14</c:v>
                </c:pt>
                <c:pt idx="1522">
                  <c:v>1402-04-17</c:v>
                </c:pt>
                <c:pt idx="1523">
                  <c:v>1402-04-18</c:v>
                </c:pt>
                <c:pt idx="1524">
                  <c:v>1402-04-19</c:v>
                </c:pt>
                <c:pt idx="1525">
                  <c:v>1402-04-20</c:v>
                </c:pt>
                <c:pt idx="1526">
                  <c:v>1402-04-21</c:v>
                </c:pt>
                <c:pt idx="1527">
                  <c:v>1402-04-22</c:v>
                </c:pt>
                <c:pt idx="1528">
                  <c:v>1402-04-24</c:v>
                </c:pt>
                <c:pt idx="1529">
                  <c:v>1402-04-25</c:v>
                </c:pt>
                <c:pt idx="1530">
                  <c:v>1402-04-26</c:v>
                </c:pt>
                <c:pt idx="1531">
                  <c:v>1402-04-27</c:v>
                </c:pt>
                <c:pt idx="1532">
                  <c:v>1402-04-28</c:v>
                </c:pt>
                <c:pt idx="1533">
                  <c:v>1402-04-29</c:v>
                </c:pt>
                <c:pt idx="1534">
                  <c:v>1402-04-31</c:v>
                </c:pt>
                <c:pt idx="1535">
                  <c:v>1402-05-01</c:v>
                </c:pt>
                <c:pt idx="1536">
                  <c:v>1402-05-02</c:v>
                </c:pt>
                <c:pt idx="1537">
                  <c:v>1402-05-03</c:v>
                </c:pt>
                <c:pt idx="1538">
                  <c:v>1402-05-04</c:v>
                </c:pt>
                <c:pt idx="1539">
                  <c:v>1402-05-07</c:v>
                </c:pt>
                <c:pt idx="1540">
                  <c:v>1402-05-08</c:v>
                </c:pt>
                <c:pt idx="1541">
                  <c:v>1402-05-09</c:v>
                </c:pt>
                <c:pt idx="1542">
                  <c:v>1402-05-10</c:v>
                </c:pt>
                <c:pt idx="1543">
                  <c:v>1402-05-12</c:v>
                </c:pt>
                <c:pt idx="1544">
                  <c:v>1402-05-14</c:v>
                </c:pt>
                <c:pt idx="1545">
                  <c:v>1402-05-15</c:v>
                </c:pt>
                <c:pt idx="1546">
                  <c:v>1402-05-16</c:v>
                </c:pt>
                <c:pt idx="1547">
                  <c:v>1402-05-17</c:v>
                </c:pt>
                <c:pt idx="1548">
                  <c:v>1402-05-18</c:v>
                </c:pt>
                <c:pt idx="1549">
                  <c:v>1402-05-19</c:v>
                </c:pt>
                <c:pt idx="1550">
                  <c:v>1402-05-21</c:v>
                </c:pt>
                <c:pt idx="1551">
                  <c:v>1402-05-22</c:v>
                </c:pt>
                <c:pt idx="1552">
                  <c:v>1402-05-23</c:v>
                </c:pt>
                <c:pt idx="1553">
                  <c:v>1402-05-24</c:v>
                </c:pt>
                <c:pt idx="1554">
                  <c:v>1402-05-29</c:v>
                </c:pt>
                <c:pt idx="1555">
                  <c:v>1402-05-30</c:v>
                </c:pt>
                <c:pt idx="1556">
                  <c:v>1402-05-31</c:v>
                </c:pt>
                <c:pt idx="1557">
                  <c:v>1402-06-01</c:v>
                </c:pt>
                <c:pt idx="1558">
                  <c:v>1402-06-02</c:v>
                </c:pt>
                <c:pt idx="1559">
                  <c:v>1402-06-04</c:v>
                </c:pt>
                <c:pt idx="1560">
                  <c:v>1402-06-05</c:v>
                </c:pt>
                <c:pt idx="1561">
                  <c:v>1402-06-06</c:v>
                </c:pt>
                <c:pt idx="1562">
                  <c:v>1402-06-07</c:v>
                </c:pt>
                <c:pt idx="1563">
                  <c:v>1402-06-08</c:v>
                </c:pt>
                <c:pt idx="1564">
                  <c:v>1402-06-09</c:v>
                </c:pt>
                <c:pt idx="1565">
                  <c:v>1402-06-11</c:v>
                </c:pt>
                <c:pt idx="1566">
                  <c:v>1402-06-12</c:v>
                </c:pt>
                <c:pt idx="1567">
                  <c:v>1402-06-13</c:v>
                </c:pt>
                <c:pt idx="1568">
                  <c:v>1402-06-14</c:v>
                </c:pt>
                <c:pt idx="1569">
                  <c:v>1402-06-16</c:v>
                </c:pt>
                <c:pt idx="1570">
                  <c:v>1402-06-18</c:v>
                </c:pt>
                <c:pt idx="1571">
                  <c:v>1402-06-19</c:v>
                </c:pt>
                <c:pt idx="1572">
                  <c:v>1402-06-20</c:v>
                </c:pt>
                <c:pt idx="1573">
                  <c:v>1402-06-21</c:v>
                </c:pt>
                <c:pt idx="1574">
                  <c:v>1402-06-22</c:v>
                </c:pt>
                <c:pt idx="1575">
                  <c:v>1402-06-23</c:v>
                </c:pt>
                <c:pt idx="1576">
                  <c:v>1402-06-26</c:v>
                </c:pt>
                <c:pt idx="1577">
                  <c:v>1402-06-27</c:v>
                </c:pt>
                <c:pt idx="1578">
                  <c:v>1402-06-28</c:v>
                </c:pt>
                <c:pt idx="1579">
                  <c:v>1402-06-29</c:v>
                </c:pt>
                <c:pt idx="1580">
                  <c:v>1402-06-30</c:v>
                </c:pt>
                <c:pt idx="1581">
                  <c:v>1402-07-01</c:v>
                </c:pt>
                <c:pt idx="1582">
                  <c:v>1402-07-03</c:v>
                </c:pt>
                <c:pt idx="1583">
                  <c:v>1402-07-05</c:v>
                </c:pt>
                <c:pt idx="1584">
                  <c:v>1402-07-06</c:v>
                </c:pt>
                <c:pt idx="1585">
                  <c:v>1402-07-08</c:v>
                </c:pt>
                <c:pt idx="1586">
                  <c:v>1402-07-09</c:v>
                </c:pt>
                <c:pt idx="1587">
                  <c:v>1402-07-10</c:v>
                </c:pt>
                <c:pt idx="1588">
                  <c:v>1402-07-12</c:v>
                </c:pt>
                <c:pt idx="1589">
                  <c:v>1402-07-13</c:v>
                </c:pt>
                <c:pt idx="1590">
                  <c:v>1402-07-15</c:v>
                </c:pt>
                <c:pt idx="1591">
                  <c:v>1402-07-16</c:v>
                </c:pt>
                <c:pt idx="1592">
                  <c:v>1402-07-17</c:v>
                </c:pt>
                <c:pt idx="1593">
                  <c:v>1402-07-18</c:v>
                </c:pt>
                <c:pt idx="1594">
                  <c:v>1402-07-19</c:v>
                </c:pt>
                <c:pt idx="1595">
                  <c:v>1402-07-20</c:v>
                </c:pt>
                <c:pt idx="1596">
                  <c:v>1402-07-22</c:v>
                </c:pt>
                <c:pt idx="1597">
                  <c:v>1402-07-23</c:v>
                </c:pt>
                <c:pt idx="1598">
                  <c:v>1402-07-24</c:v>
                </c:pt>
                <c:pt idx="1599">
                  <c:v>1402-07-25</c:v>
                </c:pt>
                <c:pt idx="1600">
                  <c:v>1402-07-26</c:v>
                </c:pt>
                <c:pt idx="1601">
                  <c:v>1402-07-27</c:v>
                </c:pt>
                <c:pt idx="1602">
                  <c:v>1402-07-29</c:v>
                </c:pt>
                <c:pt idx="1603">
                  <c:v>1402-07-30</c:v>
                </c:pt>
                <c:pt idx="1604">
                  <c:v>1402-08-01</c:v>
                </c:pt>
                <c:pt idx="1605">
                  <c:v>1402-08-02</c:v>
                </c:pt>
                <c:pt idx="1606">
                  <c:v>1402-08-03</c:v>
                </c:pt>
                <c:pt idx="1607">
                  <c:v>1402-08-04</c:v>
                </c:pt>
                <c:pt idx="1608">
                  <c:v>1402-08-06</c:v>
                </c:pt>
                <c:pt idx="1609">
                  <c:v>1402-08-07</c:v>
                </c:pt>
                <c:pt idx="1610">
                  <c:v>1402-08-08</c:v>
                </c:pt>
                <c:pt idx="1611">
                  <c:v>1402-08-09</c:v>
                </c:pt>
                <c:pt idx="1612">
                  <c:v>1402-08-10</c:v>
                </c:pt>
                <c:pt idx="1613">
                  <c:v>1402-08-11</c:v>
                </c:pt>
                <c:pt idx="1614">
                  <c:v>1402-08-13</c:v>
                </c:pt>
                <c:pt idx="1615">
                  <c:v>1402-08-14</c:v>
                </c:pt>
                <c:pt idx="1616">
                  <c:v>1402-08-15</c:v>
                </c:pt>
                <c:pt idx="1617">
                  <c:v>1402-08-16</c:v>
                </c:pt>
                <c:pt idx="1618">
                  <c:v>1402-08-17</c:v>
                </c:pt>
                <c:pt idx="1619">
                  <c:v>1402-08-18</c:v>
                </c:pt>
                <c:pt idx="1620">
                  <c:v>1402-08-20</c:v>
                </c:pt>
                <c:pt idx="1621">
                  <c:v>1402-08-21</c:v>
                </c:pt>
                <c:pt idx="1622">
                  <c:v>1402-08-22</c:v>
                </c:pt>
                <c:pt idx="1623">
                  <c:v>1402-08-23</c:v>
                </c:pt>
                <c:pt idx="1624">
                  <c:v>1402-08-24</c:v>
                </c:pt>
                <c:pt idx="1625">
                  <c:v>1402-08-25</c:v>
                </c:pt>
                <c:pt idx="1626">
                  <c:v>1402-08-27</c:v>
                </c:pt>
                <c:pt idx="1627">
                  <c:v>1402-08-28</c:v>
                </c:pt>
                <c:pt idx="1628">
                  <c:v>1402-08-29</c:v>
                </c:pt>
                <c:pt idx="1629">
                  <c:v>1402-08-30</c:v>
                </c:pt>
                <c:pt idx="1630">
                  <c:v>1402-09-01</c:v>
                </c:pt>
                <c:pt idx="1631">
                  <c:v>1402-09-02</c:v>
                </c:pt>
                <c:pt idx="1632">
                  <c:v>1402-09-04</c:v>
                </c:pt>
                <c:pt idx="1633">
                  <c:v>1402-09-07</c:v>
                </c:pt>
                <c:pt idx="1634">
                  <c:v>1402-09-08</c:v>
                </c:pt>
                <c:pt idx="1635">
                  <c:v>1402-09-09</c:v>
                </c:pt>
                <c:pt idx="1636">
                  <c:v>1402-09-11</c:v>
                </c:pt>
                <c:pt idx="1637">
                  <c:v>1402-09-12</c:v>
                </c:pt>
                <c:pt idx="1638">
                  <c:v>1402-09-13</c:v>
                </c:pt>
                <c:pt idx="1639">
                  <c:v>1402-09-14</c:v>
                </c:pt>
                <c:pt idx="1640">
                  <c:v>1402-09-15</c:v>
                </c:pt>
                <c:pt idx="1641">
                  <c:v>1402-09-16</c:v>
                </c:pt>
                <c:pt idx="1642">
                  <c:v>1402-09-18</c:v>
                </c:pt>
                <c:pt idx="1643">
                  <c:v>1402-09-19</c:v>
                </c:pt>
                <c:pt idx="1644">
                  <c:v>1402-09-20</c:v>
                </c:pt>
                <c:pt idx="1645">
                  <c:v>1402-09-21</c:v>
                </c:pt>
                <c:pt idx="1646">
                  <c:v>1402-09-23</c:v>
                </c:pt>
                <c:pt idx="1647">
                  <c:v>1402-09-25</c:v>
                </c:pt>
                <c:pt idx="1648">
                  <c:v>1402-09-27</c:v>
                </c:pt>
                <c:pt idx="1649">
                  <c:v>1402-09-28</c:v>
                </c:pt>
                <c:pt idx="1650">
                  <c:v>1402-09-29</c:v>
                </c:pt>
                <c:pt idx="1651">
                  <c:v>1402-09-30</c:v>
                </c:pt>
                <c:pt idx="1652">
                  <c:v>1402-10-02</c:v>
                </c:pt>
                <c:pt idx="1653">
                  <c:v>1402-10-03</c:v>
                </c:pt>
                <c:pt idx="1654">
                  <c:v>1402-10-04</c:v>
                </c:pt>
                <c:pt idx="1655">
                  <c:v>1402-10-05</c:v>
                </c:pt>
                <c:pt idx="1656">
                  <c:v>1402-10-06</c:v>
                </c:pt>
                <c:pt idx="1657">
                  <c:v>1402-10-07</c:v>
                </c:pt>
                <c:pt idx="1658">
                  <c:v>1402-10-09</c:v>
                </c:pt>
                <c:pt idx="1659">
                  <c:v>1402-10-10</c:v>
                </c:pt>
                <c:pt idx="1660">
                  <c:v>1402-10-11</c:v>
                </c:pt>
                <c:pt idx="1661">
                  <c:v>1402-10-12</c:v>
                </c:pt>
                <c:pt idx="1662">
                  <c:v>1402-10-13</c:v>
                </c:pt>
                <c:pt idx="1663">
                  <c:v>1402-10-14</c:v>
                </c:pt>
                <c:pt idx="1664">
                  <c:v>1402-10-16</c:v>
                </c:pt>
                <c:pt idx="1665">
                  <c:v>1402-10-17</c:v>
                </c:pt>
                <c:pt idx="1666">
                  <c:v>1402-10-18</c:v>
                </c:pt>
                <c:pt idx="1667">
                  <c:v>1402-10-19</c:v>
                </c:pt>
                <c:pt idx="1668">
                  <c:v>1402-10-20</c:v>
                </c:pt>
                <c:pt idx="1669">
                  <c:v>1402-10-21</c:v>
                </c:pt>
                <c:pt idx="1670">
                  <c:v>1402-10-23</c:v>
                </c:pt>
                <c:pt idx="1671">
                  <c:v>1402-10-24</c:v>
                </c:pt>
                <c:pt idx="1672">
                  <c:v>1402-10-25</c:v>
                </c:pt>
                <c:pt idx="1673">
                  <c:v>1402-10-26</c:v>
                </c:pt>
                <c:pt idx="1674">
                  <c:v>1402-10-27</c:v>
                </c:pt>
                <c:pt idx="1675">
                  <c:v>1402-10-28</c:v>
                </c:pt>
                <c:pt idx="1676">
                  <c:v>1402-10-30</c:v>
                </c:pt>
                <c:pt idx="1677">
                  <c:v>1402-11-01</c:v>
                </c:pt>
                <c:pt idx="1678">
                  <c:v>1402-11-02</c:v>
                </c:pt>
                <c:pt idx="1679">
                  <c:v>1402-11-03</c:v>
                </c:pt>
                <c:pt idx="1680">
                  <c:v>1402-11-04</c:v>
                </c:pt>
                <c:pt idx="1681">
                  <c:v>1402-11-05</c:v>
                </c:pt>
                <c:pt idx="1682">
                  <c:v>1402-11-07</c:v>
                </c:pt>
                <c:pt idx="1683">
                  <c:v>1402-11-08</c:v>
                </c:pt>
                <c:pt idx="1684">
                  <c:v>1402-11-09</c:v>
                </c:pt>
                <c:pt idx="1685">
                  <c:v>1402-11-10</c:v>
                </c:pt>
                <c:pt idx="1686">
                  <c:v>1402-11-11</c:v>
                </c:pt>
                <c:pt idx="1687">
                  <c:v>1402-11-11</c:v>
                </c:pt>
                <c:pt idx="1688">
                  <c:v>1402-11-12</c:v>
                </c:pt>
                <c:pt idx="1689">
                  <c:v>1402-11-14</c:v>
                </c:pt>
                <c:pt idx="1690">
                  <c:v>1402-11-15</c:v>
                </c:pt>
                <c:pt idx="1691">
                  <c:v>1402-11-16</c:v>
                </c:pt>
                <c:pt idx="1692">
                  <c:v>1402-11-17</c:v>
                </c:pt>
                <c:pt idx="1693">
                  <c:v>1402-11-18</c:v>
                </c:pt>
                <c:pt idx="1694">
                  <c:v>1402-11-19</c:v>
                </c:pt>
                <c:pt idx="1695">
                  <c:v>1402-11-21</c:v>
                </c:pt>
                <c:pt idx="1696">
                  <c:v>1402-11-23</c:v>
                </c:pt>
                <c:pt idx="1697">
                  <c:v>1402-11-24</c:v>
                </c:pt>
                <c:pt idx="1698">
                  <c:v>1402-11-25</c:v>
                </c:pt>
                <c:pt idx="1699">
                  <c:v>1402-11-26</c:v>
                </c:pt>
                <c:pt idx="1700">
                  <c:v>1402-11-28</c:v>
                </c:pt>
                <c:pt idx="1701">
                  <c:v>1402-11-29</c:v>
                </c:pt>
                <c:pt idx="1702">
                  <c:v>1402-11-30</c:v>
                </c:pt>
                <c:pt idx="1703">
                  <c:v>1402-12-01</c:v>
                </c:pt>
                <c:pt idx="1704">
                  <c:v>1402-12-02</c:v>
                </c:pt>
                <c:pt idx="1705">
                  <c:v>1402-12-03</c:v>
                </c:pt>
                <c:pt idx="1706">
                  <c:v>1402-12-05</c:v>
                </c:pt>
                <c:pt idx="1707">
                  <c:v>1402-12-07</c:v>
                </c:pt>
                <c:pt idx="1708">
                  <c:v>1402-12-08</c:v>
                </c:pt>
                <c:pt idx="1709">
                  <c:v>1402-12-09</c:v>
                </c:pt>
                <c:pt idx="1710">
                  <c:v>1402-12-10</c:v>
                </c:pt>
                <c:pt idx="1711">
                  <c:v>1402-12-12</c:v>
                </c:pt>
                <c:pt idx="1712">
                  <c:v>1402-12-13</c:v>
                </c:pt>
                <c:pt idx="1713">
                  <c:v>1402-12-14</c:v>
                </c:pt>
                <c:pt idx="1714">
                  <c:v>1402-12-15</c:v>
                </c:pt>
                <c:pt idx="1715">
                  <c:v>1402-12-16</c:v>
                </c:pt>
                <c:pt idx="1716">
                  <c:v>1402-12-17</c:v>
                </c:pt>
                <c:pt idx="1717">
                  <c:v>1402-12-19</c:v>
                </c:pt>
                <c:pt idx="1718">
                  <c:v>1402-12-20</c:v>
                </c:pt>
                <c:pt idx="1719">
                  <c:v>1402-12-21</c:v>
                </c:pt>
                <c:pt idx="1720">
                  <c:v>1402-12-22</c:v>
                </c:pt>
                <c:pt idx="1721">
                  <c:v>1402-12-23</c:v>
                </c:pt>
                <c:pt idx="1722">
                  <c:v>1402-12-24</c:v>
                </c:pt>
                <c:pt idx="1723">
                  <c:v>1402-12-26</c:v>
                </c:pt>
                <c:pt idx="1724">
                  <c:v>1402-12-27</c:v>
                </c:pt>
                <c:pt idx="1725">
                  <c:v>1402-12-28</c:v>
                </c:pt>
                <c:pt idx="1726">
                  <c:v>1403-01-02</c:v>
                </c:pt>
                <c:pt idx="1727">
                  <c:v>1403-01-05</c:v>
                </c:pt>
                <c:pt idx="1728">
                  <c:v>1403-01-06</c:v>
                </c:pt>
                <c:pt idx="1729">
                  <c:v>1403-01-07</c:v>
                </c:pt>
                <c:pt idx="1730">
                  <c:v>1403-01-08</c:v>
                </c:pt>
                <c:pt idx="1731">
                  <c:v>1403-01-09</c:v>
                </c:pt>
                <c:pt idx="1732">
                  <c:v>1403-01-11</c:v>
                </c:pt>
                <c:pt idx="1733">
                  <c:v>1403-01-14</c:v>
                </c:pt>
                <c:pt idx="1734">
                  <c:v>1403-01-15</c:v>
                </c:pt>
                <c:pt idx="1735">
                  <c:v>1403-01-16</c:v>
                </c:pt>
                <c:pt idx="1736">
                  <c:v>1403-01-18</c:v>
                </c:pt>
                <c:pt idx="1737">
                  <c:v>1403-01-19</c:v>
                </c:pt>
                <c:pt idx="1738">
                  <c:v>1403-01-20</c:v>
                </c:pt>
                <c:pt idx="1739">
                  <c:v>1403-01-21</c:v>
                </c:pt>
                <c:pt idx="1740">
                  <c:v>1403-01-23</c:v>
                </c:pt>
                <c:pt idx="1741">
                  <c:v>1403-01-25</c:v>
                </c:pt>
                <c:pt idx="1742">
                  <c:v>1403-01-26</c:v>
                </c:pt>
                <c:pt idx="1743">
                  <c:v>1403-01-27</c:v>
                </c:pt>
                <c:pt idx="1744">
                  <c:v>1403-01-28</c:v>
                </c:pt>
                <c:pt idx="1745">
                  <c:v>1403-01-29</c:v>
                </c:pt>
                <c:pt idx="1746">
                  <c:v>1403-01-30</c:v>
                </c:pt>
                <c:pt idx="1747">
                  <c:v>1403-02-01</c:v>
                </c:pt>
                <c:pt idx="1748">
                  <c:v>1403-02-02</c:v>
                </c:pt>
                <c:pt idx="1749">
                  <c:v>1403-02-03</c:v>
                </c:pt>
                <c:pt idx="1750">
                  <c:v>1403-02-04</c:v>
                </c:pt>
                <c:pt idx="1751">
                  <c:v>1403-02-05</c:v>
                </c:pt>
                <c:pt idx="1752">
                  <c:v>1403-02-06</c:v>
                </c:pt>
                <c:pt idx="1753">
                  <c:v>1403-02-08</c:v>
                </c:pt>
                <c:pt idx="1754">
                  <c:v>1403-02-09</c:v>
                </c:pt>
                <c:pt idx="1755">
                  <c:v>1403-02-10</c:v>
                </c:pt>
                <c:pt idx="1756">
                  <c:v>1403-02-11</c:v>
                </c:pt>
                <c:pt idx="1757">
                  <c:v>1403-02-12</c:v>
                </c:pt>
                <c:pt idx="1758">
                  <c:v>1403-02-13</c:v>
                </c:pt>
                <c:pt idx="1759">
                  <c:v>1403-02-16</c:v>
                </c:pt>
                <c:pt idx="1760">
                  <c:v>1403-02-17</c:v>
                </c:pt>
                <c:pt idx="1761">
                  <c:v>1403-02-18</c:v>
                </c:pt>
                <c:pt idx="1762">
                  <c:v>1403-02-19</c:v>
                </c:pt>
                <c:pt idx="1763">
                  <c:v>1403-02-20</c:v>
                </c:pt>
                <c:pt idx="1764">
                  <c:v>1403-02-22</c:v>
                </c:pt>
                <c:pt idx="1765">
                  <c:v>1403-02-23</c:v>
                </c:pt>
                <c:pt idx="1766">
                  <c:v>1403-02-24</c:v>
                </c:pt>
                <c:pt idx="1767">
                  <c:v>1403-02-25</c:v>
                </c:pt>
                <c:pt idx="1768">
                  <c:v>1403-02-26</c:v>
                </c:pt>
                <c:pt idx="1769">
                  <c:v>1403-02-27</c:v>
                </c:pt>
                <c:pt idx="1770">
                  <c:v>1403-02-29</c:v>
                </c:pt>
                <c:pt idx="1771">
                  <c:v>1403-02-30</c:v>
                </c:pt>
                <c:pt idx="1772">
                  <c:v>1403-03-01</c:v>
                </c:pt>
                <c:pt idx="1773">
                  <c:v>1403-03-03</c:v>
                </c:pt>
                <c:pt idx="1774">
                  <c:v>1403-03-05</c:v>
                </c:pt>
                <c:pt idx="1775">
                  <c:v>1403-03-06</c:v>
                </c:pt>
                <c:pt idx="1776">
                  <c:v>1403-03-07</c:v>
                </c:pt>
                <c:pt idx="1777">
                  <c:v>1403-03-08</c:v>
                </c:pt>
                <c:pt idx="1778">
                  <c:v>1403-03-09</c:v>
                </c:pt>
                <c:pt idx="1779">
                  <c:v>1403-03-10</c:v>
                </c:pt>
                <c:pt idx="1780">
                  <c:v>1403-03-12</c:v>
                </c:pt>
                <c:pt idx="1781">
                  <c:v>1403-03-13</c:v>
                </c:pt>
                <c:pt idx="1782">
                  <c:v>1403-03-16</c:v>
                </c:pt>
                <c:pt idx="1783">
                  <c:v>1403-03-17</c:v>
                </c:pt>
                <c:pt idx="1784">
                  <c:v>1403-03-19</c:v>
                </c:pt>
                <c:pt idx="1785">
                  <c:v>1403-03-20</c:v>
                </c:pt>
                <c:pt idx="1786">
                  <c:v>1403-03-21</c:v>
                </c:pt>
                <c:pt idx="1787">
                  <c:v>1403-03-22</c:v>
                </c:pt>
                <c:pt idx="1788">
                  <c:v>1403-03-23</c:v>
                </c:pt>
                <c:pt idx="1789">
                  <c:v>1403-03-24</c:v>
                </c:pt>
                <c:pt idx="1790">
                  <c:v>1403-03-26</c:v>
                </c:pt>
                <c:pt idx="1791">
                  <c:v>1403-03-27</c:v>
                </c:pt>
                <c:pt idx="1792">
                  <c:v>1403-03-29</c:v>
                </c:pt>
                <c:pt idx="1793">
                  <c:v>1403-03-30</c:v>
                </c:pt>
                <c:pt idx="1794">
                  <c:v>1403-03-31</c:v>
                </c:pt>
                <c:pt idx="1795">
                  <c:v>1403-04-02</c:v>
                </c:pt>
                <c:pt idx="1796">
                  <c:v>1403-04-03</c:v>
                </c:pt>
                <c:pt idx="1797">
                  <c:v>1403-04-04</c:v>
                </c:pt>
                <c:pt idx="1798">
                  <c:v>1403-04-06</c:v>
                </c:pt>
                <c:pt idx="1799">
                  <c:v>1403-04-07</c:v>
                </c:pt>
                <c:pt idx="1800">
                  <c:v>1403-04-09</c:v>
                </c:pt>
                <c:pt idx="1801">
                  <c:v>1403-04-10</c:v>
                </c:pt>
                <c:pt idx="1802">
                  <c:v>1403-04-11</c:v>
                </c:pt>
                <c:pt idx="1803">
                  <c:v>1403-04-12</c:v>
                </c:pt>
                <c:pt idx="1804">
                  <c:v>1403-04-13</c:v>
                </c:pt>
                <c:pt idx="1805">
                  <c:v>1403-04-14</c:v>
                </c:pt>
                <c:pt idx="1806">
                  <c:v>1403-04-16</c:v>
                </c:pt>
                <c:pt idx="1807">
                  <c:v>1403-04-17</c:v>
                </c:pt>
                <c:pt idx="1808">
                  <c:v>1403-04-18</c:v>
                </c:pt>
                <c:pt idx="1809">
                  <c:v>1403-04-19</c:v>
                </c:pt>
                <c:pt idx="1810">
                  <c:v>1403-04-20</c:v>
                </c:pt>
                <c:pt idx="1811">
                  <c:v>1403-04-21</c:v>
                </c:pt>
                <c:pt idx="1812">
                  <c:v>1403-04-23</c:v>
                </c:pt>
                <c:pt idx="1813">
                  <c:v>1403-04-24</c:v>
                </c:pt>
                <c:pt idx="1814">
                  <c:v>1403-04-27</c:v>
                </c:pt>
                <c:pt idx="1815">
                  <c:v>1403-04-28</c:v>
                </c:pt>
                <c:pt idx="1816">
                  <c:v>1403-04-30</c:v>
                </c:pt>
                <c:pt idx="1817">
                  <c:v>1403-04-31</c:v>
                </c:pt>
                <c:pt idx="1818">
                  <c:v>1403-05-01</c:v>
                </c:pt>
                <c:pt idx="1819">
                  <c:v>1403-05-02</c:v>
                </c:pt>
                <c:pt idx="1820">
                  <c:v>1403-05-03</c:v>
                </c:pt>
                <c:pt idx="1821">
                  <c:v>1403-05-04</c:v>
                </c:pt>
                <c:pt idx="1822">
                  <c:v>1403-05-06</c:v>
                </c:pt>
                <c:pt idx="1823">
                  <c:v>1403-05-08</c:v>
                </c:pt>
                <c:pt idx="1824">
                  <c:v>1403-05-09</c:v>
                </c:pt>
                <c:pt idx="1825">
                  <c:v>1403-05-10</c:v>
                </c:pt>
                <c:pt idx="1826">
                  <c:v>1403-05-11</c:v>
                </c:pt>
                <c:pt idx="1827">
                  <c:v>1403-05-13</c:v>
                </c:pt>
                <c:pt idx="1828">
                  <c:v>1403-05-14</c:v>
                </c:pt>
                <c:pt idx="1829">
                  <c:v>1403-05-15</c:v>
                </c:pt>
                <c:pt idx="1830">
                  <c:v>1403-05-16</c:v>
                </c:pt>
                <c:pt idx="1831">
                  <c:v>1403-05-18</c:v>
                </c:pt>
                <c:pt idx="1832">
                  <c:v>1403-05-20</c:v>
                </c:pt>
                <c:pt idx="1833">
                  <c:v>1403-05-21</c:v>
                </c:pt>
                <c:pt idx="1834">
                  <c:v>1403-05-22</c:v>
                </c:pt>
                <c:pt idx="1835">
                  <c:v>1403-05-23</c:v>
                </c:pt>
                <c:pt idx="1836">
                  <c:v>1403-05-24</c:v>
                </c:pt>
                <c:pt idx="1837">
                  <c:v>1403-05-25</c:v>
                </c:pt>
                <c:pt idx="1838">
                  <c:v>1403-05-27</c:v>
                </c:pt>
                <c:pt idx="1839">
                  <c:v>1403-05-28</c:v>
                </c:pt>
                <c:pt idx="1840">
                  <c:v>1403-05-29</c:v>
                </c:pt>
                <c:pt idx="1841">
                  <c:v>1403-05-30</c:v>
                </c:pt>
                <c:pt idx="1842">
                  <c:v>1403-05-31</c:v>
                </c:pt>
                <c:pt idx="1843">
                  <c:v>1403-06-01</c:v>
                </c:pt>
                <c:pt idx="1844">
                  <c:v>1403-06-03</c:v>
                </c:pt>
                <c:pt idx="1845">
                  <c:v>1403-06-05</c:v>
                </c:pt>
                <c:pt idx="1846">
                  <c:v>1403-06-06</c:v>
                </c:pt>
                <c:pt idx="1847">
                  <c:v>1403-06-07</c:v>
                </c:pt>
                <c:pt idx="1848">
                  <c:v>1403-06-08</c:v>
                </c:pt>
                <c:pt idx="1849">
                  <c:v>1403-06-10</c:v>
                </c:pt>
                <c:pt idx="1850">
                  <c:v>1403-06-11</c:v>
                </c:pt>
                <c:pt idx="1851">
                  <c:v>1403-06-13</c:v>
                </c:pt>
                <c:pt idx="1852">
                  <c:v>1403-06-15</c:v>
                </c:pt>
                <c:pt idx="1853">
                  <c:v>1403-06-17</c:v>
                </c:pt>
                <c:pt idx="1854">
                  <c:v>1403-06-18</c:v>
                </c:pt>
                <c:pt idx="1855">
                  <c:v>1403-06-19</c:v>
                </c:pt>
                <c:pt idx="1856">
                  <c:v>1403-06-20</c:v>
                </c:pt>
                <c:pt idx="1857">
                  <c:v>1403-06-21</c:v>
                </c:pt>
                <c:pt idx="1858">
                  <c:v>1403-06-22</c:v>
                </c:pt>
                <c:pt idx="1859">
                  <c:v>1403-06-24</c:v>
                </c:pt>
                <c:pt idx="1860">
                  <c:v>1403-06-25</c:v>
                </c:pt>
                <c:pt idx="1861">
                  <c:v>1403-06-26</c:v>
                </c:pt>
                <c:pt idx="1862">
                  <c:v>1403-06-28</c:v>
                </c:pt>
                <c:pt idx="1863">
                  <c:v>1403-06-29</c:v>
                </c:pt>
                <c:pt idx="1864">
                  <c:v>1403-07-01</c:v>
                </c:pt>
                <c:pt idx="1865">
                  <c:v>1403-07-02</c:v>
                </c:pt>
                <c:pt idx="1866">
                  <c:v>1403-07-03</c:v>
                </c:pt>
                <c:pt idx="1867">
                  <c:v>1403-07-04</c:v>
                </c:pt>
                <c:pt idx="1868">
                  <c:v>1403-07-05</c:v>
                </c:pt>
                <c:pt idx="1869">
                  <c:v>1403-07-07</c:v>
                </c:pt>
                <c:pt idx="1870">
                  <c:v>1403-07-08</c:v>
                </c:pt>
                <c:pt idx="1871">
                  <c:v>1403-07-09</c:v>
                </c:pt>
                <c:pt idx="1872">
                  <c:v>1403-07-10</c:v>
                </c:pt>
                <c:pt idx="1873">
                  <c:v>1403-07-11</c:v>
                </c:pt>
                <c:pt idx="1874">
                  <c:v>1403-07-12</c:v>
                </c:pt>
                <c:pt idx="1875">
                  <c:v>1403-07-14</c:v>
                </c:pt>
                <c:pt idx="1876">
                  <c:v>1403-07-15</c:v>
                </c:pt>
                <c:pt idx="1877">
                  <c:v>1403-07-16</c:v>
                </c:pt>
                <c:pt idx="1878">
                  <c:v>1403-07-17</c:v>
                </c:pt>
                <c:pt idx="1879">
                  <c:v>1403-07-18</c:v>
                </c:pt>
                <c:pt idx="1880">
                  <c:v>1403-07-19</c:v>
                </c:pt>
                <c:pt idx="1881">
                  <c:v>1403-07-18</c:v>
                </c:pt>
                <c:pt idx="1882">
                  <c:v>1403-07-19</c:v>
                </c:pt>
                <c:pt idx="1883">
                  <c:v>1403-07-21</c:v>
                </c:pt>
                <c:pt idx="1884">
                  <c:v>1403-07-22</c:v>
                </c:pt>
                <c:pt idx="1885">
                  <c:v>1403-07-23</c:v>
                </c:pt>
                <c:pt idx="1886">
                  <c:v>1403-07-24</c:v>
                </c:pt>
                <c:pt idx="1887">
                  <c:v>1403-07-25</c:v>
                </c:pt>
                <c:pt idx="1888">
                  <c:v>1403-07-26</c:v>
                </c:pt>
                <c:pt idx="1889">
                  <c:v>1403-07-28</c:v>
                </c:pt>
                <c:pt idx="1890">
                  <c:v>1403-07-29</c:v>
                </c:pt>
                <c:pt idx="1891">
                  <c:v>1403-07-30</c:v>
                </c:pt>
                <c:pt idx="1892">
                  <c:v>1403-08-01</c:v>
                </c:pt>
                <c:pt idx="1893">
                  <c:v>1403-08-02</c:v>
                </c:pt>
                <c:pt idx="1894">
                  <c:v>1403-08-03</c:v>
                </c:pt>
                <c:pt idx="1895">
                  <c:v>1403-08-05</c:v>
                </c:pt>
                <c:pt idx="1896">
                  <c:v>1403-08-06</c:v>
                </c:pt>
                <c:pt idx="1897">
                  <c:v>1403-08-07</c:v>
                </c:pt>
                <c:pt idx="1898">
                  <c:v>1403-08-08</c:v>
                </c:pt>
                <c:pt idx="1899">
                  <c:v>1403-08-09</c:v>
                </c:pt>
                <c:pt idx="1900">
                  <c:v>1403-08-10</c:v>
                </c:pt>
                <c:pt idx="1901">
                  <c:v>1403-08-12</c:v>
                </c:pt>
                <c:pt idx="1902">
                  <c:v>1403-08-13</c:v>
                </c:pt>
                <c:pt idx="1903">
                  <c:v>1403-08-14</c:v>
                </c:pt>
                <c:pt idx="1904">
                  <c:v>1403-08-15</c:v>
                </c:pt>
                <c:pt idx="1905">
                  <c:v>1403-08-15</c:v>
                </c:pt>
                <c:pt idx="1906">
                  <c:v>1403-08-16</c:v>
                </c:pt>
                <c:pt idx="1907">
                  <c:v>1403-08-17</c:v>
                </c:pt>
                <c:pt idx="1908">
                  <c:v>1403-08-19</c:v>
                </c:pt>
                <c:pt idx="1909">
                  <c:v>1403-08-20</c:v>
                </c:pt>
                <c:pt idx="1910">
                  <c:v>1403-08-21</c:v>
                </c:pt>
                <c:pt idx="1911">
                  <c:v>1403-08-22</c:v>
                </c:pt>
                <c:pt idx="1912">
                  <c:v>1403-08-23</c:v>
                </c:pt>
                <c:pt idx="1913">
                  <c:v>1403-08-24</c:v>
                </c:pt>
                <c:pt idx="1914">
                  <c:v>1403-08-26</c:v>
                </c:pt>
                <c:pt idx="1915">
                  <c:v>1403-08-27</c:v>
                </c:pt>
                <c:pt idx="1916">
                  <c:v>1403-08-28</c:v>
                </c:pt>
                <c:pt idx="1917">
                  <c:v>1403-08-29</c:v>
                </c:pt>
                <c:pt idx="1918">
                  <c:v>1403-08-30</c:v>
                </c:pt>
                <c:pt idx="1919">
                  <c:v>1403-09-01</c:v>
                </c:pt>
                <c:pt idx="1920">
                  <c:v>1403-09-03</c:v>
                </c:pt>
                <c:pt idx="1921">
                  <c:v>1403-09-04</c:v>
                </c:pt>
                <c:pt idx="1922">
                  <c:v>1403-09-05</c:v>
                </c:pt>
                <c:pt idx="1923">
                  <c:v>1403-09-06</c:v>
                </c:pt>
                <c:pt idx="1924">
                  <c:v>1403-09-07</c:v>
                </c:pt>
                <c:pt idx="1925">
                  <c:v>1403-09-08</c:v>
                </c:pt>
                <c:pt idx="1926">
                  <c:v>1403-09-10</c:v>
                </c:pt>
                <c:pt idx="1927">
                  <c:v>1403-09-11</c:v>
                </c:pt>
                <c:pt idx="1928">
                  <c:v>1403-09-12</c:v>
                </c:pt>
                <c:pt idx="1929">
                  <c:v>1403-09-13</c:v>
                </c:pt>
                <c:pt idx="1930">
                  <c:v>1403-09-14</c:v>
                </c:pt>
                <c:pt idx="1931">
                  <c:v>1403-09-15</c:v>
                </c:pt>
                <c:pt idx="1932">
                  <c:v>1403-09-17</c:v>
                </c:pt>
                <c:pt idx="1933">
                  <c:v>1403-09-18</c:v>
                </c:pt>
                <c:pt idx="1934">
                  <c:v>1403-09-19</c:v>
                </c:pt>
                <c:pt idx="1935">
                  <c:v>1403-09-20</c:v>
                </c:pt>
                <c:pt idx="1936">
                  <c:v>1403-09-21</c:v>
                </c:pt>
                <c:pt idx="1937">
                  <c:v>1403-09-22</c:v>
                </c:pt>
                <c:pt idx="1938">
                  <c:v>1403-09-24</c:v>
                </c:pt>
                <c:pt idx="1939">
                  <c:v>1403-09-25</c:v>
                </c:pt>
                <c:pt idx="1940">
                  <c:v>1403-09-26</c:v>
                </c:pt>
                <c:pt idx="1941">
                  <c:v>1403-09-27</c:v>
                </c:pt>
                <c:pt idx="1942">
                  <c:v>1403-09-28</c:v>
                </c:pt>
                <c:pt idx="1943">
                  <c:v>1403-09-29</c:v>
                </c:pt>
                <c:pt idx="1944">
                  <c:v>1403-10-01</c:v>
                </c:pt>
                <c:pt idx="1945">
                  <c:v>1403-10-02</c:v>
                </c:pt>
                <c:pt idx="1946">
                  <c:v>1403-10-03</c:v>
                </c:pt>
                <c:pt idx="1947">
                  <c:v>1403-10-04</c:v>
                </c:pt>
                <c:pt idx="1948">
                  <c:v>1403-10-05</c:v>
                </c:pt>
                <c:pt idx="1949">
                  <c:v>1403-10-06</c:v>
                </c:pt>
                <c:pt idx="1950">
                  <c:v>1403-10-08</c:v>
                </c:pt>
                <c:pt idx="1951">
                  <c:v>1403-10-09</c:v>
                </c:pt>
                <c:pt idx="1952">
                  <c:v>1403-10-10</c:v>
                </c:pt>
                <c:pt idx="1953">
                  <c:v>1403-10-11</c:v>
                </c:pt>
                <c:pt idx="1954">
                  <c:v>1403-10-12</c:v>
                </c:pt>
                <c:pt idx="1955">
                  <c:v>1403-10-13</c:v>
                </c:pt>
                <c:pt idx="1956">
                  <c:v>1403-10-15</c:v>
                </c:pt>
                <c:pt idx="1957">
                  <c:v>1403-10-16</c:v>
                </c:pt>
                <c:pt idx="1958">
                  <c:v>1403-10-17</c:v>
                </c:pt>
                <c:pt idx="1959">
                  <c:v>1403-10-18</c:v>
                </c:pt>
                <c:pt idx="1960">
                  <c:v>1403-10-19</c:v>
                </c:pt>
                <c:pt idx="1961">
                  <c:v>1403-10-20</c:v>
                </c:pt>
                <c:pt idx="1962">
                  <c:v>1403-10-22</c:v>
                </c:pt>
                <c:pt idx="1963">
                  <c:v>1403-10-23</c:v>
                </c:pt>
                <c:pt idx="1964">
                  <c:v>1403-10-24</c:v>
                </c:pt>
                <c:pt idx="1965">
                  <c:v>1403-10-26</c:v>
                </c:pt>
                <c:pt idx="1966">
                  <c:v>1403-10-27</c:v>
                </c:pt>
                <c:pt idx="1967">
                  <c:v>1403-10-29</c:v>
                </c:pt>
                <c:pt idx="1968">
                  <c:v>1403-10-30</c:v>
                </c:pt>
                <c:pt idx="1969">
                  <c:v>1403-11-01</c:v>
                </c:pt>
                <c:pt idx="1970">
                  <c:v>1403-11-02</c:v>
                </c:pt>
                <c:pt idx="1971">
                  <c:v>1403-11-03</c:v>
                </c:pt>
                <c:pt idx="1972">
                  <c:v>1403-11-04</c:v>
                </c:pt>
                <c:pt idx="1973">
                  <c:v>1403-11-06</c:v>
                </c:pt>
                <c:pt idx="1974">
                  <c:v>1403-11-07</c:v>
                </c:pt>
                <c:pt idx="1975">
                  <c:v>1403-11-08</c:v>
                </c:pt>
                <c:pt idx="1976">
                  <c:v>1403-11-10</c:v>
                </c:pt>
                <c:pt idx="1977">
                  <c:v>1403-11-11</c:v>
                </c:pt>
                <c:pt idx="1978">
                  <c:v>1403-11-13</c:v>
                </c:pt>
                <c:pt idx="1979">
                  <c:v>1403-11-14</c:v>
                </c:pt>
                <c:pt idx="1980">
                  <c:v>1403-11-15</c:v>
                </c:pt>
                <c:pt idx="1981">
                  <c:v>1403-11-16</c:v>
                </c:pt>
                <c:pt idx="1982">
                  <c:v>1403-11-17</c:v>
                </c:pt>
                <c:pt idx="1983">
                  <c:v>1403-11-18</c:v>
                </c:pt>
                <c:pt idx="1984">
                  <c:v>1403-11-21</c:v>
                </c:pt>
                <c:pt idx="1985">
                  <c:v>1403-11-23</c:v>
                </c:pt>
                <c:pt idx="1986">
                  <c:v>1403-11-24</c:v>
                </c:pt>
                <c:pt idx="1987">
                  <c:v>1403-11-25</c:v>
                </c:pt>
                <c:pt idx="1988">
                  <c:v>1403-11-27</c:v>
                </c:pt>
                <c:pt idx="1989">
                  <c:v>1403-11-28</c:v>
                </c:pt>
                <c:pt idx="1990">
                  <c:v>1403-11-29</c:v>
                </c:pt>
                <c:pt idx="1991">
                  <c:v>1403-11-30</c:v>
                </c:pt>
                <c:pt idx="1992">
                  <c:v>1403-12-01</c:v>
                </c:pt>
                <c:pt idx="1993">
                  <c:v>1403-12-02</c:v>
                </c:pt>
                <c:pt idx="1994">
                  <c:v>1403-12-04</c:v>
                </c:pt>
                <c:pt idx="1995">
                  <c:v>1403-12-05</c:v>
                </c:pt>
                <c:pt idx="1996">
                  <c:v>1403-12-06</c:v>
                </c:pt>
                <c:pt idx="1997">
                  <c:v>1403-12-07</c:v>
                </c:pt>
                <c:pt idx="1998">
                  <c:v>1403-12-08</c:v>
                </c:pt>
                <c:pt idx="1999">
                  <c:v>1403-12-09</c:v>
                </c:pt>
                <c:pt idx="2000">
                  <c:v>1403-12-11</c:v>
                </c:pt>
                <c:pt idx="2001">
                  <c:v>1403-12-12</c:v>
                </c:pt>
                <c:pt idx="2002">
                  <c:v>1403-12-13</c:v>
                </c:pt>
                <c:pt idx="2003">
                  <c:v>1403-12-14</c:v>
                </c:pt>
                <c:pt idx="2004">
                  <c:v>1403-12-15</c:v>
                </c:pt>
                <c:pt idx="2005">
                  <c:v>1403-12-18</c:v>
                </c:pt>
                <c:pt idx="2006">
                  <c:v>1403-12-19</c:v>
                </c:pt>
                <c:pt idx="2007">
                  <c:v>1403-12-20</c:v>
                </c:pt>
                <c:pt idx="2008">
                  <c:v>1403-12-21</c:v>
                </c:pt>
                <c:pt idx="2009">
                  <c:v>1403-12-22</c:v>
                </c:pt>
              </c:strCache>
            </c:strRef>
          </c:cat>
          <c:val>
            <c:numRef>
              <c:f>'  ارز-دلار نیمایی      '!$D$2:$D$2099</c:f>
              <c:numCache>
                <c:formatCode>_(* #,##0_);_(* \(#,##0\);_(* "-"??_);_(@_)</c:formatCode>
                <c:ptCount val="2098"/>
                <c:pt idx="0">
                  <c:v>49910</c:v>
                </c:pt>
                <c:pt idx="1">
                  <c:v>51030</c:v>
                </c:pt>
                <c:pt idx="2">
                  <c:v>50490</c:v>
                </c:pt>
                <c:pt idx="3">
                  <c:v>50460</c:v>
                </c:pt>
                <c:pt idx="4">
                  <c:v>50450</c:v>
                </c:pt>
                <c:pt idx="5">
                  <c:v>50540</c:v>
                </c:pt>
                <c:pt idx="6">
                  <c:v>50560</c:v>
                </c:pt>
                <c:pt idx="7">
                  <c:v>50940</c:v>
                </c:pt>
                <c:pt idx="8">
                  <c:v>51710</c:v>
                </c:pt>
                <c:pt idx="9">
                  <c:v>56600</c:v>
                </c:pt>
                <c:pt idx="10">
                  <c:v>58650</c:v>
                </c:pt>
                <c:pt idx="11">
                  <c:v>50325</c:v>
                </c:pt>
                <c:pt idx="12">
                  <c:v>42000</c:v>
                </c:pt>
                <c:pt idx="13">
                  <c:v>48960</c:v>
                </c:pt>
                <c:pt idx="14">
                  <c:v>52440</c:v>
                </c:pt>
                <c:pt idx="15">
                  <c:v>54180</c:v>
                </c:pt>
                <c:pt idx="16">
                  <c:v>55920</c:v>
                </c:pt>
                <c:pt idx="17">
                  <c:v>55740</c:v>
                </c:pt>
                <c:pt idx="18">
                  <c:v>56330</c:v>
                </c:pt>
                <c:pt idx="19">
                  <c:v>55870</c:v>
                </c:pt>
                <c:pt idx="20">
                  <c:v>55290</c:v>
                </c:pt>
                <c:pt idx="21">
                  <c:v>54500</c:v>
                </c:pt>
                <c:pt idx="22">
                  <c:v>54230</c:v>
                </c:pt>
                <c:pt idx="23">
                  <c:v>56350</c:v>
                </c:pt>
                <c:pt idx="24">
                  <c:v>56030</c:v>
                </c:pt>
                <c:pt idx="25">
                  <c:v>58540</c:v>
                </c:pt>
                <c:pt idx="26">
                  <c:v>57030</c:v>
                </c:pt>
                <c:pt idx="27">
                  <c:v>59650</c:v>
                </c:pt>
                <c:pt idx="28">
                  <c:v>59640</c:v>
                </c:pt>
                <c:pt idx="29">
                  <c:v>61170</c:v>
                </c:pt>
                <c:pt idx="30">
                  <c:v>63830</c:v>
                </c:pt>
                <c:pt idx="31">
                  <c:v>63500</c:v>
                </c:pt>
                <c:pt idx="32">
                  <c:v>59230</c:v>
                </c:pt>
                <c:pt idx="33">
                  <c:v>63900</c:v>
                </c:pt>
                <c:pt idx="34">
                  <c:v>65710</c:v>
                </c:pt>
                <c:pt idx="35">
                  <c:v>66530</c:v>
                </c:pt>
                <c:pt idx="36">
                  <c:v>65970</c:v>
                </c:pt>
                <c:pt idx="37">
                  <c:v>64550</c:v>
                </c:pt>
                <c:pt idx="38">
                  <c:v>63300</c:v>
                </c:pt>
                <c:pt idx="39">
                  <c:v>64140</c:v>
                </c:pt>
                <c:pt idx="40">
                  <c:v>61520</c:v>
                </c:pt>
                <c:pt idx="41">
                  <c:v>62740</c:v>
                </c:pt>
                <c:pt idx="42">
                  <c:v>61380</c:v>
                </c:pt>
                <c:pt idx="43">
                  <c:v>62010</c:v>
                </c:pt>
                <c:pt idx="44">
                  <c:v>63330</c:v>
                </c:pt>
                <c:pt idx="45">
                  <c:v>63870</c:v>
                </c:pt>
                <c:pt idx="46">
                  <c:v>63640</c:v>
                </c:pt>
                <c:pt idx="47">
                  <c:v>63440</c:v>
                </c:pt>
                <c:pt idx="48">
                  <c:v>63970</c:v>
                </c:pt>
                <c:pt idx="49">
                  <c:v>63630</c:v>
                </c:pt>
                <c:pt idx="50">
                  <c:v>63530</c:v>
                </c:pt>
                <c:pt idx="51">
                  <c:v>62920</c:v>
                </c:pt>
                <c:pt idx="52">
                  <c:v>64380</c:v>
                </c:pt>
                <c:pt idx="53">
                  <c:v>64640</c:v>
                </c:pt>
                <c:pt idx="54">
                  <c:v>63900</c:v>
                </c:pt>
                <c:pt idx="55">
                  <c:v>64390</c:v>
                </c:pt>
                <c:pt idx="56">
                  <c:v>64250</c:v>
                </c:pt>
                <c:pt idx="57">
                  <c:v>65210</c:v>
                </c:pt>
                <c:pt idx="58">
                  <c:v>65090</c:v>
                </c:pt>
                <c:pt idx="59">
                  <c:v>65030</c:v>
                </c:pt>
                <c:pt idx="60">
                  <c:v>67350</c:v>
                </c:pt>
                <c:pt idx="61">
                  <c:v>65760</c:v>
                </c:pt>
                <c:pt idx="62">
                  <c:v>67810</c:v>
                </c:pt>
                <c:pt idx="63">
                  <c:v>70350</c:v>
                </c:pt>
                <c:pt idx="64">
                  <c:v>70080</c:v>
                </c:pt>
                <c:pt idx="65">
                  <c:v>67690</c:v>
                </c:pt>
                <c:pt idx="66">
                  <c:v>69320</c:v>
                </c:pt>
                <c:pt idx="67">
                  <c:v>70310</c:v>
                </c:pt>
                <c:pt idx="68">
                  <c:v>70540</c:v>
                </c:pt>
                <c:pt idx="69">
                  <c:v>72270</c:v>
                </c:pt>
                <c:pt idx="70">
                  <c:v>74000</c:v>
                </c:pt>
                <c:pt idx="71">
                  <c:v>74910</c:v>
                </c:pt>
                <c:pt idx="72">
                  <c:v>75060</c:v>
                </c:pt>
                <c:pt idx="73">
                  <c:v>87050</c:v>
                </c:pt>
                <c:pt idx="74">
                  <c:v>81550</c:v>
                </c:pt>
                <c:pt idx="75">
                  <c:v>78910</c:v>
                </c:pt>
                <c:pt idx="76">
                  <c:v>79740</c:v>
                </c:pt>
                <c:pt idx="77">
                  <c:v>82280</c:v>
                </c:pt>
                <c:pt idx="78">
                  <c:v>79750</c:v>
                </c:pt>
                <c:pt idx="79">
                  <c:v>83580</c:v>
                </c:pt>
                <c:pt idx="80">
                  <c:v>83310</c:v>
                </c:pt>
                <c:pt idx="81">
                  <c:v>81600</c:v>
                </c:pt>
                <c:pt idx="82">
                  <c:v>80140</c:v>
                </c:pt>
                <c:pt idx="83">
                  <c:v>78470</c:v>
                </c:pt>
                <c:pt idx="84">
                  <c:v>80190</c:v>
                </c:pt>
                <c:pt idx="85">
                  <c:v>79860</c:v>
                </c:pt>
                <c:pt idx="86">
                  <c:v>79460</c:v>
                </c:pt>
                <c:pt idx="87">
                  <c:v>77850</c:v>
                </c:pt>
                <c:pt idx="88">
                  <c:v>77875</c:v>
                </c:pt>
                <c:pt idx="89">
                  <c:v>77900</c:v>
                </c:pt>
                <c:pt idx="90">
                  <c:v>79610</c:v>
                </c:pt>
                <c:pt idx="91">
                  <c:v>80740</c:v>
                </c:pt>
                <c:pt idx="92">
                  <c:v>79190</c:v>
                </c:pt>
                <c:pt idx="93">
                  <c:v>81950</c:v>
                </c:pt>
                <c:pt idx="94">
                  <c:v>81340</c:v>
                </c:pt>
                <c:pt idx="95">
                  <c:v>81960</c:v>
                </c:pt>
                <c:pt idx="96">
                  <c:v>86500</c:v>
                </c:pt>
                <c:pt idx="97">
                  <c:v>88970</c:v>
                </c:pt>
                <c:pt idx="98">
                  <c:v>93700</c:v>
                </c:pt>
                <c:pt idx="99">
                  <c:v>94060</c:v>
                </c:pt>
                <c:pt idx="100">
                  <c:v>91550</c:v>
                </c:pt>
                <c:pt idx="101">
                  <c:v>93160</c:v>
                </c:pt>
                <c:pt idx="102">
                  <c:v>94560</c:v>
                </c:pt>
                <c:pt idx="103">
                  <c:v>96940</c:v>
                </c:pt>
                <c:pt idx="104">
                  <c:v>116500</c:v>
                </c:pt>
                <c:pt idx="105">
                  <c:v>114700</c:v>
                </c:pt>
                <c:pt idx="106">
                  <c:v>105410</c:v>
                </c:pt>
                <c:pt idx="107">
                  <c:v>105980</c:v>
                </c:pt>
                <c:pt idx="108">
                  <c:v>112960</c:v>
                </c:pt>
                <c:pt idx="109">
                  <c:v>105770</c:v>
                </c:pt>
                <c:pt idx="110">
                  <c:v>101480</c:v>
                </c:pt>
                <c:pt idx="111">
                  <c:v>98170</c:v>
                </c:pt>
                <c:pt idx="112">
                  <c:v>95960</c:v>
                </c:pt>
                <c:pt idx="113">
                  <c:v>89760</c:v>
                </c:pt>
                <c:pt idx="114">
                  <c:v>102540</c:v>
                </c:pt>
                <c:pt idx="115">
                  <c:v>103360</c:v>
                </c:pt>
                <c:pt idx="116">
                  <c:v>109430</c:v>
                </c:pt>
                <c:pt idx="117">
                  <c:v>104280</c:v>
                </c:pt>
                <c:pt idx="118">
                  <c:v>100850</c:v>
                </c:pt>
                <c:pt idx="119">
                  <c:v>106260</c:v>
                </c:pt>
                <c:pt idx="120">
                  <c:v>105550</c:v>
                </c:pt>
                <c:pt idx="121">
                  <c:v>105030</c:v>
                </c:pt>
                <c:pt idx="122">
                  <c:v>107090</c:v>
                </c:pt>
                <c:pt idx="123">
                  <c:v>107120</c:v>
                </c:pt>
                <c:pt idx="124">
                  <c:v>103300</c:v>
                </c:pt>
                <c:pt idx="125">
                  <c:v>103050</c:v>
                </c:pt>
                <c:pt idx="126">
                  <c:v>104140</c:v>
                </c:pt>
                <c:pt idx="127">
                  <c:v>105840</c:v>
                </c:pt>
                <c:pt idx="128">
                  <c:v>105460</c:v>
                </c:pt>
                <c:pt idx="129">
                  <c:v>105090</c:v>
                </c:pt>
                <c:pt idx="130">
                  <c:v>102790</c:v>
                </c:pt>
                <c:pt idx="131">
                  <c:v>104390</c:v>
                </c:pt>
                <c:pt idx="132">
                  <c:v>105430</c:v>
                </c:pt>
                <c:pt idx="133">
                  <c:v>107150</c:v>
                </c:pt>
                <c:pt idx="134">
                  <c:v>110610</c:v>
                </c:pt>
                <c:pt idx="135">
                  <c:v>110110</c:v>
                </c:pt>
                <c:pt idx="136">
                  <c:v>110350</c:v>
                </c:pt>
                <c:pt idx="137">
                  <c:v>109970</c:v>
                </c:pt>
                <c:pt idx="138">
                  <c:v>111890</c:v>
                </c:pt>
                <c:pt idx="139">
                  <c:v>119770</c:v>
                </c:pt>
                <c:pt idx="140">
                  <c:v>123860</c:v>
                </c:pt>
                <c:pt idx="141">
                  <c:v>127950</c:v>
                </c:pt>
                <c:pt idx="142">
                  <c:v>136890</c:v>
                </c:pt>
                <c:pt idx="143">
                  <c:v>135110</c:v>
                </c:pt>
                <c:pt idx="144">
                  <c:v>134470</c:v>
                </c:pt>
                <c:pt idx="145">
                  <c:v>129630</c:v>
                </c:pt>
                <c:pt idx="146">
                  <c:v>138160</c:v>
                </c:pt>
                <c:pt idx="147">
                  <c:v>135330</c:v>
                </c:pt>
                <c:pt idx="148">
                  <c:v>137160</c:v>
                </c:pt>
                <c:pt idx="149">
                  <c:v>135410</c:v>
                </c:pt>
                <c:pt idx="150">
                  <c:v>135539</c:v>
                </c:pt>
                <c:pt idx="151">
                  <c:v>112142</c:v>
                </c:pt>
                <c:pt idx="152">
                  <c:v>124301</c:v>
                </c:pt>
                <c:pt idx="153">
                  <c:v>138742</c:v>
                </c:pt>
                <c:pt idx="154">
                  <c:v>141590</c:v>
                </c:pt>
                <c:pt idx="155">
                  <c:v>143248</c:v>
                </c:pt>
                <c:pt idx="156">
                  <c:v>92697</c:v>
                </c:pt>
                <c:pt idx="157">
                  <c:v>140917</c:v>
                </c:pt>
                <c:pt idx="158">
                  <c:v>158954</c:v>
                </c:pt>
                <c:pt idx="159">
                  <c:v>175883</c:v>
                </c:pt>
                <c:pt idx="160">
                  <c:v>164500</c:v>
                </c:pt>
                <c:pt idx="161">
                  <c:v>163033</c:v>
                </c:pt>
                <c:pt idx="162">
                  <c:v>160398</c:v>
                </c:pt>
                <c:pt idx="163">
                  <c:v>160398</c:v>
                </c:pt>
                <c:pt idx="164">
                  <c:v>141532</c:v>
                </c:pt>
                <c:pt idx="165">
                  <c:v>137561</c:v>
                </c:pt>
                <c:pt idx="166">
                  <c:v>132893</c:v>
                </c:pt>
                <c:pt idx="167">
                  <c:v>124132</c:v>
                </c:pt>
                <c:pt idx="168">
                  <c:v>133796</c:v>
                </c:pt>
                <c:pt idx="169">
                  <c:v>134438</c:v>
                </c:pt>
                <c:pt idx="170">
                  <c:v>145502</c:v>
                </c:pt>
                <c:pt idx="171">
                  <c:v>143468</c:v>
                </c:pt>
                <c:pt idx="172">
                  <c:v>142083</c:v>
                </c:pt>
                <c:pt idx="173">
                  <c:v>138481</c:v>
                </c:pt>
                <c:pt idx="174">
                  <c:v>136387</c:v>
                </c:pt>
                <c:pt idx="175">
                  <c:v>140876</c:v>
                </c:pt>
                <c:pt idx="176">
                  <c:v>139212</c:v>
                </c:pt>
                <c:pt idx="177">
                  <c:v>137333</c:v>
                </c:pt>
                <c:pt idx="178">
                  <c:v>136195</c:v>
                </c:pt>
                <c:pt idx="179">
                  <c:v>136329</c:v>
                </c:pt>
                <c:pt idx="180">
                  <c:v>138361</c:v>
                </c:pt>
                <c:pt idx="181">
                  <c:v>137575</c:v>
                </c:pt>
                <c:pt idx="182">
                  <c:v>135631</c:v>
                </c:pt>
                <c:pt idx="183">
                  <c:v>136347</c:v>
                </c:pt>
                <c:pt idx="184">
                  <c:v>136347</c:v>
                </c:pt>
                <c:pt idx="185">
                  <c:v>136217</c:v>
                </c:pt>
                <c:pt idx="186">
                  <c:v>138680</c:v>
                </c:pt>
                <c:pt idx="187">
                  <c:v>142215</c:v>
                </c:pt>
                <c:pt idx="188">
                  <c:v>140852</c:v>
                </c:pt>
                <c:pt idx="189">
                  <c:v>145078</c:v>
                </c:pt>
                <c:pt idx="190">
                  <c:v>145078</c:v>
                </c:pt>
                <c:pt idx="191">
                  <c:v>141082</c:v>
                </c:pt>
                <c:pt idx="192">
                  <c:v>140013</c:v>
                </c:pt>
                <c:pt idx="193">
                  <c:v>145306</c:v>
                </c:pt>
                <c:pt idx="194">
                  <c:v>142144</c:v>
                </c:pt>
                <c:pt idx="195">
                  <c:v>142144</c:v>
                </c:pt>
                <c:pt idx="196">
                  <c:v>142244</c:v>
                </c:pt>
                <c:pt idx="197">
                  <c:v>139045</c:v>
                </c:pt>
                <c:pt idx="198">
                  <c:v>134571</c:v>
                </c:pt>
                <c:pt idx="199">
                  <c:v>133146</c:v>
                </c:pt>
                <c:pt idx="200">
                  <c:v>131447</c:v>
                </c:pt>
                <c:pt idx="201">
                  <c:v>122307</c:v>
                </c:pt>
                <c:pt idx="202">
                  <c:v>122307</c:v>
                </c:pt>
                <c:pt idx="203">
                  <c:v>118998</c:v>
                </c:pt>
                <c:pt idx="204">
                  <c:v>120870</c:v>
                </c:pt>
                <c:pt idx="205">
                  <c:v>127220</c:v>
                </c:pt>
                <c:pt idx="206">
                  <c:v>128400</c:v>
                </c:pt>
                <c:pt idx="207">
                  <c:v>127910</c:v>
                </c:pt>
                <c:pt idx="208">
                  <c:v>127710</c:v>
                </c:pt>
                <c:pt idx="209">
                  <c:v>127250</c:v>
                </c:pt>
                <c:pt idx="210">
                  <c:v>123350</c:v>
                </c:pt>
                <c:pt idx="211">
                  <c:v>123030</c:v>
                </c:pt>
                <c:pt idx="212">
                  <c:v>121150</c:v>
                </c:pt>
                <c:pt idx="213">
                  <c:v>112450</c:v>
                </c:pt>
                <c:pt idx="214">
                  <c:v>113580</c:v>
                </c:pt>
                <c:pt idx="215">
                  <c:v>121100</c:v>
                </c:pt>
                <c:pt idx="216">
                  <c:v>114300</c:v>
                </c:pt>
                <c:pt idx="217">
                  <c:v>113670</c:v>
                </c:pt>
                <c:pt idx="218">
                  <c:v>113520</c:v>
                </c:pt>
                <c:pt idx="219">
                  <c:v>113030</c:v>
                </c:pt>
                <c:pt idx="220">
                  <c:v>115170</c:v>
                </c:pt>
                <c:pt idx="221">
                  <c:v>112410</c:v>
                </c:pt>
                <c:pt idx="222">
                  <c:v>107900</c:v>
                </c:pt>
                <c:pt idx="223">
                  <c:v>108190</c:v>
                </c:pt>
                <c:pt idx="224">
                  <c:v>97100</c:v>
                </c:pt>
                <c:pt idx="225">
                  <c:v>101300</c:v>
                </c:pt>
                <c:pt idx="226">
                  <c:v>101350</c:v>
                </c:pt>
                <c:pt idx="227">
                  <c:v>99500</c:v>
                </c:pt>
                <c:pt idx="228">
                  <c:v>99400</c:v>
                </c:pt>
                <c:pt idx="229">
                  <c:v>99400</c:v>
                </c:pt>
                <c:pt idx="230">
                  <c:v>99900</c:v>
                </c:pt>
                <c:pt idx="231">
                  <c:v>99700</c:v>
                </c:pt>
                <c:pt idx="232">
                  <c:v>99900</c:v>
                </c:pt>
                <c:pt idx="233">
                  <c:v>100450</c:v>
                </c:pt>
                <c:pt idx="234">
                  <c:v>101000</c:v>
                </c:pt>
                <c:pt idx="235">
                  <c:v>105000</c:v>
                </c:pt>
                <c:pt idx="236">
                  <c:v>112000</c:v>
                </c:pt>
                <c:pt idx="237">
                  <c:v>107500</c:v>
                </c:pt>
                <c:pt idx="238">
                  <c:v>103000</c:v>
                </c:pt>
                <c:pt idx="239">
                  <c:v>107000</c:v>
                </c:pt>
                <c:pt idx="240">
                  <c:v>108000</c:v>
                </c:pt>
                <c:pt idx="241">
                  <c:v>105000</c:v>
                </c:pt>
                <c:pt idx="242">
                  <c:v>104500</c:v>
                </c:pt>
                <c:pt idx="243">
                  <c:v>106000</c:v>
                </c:pt>
                <c:pt idx="244">
                  <c:v>105900</c:v>
                </c:pt>
                <c:pt idx="245">
                  <c:v>105500</c:v>
                </c:pt>
                <c:pt idx="246">
                  <c:v>107000</c:v>
                </c:pt>
                <c:pt idx="247">
                  <c:v>109000</c:v>
                </c:pt>
                <c:pt idx="248">
                  <c:v>108800</c:v>
                </c:pt>
                <c:pt idx="249">
                  <c:v>108900</c:v>
                </c:pt>
                <c:pt idx="250">
                  <c:v>113000</c:v>
                </c:pt>
                <c:pt idx="251">
                  <c:v>114000</c:v>
                </c:pt>
                <c:pt idx="252">
                  <c:v>113250</c:v>
                </c:pt>
                <c:pt idx="253">
                  <c:v>112500</c:v>
                </c:pt>
                <c:pt idx="254">
                  <c:v>114500</c:v>
                </c:pt>
                <c:pt idx="255">
                  <c:v>115900</c:v>
                </c:pt>
                <c:pt idx="256">
                  <c:v>114500</c:v>
                </c:pt>
                <c:pt idx="257">
                  <c:v>114500</c:v>
                </c:pt>
                <c:pt idx="258">
                  <c:v>116300</c:v>
                </c:pt>
                <c:pt idx="259">
                  <c:v>116500</c:v>
                </c:pt>
                <c:pt idx="260">
                  <c:v>115400</c:v>
                </c:pt>
                <c:pt idx="261">
                  <c:v>115000</c:v>
                </c:pt>
                <c:pt idx="262">
                  <c:v>116500</c:v>
                </c:pt>
                <c:pt idx="263">
                  <c:v>117900</c:v>
                </c:pt>
                <c:pt idx="264">
                  <c:v>118000</c:v>
                </c:pt>
                <c:pt idx="265">
                  <c:v>118300</c:v>
                </c:pt>
                <c:pt idx="266">
                  <c:v>119450</c:v>
                </c:pt>
                <c:pt idx="267">
                  <c:v>118500</c:v>
                </c:pt>
                <c:pt idx="268">
                  <c:v>113000</c:v>
                </c:pt>
                <c:pt idx="269">
                  <c:v>110000</c:v>
                </c:pt>
                <c:pt idx="270">
                  <c:v>116500</c:v>
                </c:pt>
                <c:pt idx="271">
                  <c:v>117500</c:v>
                </c:pt>
                <c:pt idx="272">
                  <c:v>118500</c:v>
                </c:pt>
                <c:pt idx="273">
                  <c:v>116450</c:v>
                </c:pt>
                <c:pt idx="274">
                  <c:v>117100</c:v>
                </c:pt>
                <c:pt idx="275">
                  <c:v>119000</c:v>
                </c:pt>
                <c:pt idx="276">
                  <c:v>119300</c:v>
                </c:pt>
                <c:pt idx="277">
                  <c:v>121000</c:v>
                </c:pt>
                <c:pt idx="278">
                  <c:v>123500</c:v>
                </c:pt>
                <c:pt idx="279">
                  <c:v>129000</c:v>
                </c:pt>
                <c:pt idx="280">
                  <c:v>128000</c:v>
                </c:pt>
                <c:pt idx="281">
                  <c:v>129700</c:v>
                </c:pt>
                <c:pt idx="282">
                  <c:v>129700</c:v>
                </c:pt>
                <c:pt idx="283">
                  <c:v>125000</c:v>
                </c:pt>
                <c:pt idx="284">
                  <c:v>136500</c:v>
                </c:pt>
                <c:pt idx="285">
                  <c:v>134500</c:v>
                </c:pt>
                <c:pt idx="286">
                  <c:v>133000</c:v>
                </c:pt>
                <c:pt idx="287">
                  <c:v>132500</c:v>
                </c:pt>
                <c:pt idx="288">
                  <c:v>132000</c:v>
                </c:pt>
                <c:pt idx="289">
                  <c:v>134500</c:v>
                </c:pt>
                <c:pt idx="290">
                  <c:v>129860</c:v>
                </c:pt>
                <c:pt idx="291">
                  <c:v>127070</c:v>
                </c:pt>
                <c:pt idx="292">
                  <c:v>125980</c:v>
                </c:pt>
                <c:pt idx="293">
                  <c:v>131540</c:v>
                </c:pt>
                <c:pt idx="294">
                  <c:v>130370</c:v>
                </c:pt>
                <c:pt idx="295">
                  <c:v>131510</c:v>
                </c:pt>
                <c:pt idx="296">
                  <c:v>130420</c:v>
                </c:pt>
                <c:pt idx="297">
                  <c:v>129050</c:v>
                </c:pt>
                <c:pt idx="298">
                  <c:v>128470</c:v>
                </c:pt>
                <c:pt idx="299">
                  <c:v>128550</c:v>
                </c:pt>
                <c:pt idx="300">
                  <c:v>131020</c:v>
                </c:pt>
                <c:pt idx="301">
                  <c:v>129850</c:v>
                </c:pt>
                <c:pt idx="302">
                  <c:v>128830</c:v>
                </c:pt>
                <c:pt idx="303">
                  <c:v>128890</c:v>
                </c:pt>
                <c:pt idx="304">
                  <c:v>128940</c:v>
                </c:pt>
                <c:pt idx="305">
                  <c:v>129520</c:v>
                </c:pt>
                <c:pt idx="306">
                  <c:v>129510</c:v>
                </c:pt>
                <c:pt idx="307">
                  <c:v>129420</c:v>
                </c:pt>
                <c:pt idx="308">
                  <c:v>132000</c:v>
                </c:pt>
                <c:pt idx="309">
                  <c:v>132000</c:v>
                </c:pt>
                <c:pt idx="310">
                  <c:v>131900</c:v>
                </c:pt>
                <c:pt idx="311">
                  <c:v>133910</c:v>
                </c:pt>
                <c:pt idx="312">
                  <c:v>136900</c:v>
                </c:pt>
                <c:pt idx="313">
                  <c:v>141750</c:v>
                </c:pt>
                <c:pt idx="314">
                  <c:v>137500</c:v>
                </c:pt>
                <c:pt idx="315">
                  <c:v>136000</c:v>
                </c:pt>
                <c:pt idx="316">
                  <c:v>134500</c:v>
                </c:pt>
                <c:pt idx="317">
                  <c:v>136900</c:v>
                </c:pt>
                <c:pt idx="318">
                  <c:v>135430</c:v>
                </c:pt>
                <c:pt idx="319">
                  <c:v>134010</c:v>
                </c:pt>
                <c:pt idx="320">
                  <c:v>135460</c:v>
                </c:pt>
                <c:pt idx="321">
                  <c:v>137600</c:v>
                </c:pt>
                <c:pt idx="322">
                  <c:v>137920</c:v>
                </c:pt>
                <c:pt idx="323">
                  <c:v>137990</c:v>
                </c:pt>
                <c:pt idx="324">
                  <c:v>138460</c:v>
                </c:pt>
                <c:pt idx="325">
                  <c:v>141470</c:v>
                </c:pt>
                <c:pt idx="326">
                  <c:v>141510</c:v>
                </c:pt>
                <c:pt idx="327">
                  <c:v>140520</c:v>
                </c:pt>
                <c:pt idx="328">
                  <c:v>142500</c:v>
                </c:pt>
                <c:pt idx="329">
                  <c:v>142410</c:v>
                </c:pt>
                <c:pt idx="330">
                  <c:v>144960</c:v>
                </c:pt>
                <c:pt idx="331">
                  <c:v>147450</c:v>
                </c:pt>
                <c:pt idx="332">
                  <c:v>147000</c:v>
                </c:pt>
                <c:pt idx="333">
                  <c:v>149480</c:v>
                </c:pt>
                <c:pt idx="334">
                  <c:v>149900</c:v>
                </c:pt>
                <c:pt idx="335">
                  <c:v>153500</c:v>
                </c:pt>
                <c:pt idx="336">
                  <c:v>149500</c:v>
                </c:pt>
                <c:pt idx="337">
                  <c:v>146500</c:v>
                </c:pt>
                <c:pt idx="338">
                  <c:v>148360</c:v>
                </c:pt>
                <c:pt idx="339">
                  <c:v>148500</c:v>
                </c:pt>
                <c:pt idx="340">
                  <c:v>148430</c:v>
                </c:pt>
                <c:pt idx="341">
                  <c:v>146470</c:v>
                </c:pt>
                <c:pt idx="342">
                  <c:v>145500</c:v>
                </c:pt>
                <c:pt idx="343">
                  <c:v>145000</c:v>
                </c:pt>
                <c:pt idx="344">
                  <c:v>137500</c:v>
                </c:pt>
                <c:pt idx="345">
                  <c:v>137470</c:v>
                </c:pt>
                <c:pt idx="346">
                  <c:v>139500</c:v>
                </c:pt>
                <c:pt idx="347">
                  <c:v>140460</c:v>
                </c:pt>
                <c:pt idx="348">
                  <c:v>139570</c:v>
                </c:pt>
                <c:pt idx="349">
                  <c:v>138500</c:v>
                </c:pt>
                <c:pt idx="350">
                  <c:v>137500</c:v>
                </c:pt>
                <c:pt idx="351">
                  <c:v>134000</c:v>
                </c:pt>
                <c:pt idx="352">
                  <c:v>135370</c:v>
                </c:pt>
                <c:pt idx="353">
                  <c:v>135500</c:v>
                </c:pt>
                <c:pt idx="354">
                  <c:v>132390</c:v>
                </c:pt>
                <c:pt idx="355">
                  <c:v>130980</c:v>
                </c:pt>
                <c:pt idx="356">
                  <c:v>130900</c:v>
                </c:pt>
                <c:pt idx="357">
                  <c:v>126970</c:v>
                </c:pt>
                <c:pt idx="358">
                  <c:v>128450</c:v>
                </c:pt>
                <c:pt idx="359">
                  <c:v>128880</c:v>
                </c:pt>
                <c:pt idx="360">
                  <c:v>129000</c:v>
                </c:pt>
                <c:pt idx="361">
                  <c:v>129360</c:v>
                </c:pt>
                <c:pt idx="362">
                  <c:v>134940</c:v>
                </c:pt>
                <c:pt idx="363">
                  <c:v>133360</c:v>
                </c:pt>
                <c:pt idx="364">
                  <c:v>132020</c:v>
                </c:pt>
                <c:pt idx="365">
                  <c:v>130950</c:v>
                </c:pt>
                <c:pt idx="366">
                  <c:v>132000</c:v>
                </c:pt>
                <c:pt idx="367">
                  <c:v>130000</c:v>
                </c:pt>
                <c:pt idx="368">
                  <c:v>130000</c:v>
                </c:pt>
                <c:pt idx="369">
                  <c:v>131890</c:v>
                </c:pt>
                <c:pt idx="370">
                  <c:v>131000</c:v>
                </c:pt>
                <c:pt idx="371">
                  <c:v>129400</c:v>
                </c:pt>
                <c:pt idx="372">
                  <c:v>129500</c:v>
                </c:pt>
                <c:pt idx="373">
                  <c:v>128500</c:v>
                </c:pt>
                <c:pt idx="374">
                  <c:v>127000</c:v>
                </c:pt>
                <c:pt idx="375">
                  <c:v>128000</c:v>
                </c:pt>
                <c:pt idx="376">
                  <c:v>127450</c:v>
                </c:pt>
                <c:pt idx="377">
                  <c:v>127500</c:v>
                </c:pt>
                <c:pt idx="378">
                  <c:v>129400</c:v>
                </c:pt>
                <c:pt idx="379">
                  <c:v>128980</c:v>
                </c:pt>
                <c:pt idx="380">
                  <c:v>127910</c:v>
                </c:pt>
                <c:pt idx="381">
                  <c:v>127430</c:v>
                </c:pt>
                <c:pt idx="382">
                  <c:v>127480</c:v>
                </c:pt>
                <c:pt idx="383">
                  <c:v>127460</c:v>
                </c:pt>
                <c:pt idx="384">
                  <c:v>126000</c:v>
                </c:pt>
                <c:pt idx="385">
                  <c:v>125000</c:v>
                </c:pt>
                <c:pt idx="386">
                  <c:v>121000</c:v>
                </c:pt>
                <c:pt idx="387">
                  <c:v>118890</c:v>
                </c:pt>
                <c:pt idx="388">
                  <c:v>113890</c:v>
                </c:pt>
                <c:pt idx="389">
                  <c:v>115000</c:v>
                </c:pt>
                <c:pt idx="390">
                  <c:v>116480</c:v>
                </c:pt>
                <c:pt idx="391">
                  <c:v>118970</c:v>
                </c:pt>
                <c:pt idx="392">
                  <c:v>119000</c:v>
                </c:pt>
                <c:pt idx="393">
                  <c:v>123000</c:v>
                </c:pt>
                <c:pt idx="394">
                  <c:v>121930</c:v>
                </c:pt>
                <c:pt idx="395">
                  <c:v>119500</c:v>
                </c:pt>
                <c:pt idx="396">
                  <c:v>120940</c:v>
                </c:pt>
                <c:pt idx="397">
                  <c:v>121500</c:v>
                </c:pt>
                <c:pt idx="398">
                  <c:v>120420</c:v>
                </c:pt>
                <c:pt idx="399">
                  <c:v>120500</c:v>
                </c:pt>
                <c:pt idx="400">
                  <c:v>119430</c:v>
                </c:pt>
                <c:pt idx="401">
                  <c:v>119000</c:v>
                </c:pt>
                <c:pt idx="402">
                  <c:v>119910</c:v>
                </c:pt>
                <c:pt idx="403">
                  <c:v>119000</c:v>
                </c:pt>
                <c:pt idx="404">
                  <c:v>118910</c:v>
                </c:pt>
                <c:pt idx="405">
                  <c:v>119420</c:v>
                </c:pt>
                <c:pt idx="406">
                  <c:v>118940</c:v>
                </c:pt>
                <c:pt idx="407">
                  <c:v>118400</c:v>
                </c:pt>
                <c:pt idx="408">
                  <c:v>118000</c:v>
                </c:pt>
                <c:pt idx="409">
                  <c:v>117000</c:v>
                </c:pt>
                <c:pt idx="410">
                  <c:v>116910</c:v>
                </c:pt>
                <c:pt idx="411">
                  <c:v>117000</c:v>
                </c:pt>
                <c:pt idx="412">
                  <c:v>117000</c:v>
                </c:pt>
                <c:pt idx="413">
                  <c:v>117000</c:v>
                </c:pt>
                <c:pt idx="414">
                  <c:v>117420</c:v>
                </c:pt>
                <c:pt idx="415">
                  <c:v>116960</c:v>
                </c:pt>
                <c:pt idx="416">
                  <c:v>116420</c:v>
                </c:pt>
                <c:pt idx="417">
                  <c:v>116000</c:v>
                </c:pt>
                <c:pt idx="418">
                  <c:v>115900</c:v>
                </c:pt>
                <c:pt idx="419">
                  <c:v>114500</c:v>
                </c:pt>
                <c:pt idx="420">
                  <c:v>111920</c:v>
                </c:pt>
                <c:pt idx="421">
                  <c:v>111000</c:v>
                </c:pt>
                <c:pt idx="422">
                  <c:v>111950</c:v>
                </c:pt>
                <c:pt idx="423">
                  <c:v>112000</c:v>
                </c:pt>
                <c:pt idx="424">
                  <c:v>113470</c:v>
                </c:pt>
                <c:pt idx="425">
                  <c:v>114000</c:v>
                </c:pt>
                <c:pt idx="426">
                  <c:v>112480</c:v>
                </c:pt>
                <c:pt idx="427">
                  <c:v>114000</c:v>
                </c:pt>
                <c:pt idx="428">
                  <c:v>113420</c:v>
                </c:pt>
                <c:pt idx="429">
                  <c:v>114000</c:v>
                </c:pt>
                <c:pt idx="430">
                  <c:v>113890</c:v>
                </c:pt>
                <c:pt idx="431">
                  <c:v>116000</c:v>
                </c:pt>
                <c:pt idx="432">
                  <c:v>115970</c:v>
                </c:pt>
                <c:pt idx="433">
                  <c:v>114440</c:v>
                </c:pt>
                <c:pt idx="434">
                  <c:v>114000</c:v>
                </c:pt>
                <c:pt idx="435">
                  <c:v>112980</c:v>
                </c:pt>
                <c:pt idx="436">
                  <c:v>113500</c:v>
                </c:pt>
                <c:pt idx="437">
                  <c:v>114000</c:v>
                </c:pt>
                <c:pt idx="438">
                  <c:v>114000</c:v>
                </c:pt>
                <c:pt idx="439">
                  <c:v>114500</c:v>
                </c:pt>
                <c:pt idx="440">
                  <c:v>114500</c:v>
                </c:pt>
                <c:pt idx="441">
                  <c:v>113940</c:v>
                </c:pt>
                <c:pt idx="442">
                  <c:v>113460</c:v>
                </c:pt>
                <c:pt idx="443">
                  <c:v>113500</c:v>
                </c:pt>
                <c:pt idx="444">
                  <c:v>113470</c:v>
                </c:pt>
                <c:pt idx="445">
                  <c:v>113500</c:v>
                </c:pt>
                <c:pt idx="446">
                  <c:v>114500</c:v>
                </c:pt>
                <c:pt idx="447">
                  <c:v>114500</c:v>
                </c:pt>
                <c:pt idx="448">
                  <c:v>115000</c:v>
                </c:pt>
                <c:pt idx="449">
                  <c:v>114410</c:v>
                </c:pt>
                <c:pt idx="450">
                  <c:v>114000</c:v>
                </c:pt>
                <c:pt idx="451">
                  <c:v>114430</c:v>
                </c:pt>
                <c:pt idx="452">
                  <c:v>114450</c:v>
                </c:pt>
                <c:pt idx="453">
                  <c:v>113970</c:v>
                </c:pt>
                <c:pt idx="454">
                  <c:v>114000</c:v>
                </c:pt>
                <c:pt idx="455">
                  <c:v>113930</c:v>
                </c:pt>
                <c:pt idx="456">
                  <c:v>113950</c:v>
                </c:pt>
                <c:pt idx="457">
                  <c:v>114020</c:v>
                </c:pt>
                <c:pt idx="458">
                  <c:v>114070</c:v>
                </c:pt>
                <c:pt idx="459">
                  <c:v>114000</c:v>
                </c:pt>
                <c:pt idx="460">
                  <c:v>113500</c:v>
                </c:pt>
                <c:pt idx="461">
                  <c:v>113530</c:v>
                </c:pt>
                <c:pt idx="462">
                  <c:v>113960</c:v>
                </c:pt>
                <c:pt idx="463">
                  <c:v>114020</c:v>
                </c:pt>
                <c:pt idx="464">
                  <c:v>113890</c:v>
                </c:pt>
                <c:pt idx="465">
                  <c:v>113540</c:v>
                </c:pt>
                <c:pt idx="466">
                  <c:v>112600</c:v>
                </c:pt>
                <c:pt idx="467">
                  <c:v>112550</c:v>
                </c:pt>
                <c:pt idx="468">
                  <c:v>112050</c:v>
                </c:pt>
                <c:pt idx="469">
                  <c:v>111380</c:v>
                </c:pt>
                <c:pt idx="470">
                  <c:v>111410</c:v>
                </c:pt>
                <c:pt idx="471">
                  <c:v>111460</c:v>
                </c:pt>
                <c:pt idx="472">
                  <c:v>111520</c:v>
                </c:pt>
                <c:pt idx="473">
                  <c:v>112440</c:v>
                </c:pt>
                <c:pt idx="474">
                  <c:v>112520</c:v>
                </c:pt>
                <c:pt idx="475">
                  <c:v>113030</c:v>
                </c:pt>
                <c:pt idx="476">
                  <c:v>112900</c:v>
                </c:pt>
                <c:pt idx="477">
                  <c:v>113380</c:v>
                </c:pt>
                <c:pt idx="478">
                  <c:v>113530</c:v>
                </c:pt>
                <c:pt idx="479">
                  <c:v>113510</c:v>
                </c:pt>
                <c:pt idx="480">
                  <c:v>113980</c:v>
                </c:pt>
                <c:pt idx="481">
                  <c:v>114380</c:v>
                </c:pt>
                <c:pt idx="482">
                  <c:v>114480</c:v>
                </c:pt>
                <c:pt idx="483">
                  <c:v>114970</c:v>
                </c:pt>
                <c:pt idx="484">
                  <c:v>119020</c:v>
                </c:pt>
                <c:pt idx="485">
                  <c:v>119030</c:v>
                </c:pt>
                <c:pt idx="486">
                  <c:v>121500</c:v>
                </c:pt>
                <c:pt idx="487">
                  <c:v>119410</c:v>
                </c:pt>
                <c:pt idx="488">
                  <c:v>118920</c:v>
                </c:pt>
                <c:pt idx="489">
                  <c:v>117940</c:v>
                </c:pt>
                <c:pt idx="490">
                  <c:v>117960</c:v>
                </c:pt>
                <c:pt idx="491">
                  <c:v>118960</c:v>
                </c:pt>
                <c:pt idx="492">
                  <c:v>120530</c:v>
                </c:pt>
                <c:pt idx="493">
                  <c:v>123510</c:v>
                </c:pt>
                <c:pt idx="494">
                  <c:v>122460</c:v>
                </c:pt>
                <c:pt idx="495">
                  <c:v>124020</c:v>
                </c:pt>
                <c:pt idx="496">
                  <c:v>125480</c:v>
                </c:pt>
                <c:pt idx="497">
                  <c:v>123920</c:v>
                </c:pt>
                <c:pt idx="498">
                  <c:v>125410</c:v>
                </c:pt>
                <c:pt idx="499">
                  <c:v>124970</c:v>
                </c:pt>
                <c:pt idx="500">
                  <c:v>126940</c:v>
                </c:pt>
                <c:pt idx="501">
                  <c:v>127010</c:v>
                </c:pt>
                <c:pt idx="502">
                  <c:v>128940</c:v>
                </c:pt>
                <c:pt idx="503">
                  <c:v>129430</c:v>
                </c:pt>
                <c:pt idx="504">
                  <c:v>135530</c:v>
                </c:pt>
                <c:pt idx="505">
                  <c:v>138480</c:v>
                </c:pt>
                <c:pt idx="506">
                  <c:v>131040</c:v>
                </c:pt>
                <c:pt idx="507">
                  <c:v>129010</c:v>
                </c:pt>
                <c:pt idx="508">
                  <c:v>126970</c:v>
                </c:pt>
                <c:pt idx="509">
                  <c:v>125520</c:v>
                </c:pt>
                <c:pt idx="510">
                  <c:v>126960</c:v>
                </c:pt>
                <c:pt idx="511">
                  <c:v>127980</c:v>
                </c:pt>
                <c:pt idx="512">
                  <c:v>129020</c:v>
                </c:pt>
                <c:pt idx="513">
                  <c:v>128590</c:v>
                </c:pt>
                <c:pt idx="514">
                  <c:v>129400</c:v>
                </c:pt>
                <c:pt idx="515">
                  <c:v>129870</c:v>
                </c:pt>
                <c:pt idx="516">
                  <c:v>129890</c:v>
                </c:pt>
                <c:pt idx="517">
                  <c:v>129880</c:v>
                </c:pt>
                <c:pt idx="518">
                  <c:v>129700</c:v>
                </c:pt>
                <c:pt idx="519">
                  <c:v>129760</c:v>
                </c:pt>
                <c:pt idx="520">
                  <c:v>129740</c:v>
                </c:pt>
                <c:pt idx="521">
                  <c:v>129580</c:v>
                </c:pt>
                <c:pt idx="522">
                  <c:v>129500</c:v>
                </c:pt>
                <c:pt idx="523">
                  <c:v>129500</c:v>
                </c:pt>
                <c:pt idx="524">
                  <c:v>129590</c:v>
                </c:pt>
                <c:pt idx="525">
                  <c:v>129500</c:v>
                </c:pt>
                <c:pt idx="526">
                  <c:v>133300</c:v>
                </c:pt>
                <c:pt idx="527">
                  <c:v>133300</c:v>
                </c:pt>
                <c:pt idx="528">
                  <c:v>133340</c:v>
                </c:pt>
                <c:pt idx="529">
                  <c:v>133820</c:v>
                </c:pt>
                <c:pt idx="530">
                  <c:v>133850</c:v>
                </c:pt>
                <c:pt idx="531">
                  <c:v>132090</c:v>
                </c:pt>
                <c:pt idx="532">
                  <c:v>130530</c:v>
                </c:pt>
                <c:pt idx="533">
                  <c:v>130500</c:v>
                </c:pt>
                <c:pt idx="534">
                  <c:v>130200</c:v>
                </c:pt>
                <c:pt idx="535">
                  <c:v>130030</c:v>
                </c:pt>
                <c:pt idx="536">
                  <c:v>131070</c:v>
                </c:pt>
                <c:pt idx="537">
                  <c:v>131000</c:v>
                </c:pt>
                <c:pt idx="538">
                  <c:v>130500</c:v>
                </c:pt>
                <c:pt idx="539">
                  <c:v>130000</c:v>
                </c:pt>
                <c:pt idx="540">
                  <c:v>129540</c:v>
                </c:pt>
                <c:pt idx="541">
                  <c:v>129530</c:v>
                </c:pt>
                <c:pt idx="542">
                  <c:v>129500</c:v>
                </c:pt>
                <c:pt idx="543">
                  <c:v>130000</c:v>
                </c:pt>
                <c:pt idx="544">
                  <c:v>133500</c:v>
                </c:pt>
                <c:pt idx="545">
                  <c:v>134000</c:v>
                </c:pt>
                <c:pt idx="546">
                  <c:v>134070</c:v>
                </c:pt>
                <c:pt idx="547">
                  <c:v>134020</c:v>
                </c:pt>
                <c:pt idx="548">
                  <c:v>134540</c:v>
                </c:pt>
                <c:pt idx="549">
                  <c:v>134780</c:v>
                </c:pt>
                <c:pt idx="550">
                  <c:v>134030</c:v>
                </c:pt>
                <c:pt idx="551">
                  <c:v>133890</c:v>
                </c:pt>
                <c:pt idx="552">
                  <c:v>134300</c:v>
                </c:pt>
                <c:pt idx="553">
                  <c:v>134500</c:v>
                </c:pt>
                <c:pt idx="554">
                  <c:v>135060</c:v>
                </c:pt>
                <c:pt idx="555">
                  <c:v>135080</c:v>
                </c:pt>
                <c:pt idx="556">
                  <c:v>135030</c:v>
                </c:pt>
                <c:pt idx="557">
                  <c:v>136040</c:v>
                </c:pt>
                <c:pt idx="558">
                  <c:v>137020</c:v>
                </c:pt>
                <c:pt idx="559">
                  <c:v>138490</c:v>
                </c:pt>
                <c:pt idx="560">
                  <c:v>138490</c:v>
                </c:pt>
                <c:pt idx="561">
                  <c:v>138990</c:v>
                </c:pt>
                <c:pt idx="562">
                  <c:v>139540</c:v>
                </c:pt>
                <c:pt idx="563">
                  <c:v>141990</c:v>
                </c:pt>
                <c:pt idx="564">
                  <c:v>141990</c:v>
                </c:pt>
                <c:pt idx="565">
                  <c:v>142030</c:v>
                </c:pt>
                <c:pt idx="566">
                  <c:v>145290</c:v>
                </c:pt>
                <c:pt idx="567">
                  <c:v>147550</c:v>
                </c:pt>
                <c:pt idx="568">
                  <c:v>146990</c:v>
                </c:pt>
                <c:pt idx="569">
                  <c:v>148010</c:v>
                </c:pt>
                <c:pt idx="570">
                  <c:v>155910</c:v>
                </c:pt>
                <c:pt idx="571">
                  <c:v>157010</c:v>
                </c:pt>
                <c:pt idx="572">
                  <c:v>148980</c:v>
                </c:pt>
                <c:pt idx="573">
                  <c:v>151510</c:v>
                </c:pt>
                <c:pt idx="574">
                  <c:v>155430</c:v>
                </c:pt>
                <c:pt idx="575">
                  <c:v>153350</c:v>
                </c:pt>
                <c:pt idx="576">
                  <c:v>153790</c:v>
                </c:pt>
                <c:pt idx="577">
                  <c:v>149950</c:v>
                </c:pt>
                <c:pt idx="578">
                  <c:v>149960</c:v>
                </c:pt>
                <c:pt idx="579">
                  <c:v>152030</c:v>
                </c:pt>
                <c:pt idx="580">
                  <c:v>151050</c:v>
                </c:pt>
                <c:pt idx="581">
                  <c:v>148550</c:v>
                </c:pt>
                <c:pt idx="582">
                  <c:v>148510</c:v>
                </c:pt>
                <c:pt idx="583">
                  <c:v>148050</c:v>
                </c:pt>
                <c:pt idx="584">
                  <c:v>148030</c:v>
                </c:pt>
                <c:pt idx="585">
                  <c:v>156550</c:v>
                </c:pt>
                <c:pt idx="586">
                  <c:v>157450</c:v>
                </c:pt>
                <c:pt idx="587">
                  <c:v>149030</c:v>
                </c:pt>
                <c:pt idx="588">
                  <c:v>148995</c:v>
                </c:pt>
                <c:pt idx="589">
                  <c:v>148977.5</c:v>
                </c:pt>
                <c:pt idx="590">
                  <c:v>148968.75</c:v>
                </c:pt>
                <c:pt idx="591">
                  <c:v>148964.375</c:v>
                </c:pt>
                <c:pt idx="592">
                  <c:v>148962.1875</c:v>
                </c:pt>
                <c:pt idx="593">
                  <c:v>148960</c:v>
                </c:pt>
                <c:pt idx="594">
                  <c:v>157950</c:v>
                </c:pt>
                <c:pt idx="595">
                  <c:v>158030</c:v>
                </c:pt>
                <c:pt idx="596">
                  <c:v>156990</c:v>
                </c:pt>
                <c:pt idx="597">
                  <c:v>156990</c:v>
                </c:pt>
                <c:pt idx="598">
                  <c:v>156090</c:v>
                </c:pt>
                <c:pt idx="599">
                  <c:v>156040</c:v>
                </c:pt>
                <c:pt idx="600">
                  <c:v>155990</c:v>
                </c:pt>
                <c:pt idx="601">
                  <c:v>156000</c:v>
                </c:pt>
                <c:pt idx="602">
                  <c:v>156000</c:v>
                </c:pt>
                <c:pt idx="603">
                  <c:v>156080</c:v>
                </c:pt>
                <c:pt idx="604">
                  <c:v>153500</c:v>
                </c:pt>
                <c:pt idx="605">
                  <c:v>152590</c:v>
                </c:pt>
                <c:pt idx="606">
                  <c:v>152560</c:v>
                </c:pt>
                <c:pt idx="607">
                  <c:v>153500</c:v>
                </c:pt>
                <c:pt idx="608">
                  <c:v>155000</c:v>
                </c:pt>
                <c:pt idx="609">
                  <c:v>155030</c:v>
                </c:pt>
                <c:pt idx="610">
                  <c:v>155000</c:v>
                </c:pt>
                <c:pt idx="611">
                  <c:v>156100</c:v>
                </c:pt>
                <c:pt idx="612">
                  <c:v>156000</c:v>
                </c:pt>
                <c:pt idx="613">
                  <c:v>155500</c:v>
                </c:pt>
                <c:pt idx="614">
                  <c:v>155500</c:v>
                </c:pt>
                <c:pt idx="615">
                  <c:v>156000</c:v>
                </c:pt>
                <c:pt idx="616">
                  <c:v>156050</c:v>
                </c:pt>
                <c:pt idx="617">
                  <c:v>156000</c:v>
                </c:pt>
                <c:pt idx="618">
                  <c:v>156070</c:v>
                </c:pt>
                <c:pt idx="619">
                  <c:v>156000</c:v>
                </c:pt>
                <c:pt idx="620">
                  <c:v>157110</c:v>
                </c:pt>
                <c:pt idx="621">
                  <c:v>157000</c:v>
                </c:pt>
                <c:pt idx="622">
                  <c:v>158040</c:v>
                </c:pt>
                <c:pt idx="623">
                  <c:v>162100</c:v>
                </c:pt>
                <c:pt idx="624">
                  <c:v>165000</c:v>
                </c:pt>
                <c:pt idx="625">
                  <c:v>166000</c:v>
                </c:pt>
                <c:pt idx="626">
                  <c:v>168610</c:v>
                </c:pt>
                <c:pt idx="627">
                  <c:v>168540</c:v>
                </c:pt>
                <c:pt idx="628">
                  <c:v>168000</c:v>
                </c:pt>
                <c:pt idx="629">
                  <c:v>170310</c:v>
                </c:pt>
                <c:pt idx="630">
                  <c:v>172000</c:v>
                </c:pt>
                <c:pt idx="631">
                  <c:v>171500</c:v>
                </c:pt>
                <c:pt idx="632">
                  <c:v>173100</c:v>
                </c:pt>
                <c:pt idx="633">
                  <c:v>173050</c:v>
                </c:pt>
                <c:pt idx="634">
                  <c:v>173000</c:v>
                </c:pt>
                <c:pt idx="635">
                  <c:v>173000</c:v>
                </c:pt>
                <c:pt idx="636">
                  <c:v>171580</c:v>
                </c:pt>
                <c:pt idx="637">
                  <c:v>170610</c:v>
                </c:pt>
                <c:pt idx="638">
                  <c:v>171040</c:v>
                </c:pt>
                <c:pt idx="639">
                  <c:v>171000</c:v>
                </c:pt>
                <c:pt idx="640">
                  <c:v>170770</c:v>
                </c:pt>
                <c:pt idx="641">
                  <c:v>170700</c:v>
                </c:pt>
                <c:pt idx="642">
                  <c:v>169830</c:v>
                </c:pt>
                <c:pt idx="643">
                  <c:v>169340</c:v>
                </c:pt>
                <c:pt idx="644">
                  <c:v>169390</c:v>
                </c:pt>
                <c:pt idx="645">
                  <c:v>169300</c:v>
                </c:pt>
                <c:pt idx="646">
                  <c:v>172500</c:v>
                </c:pt>
                <c:pt idx="647">
                  <c:v>177500</c:v>
                </c:pt>
                <c:pt idx="648">
                  <c:v>177560</c:v>
                </c:pt>
                <c:pt idx="649">
                  <c:v>177600</c:v>
                </c:pt>
                <c:pt idx="650">
                  <c:v>178800</c:v>
                </c:pt>
                <c:pt idx="651">
                  <c:v>182100</c:v>
                </c:pt>
                <c:pt idx="652">
                  <c:v>183500</c:v>
                </c:pt>
                <c:pt idx="653">
                  <c:v>186020</c:v>
                </c:pt>
                <c:pt idx="654">
                  <c:v>188020</c:v>
                </c:pt>
                <c:pt idx="655">
                  <c:v>188020</c:v>
                </c:pt>
                <c:pt idx="656">
                  <c:v>195970</c:v>
                </c:pt>
                <c:pt idx="657">
                  <c:v>193020</c:v>
                </c:pt>
                <c:pt idx="658">
                  <c:v>188430</c:v>
                </c:pt>
                <c:pt idx="659">
                  <c:v>188410</c:v>
                </c:pt>
                <c:pt idx="660">
                  <c:v>190430</c:v>
                </c:pt>
                <c:pt idx="661">
                  <c:v>190520</c:v>
                </c:pt>
                <c:pt idx="662">
                  <c:v>189920</c:v>
                </c:pt>
                <c:pt idx="663">
                  <c:v>189440</c:v>
                </c:pt>
                <c:pt idx="664">
                  <c:v>189520</c:v>
                </c:pt>
                <c:pt idx="665">
                  <c:v>208910</c:v>
                </c:pt>
                <c:pt idx="666">
                  <c:v>216470</c:v>
                </c:pt>
                <c:pt idx="667">
                  <c:v>218520</c:v>
                </c:pt>
                <c:pt idx="668">
                  <c:v>217520</c:v>
                </c:pt>
                <c:pt idx="669">
                  <c:v>222020</c:v>
                </c:pt>
                <c:pt idx="670">
                  <c:v>222020</c:v>
                </c:pt>
                <c:pt idx="671">
                  <c:v>222410</c:v>
                </c:pt>
                <c:pt idx="672">
                  <c:v>225520</c:v>
                </c:pt>
                <c:pt idx="673">
                  <c:v>227420</c:v>
                </c:pt>
                <c:pt idx="674">
                  <c:v>227460</c:v>
                </c:pt>
                <c:pt idx="675">
                  <c:v>229410</c:v>
                </c:pt>
                <c:pt idx="676">
                  <c:v>231020</c:v>
                </c:pt>
                <c:pt idx="677">
                  <c:v>230970</c:v>
                </c:pt>
                <c:pt idx="678">
                  <c:v>230950</c:v>
                </c:pt>
                <c:pt idx="679">
                  <c:v>226020</c:v>
                </c:pt>
                <c:pt idx="680">
                  <c:v>204520</c:v>
                </c:pt>
                <c:pt idx="681">
                  <c:v>203430</c:v>
                </c:pt>
                <c:pt idx="682">
                  <c:v>202910</c:v>
                </c:pt>
                <c:pt idx="683">
                  <c:v>203020</c:v>
                </c:pt>
                <c:pt idx="684">
                  <c:v>202950</c:v>
                </c:pt>
                <c:pt idx="685">
                  <c:v>204910</c:v>
                </c:pt>
                <c:pt idx="686">
                  <c:v>204920</c:v>
                </c:pt>
                <c:pt idx="687">
                  <c:v>204990</c:v>
                </c:pt>
                <c:pt idx="688">
                  <c:v>208020</c:v>
                </c:pt>
                <c:pt idx="689">
                  <c:v>213020</c:v>
                </c:pt>
                <c:pt idx="690">
                  <c:v>217020</c:v>
                </c:pt>
                <c:pt idx="691">
                  <c:v>218990</c:v>
                </c:pt>
                <c:pt idx="692">
                  <c:v>222960</c:v>
                </c:pt>
                <c:pt idx="693">
                  <c:v>227020</c:v>
                </c:pt>
                <c:pt idx="694">
                  <c:v>230020</c:v>
                </c:pt>
                <c:pt idx="695">
                  <c:v>219965</c:v>
                </c:pt>
                <c:pt idx="696">
                  <c:v>209910</c:v>
                </c:pt>
                <c:pt idx="697">
                  <c:v>216820</c:v>
                </c:pt>
                <c:pt idx="698">
                  <c:v>218020</c:v>
                </c:pt>
                <c:pt idx="699">
                  <c:v>220500</c:v>
                </c:pt>
                <c:pt idx="700">
                  <c:v>220520</c:v>
                </c:pt>
                <c:pt idx="701">
                  <c:v>219020</c:v>
                </c:pt>
                <c:pt idx="702">
                  <c:v>224490</c:v>
                </c:pt>
                <c:pt idx="703">
                  <c:v>225020</c:v>
                </c:pt>
                <c:pt idx="704">
                  <c:v>223930</c:v>
                </c:pt>
                <c:pt idx="705">
                  <c:v>225020</c:v>
                </c:pt>
                <c:pt idx="706">
                  <c:v>225020</c:v>
                </c:pt>
                <c:pt idx="707">
                  <c:v>224970</c:v>
                </c:pt>
                <c:pt idx="708">
                  <c:v>224820</c:v>
                </c:pt>
                <c:pt idx="709">
                  <c:v>224790</c:v>
                </c:pt>
                <c:pt idx="710">
                  <c:v>229960</c:v>
                </c:pt>
                <c:pt idx="711">
                  <c:v>231020</c:v>
                </c:pt>
                <c:pt idx="712">
                  <c:v>231520</c:v>
                </c:pt>
                <c:pt idx="713">
                  <c:v>229000</c:v>
                </c:pt>
                <c:pt idx="714">
                  <c:v>226960</c:v>
                </c:pt>
                <c:pt idx="715">
                  <c:v>224520</c:v>
                </c:pt>
                <c:pt idx="716">
                  <c:v>224520</c:v>
                </c:pt>
                <c:pt idx="717">
                  <c:v>226020</c:v>
                </c:pt>
                <c:pt idx="718">
                  <c:v>225970</c:v>
                </c:pt>
                <c:pt idx="719">
                  <c:v>227520</c:v>
                </c:pt>
                <c:pt idx="720">
                  <c:v>227490</c:v>
                </c:pt>
                <c:pt idx="721">
                  <c:v>228000</c:v>
                </c:pt>
                <c:pt idx="722">
                  <c:v>231570</c:v>
                </c:pt>
                <c:pt idx="723">
                  <c:v>234390</c:v>
                </c:pt>
                <c:pt idx="724">
                  <c:v>235920</c:v>
                </c:pt>
                <c:pt idx="725">
                  <c:v>266020</c:v>
                </c:pt>
                <c:pt idx="726">
                  <c:v>265980</c:v>
                </c:pt>
                <c:pt idx="727">
                  <c:v>267970</c:v>
                </c:pt>
                <c:pt idx="728">
                  <c:v>264480</c:v>
                </c:pt>
                <c:pt idx="729">
                  <c:v>272980</c:v>
                </c:pt>
                <c:pt idx="730">
                  <c:v>269450</c:v>
                </c:pt>
                <c:pt idx="731">
                  <c:v>272030</c:v>
                </c:pt>
                <c:pt idx="732">
                  <c:v>277980</c:v>
                </c:pt>
                <c:pt idx="733">
                  <c:v>277970</c:v>
                </c:pt>
                <c:pt idx="734">
                  <c:v>285060</c:v>
                </c:pt>
                <c:pt idx="735">
                  <c:v>287000</c:v>
                </c:pt>
                <c:pt idx="736">
                  <c:v>289470</c:v>
                </c:pt>
                <c:pt idx="737">
                  <c:v>285020</c:v>
                </c:pt>
                <c:pt idx="738">
                  <c:v>287520</c:v>
                </c:pt>
                <c:pt idx="739">
                  <c:v>289040</c:v>
                </c:pt>
                <c:pt idx="740">
                  <c:v>284490</c:v>
                </c:pt>
                <c:pt idx="741">
                  <c:v>269950</c:v>
                </c:pt>
                <c:pt idx="742">
                  <c:v>281990</c:v>
                </c:pt>
                <c:pt idx="743">
                  <c:v>292000</c:v>
                </c:pt>
                <c:pt idx="744">
                  <c:v>292020</c:v>
                </c:pt>
                <c:pt idx="745">
                  <c:v>299560</c:v>
                </c:pt>
                <c:pt idx="746">
                  <c:v>311450</c:v>
                </c:pt>
                <c:pt idx="747">
                  <c:v>303980</c:v>
                </c:pt>
                <c:pt idx="748">
                  <c:v>313000</c:v>
                </c:pt>
                <c:pt idx="749">
                  <c:v>314970</c:v>
                </c:pt>
                <c:pt idx="750">
                  <c:v>316960</c:v>
                </c:pt>
                <c:pt idx="751">
                  <c:v>318500</c:v>
                </c:pt>
                <c:pt idx="752">
                  <c:v>309000</c:v>
                </c:pt>
                <c:pt idx="753">
                  <c:v>275460</c:v>
                </c:pt>
                <c:pt idx="754">
                  <c:v>288050</c:v>
                </c:pt>
                <c:pt idx="755">
                  <c:v>293750</c:v>
                </c:pt>
                <c:pt idx="756">
                  <c:v>289990</c:v>
                </c:pt>
                <c:pt idx="757">
                  <c:v>279850</c:v>
                </c:pt>
                <c:pt idx="758">
                  <c:v>282320</c:v>
                </c:pt>
                <c:pt idx="759">
                  <c:v>278450</c:v>
                </c:pt>
                <c:pt idx="760">
                  <c:v>277500</c:v>
                </c:pt>
                <c:pt idx="761">
                  <c:v>268720</c:v>
                </c:pt>
                <c:pt idx="762">
                  <c:v>272030</c:v>
                </c:pt>
                <c:pt idx="763">
                  <c:v>282400</c:v>
                </c:pt>
                <c:pt idx="764">
                  <c:v>289350</c:v>
                </c:pt>
                <c:pt idx="765">
                  <c:v>263550</c:v>
                </c:pt>
                <c:pt idx="766">
                  <c:v>244970</c:v>
                </c:pt>
                <c:pt idx="767">
                  <c:v>235000</c:v>
                </c:pt>
                <c:pt idx="768">
                  <c:v>248030</c:v>
                </c:pt>
                <c:pt idx="769">
                  <c:v>271030</c:v>
                </c:pt>
                <c:pt idx="770">
                  <c:v>269980</c:v>
                </c:pt>
                <c:pt idx="771">
                  <c:v>268550</c:v>
                </c:pt>
                <c:pt idx="772">
                  <c:v>267470</c:v>
                </c:pt>
                <c:pt idx="773">
                  <c:v>260060</c:v>
                </c:pt>
                <c:pt idx="774">
                  <c:v>259030</c:v>
                </c:pt>
                <c:pt idx="775">
                  <c:v>258970</c:v>
                </c:pt>
                <c:pt idx="776">
                  <c:v>256230</c:v>
                </c:pt>
                <c:pt idx="777">
                  <c:v>256200</c:v>
                </c:pt>
                <c:pt idx="778">
                  <c:v>259540</c:v>
                </c:pt>
                <c:pt idx="779">
                  <c:v>254460</c:v>
                </c:pt>
                <c:pt idx="780">
                  <c:v>255520</c:v>
                </c:pt>
                <c:pt idx="781">
                  <c:v>250470</c:v>
                </c:pt>
                <c:pt idx="782">
                  <c:v>250560</c:v>
                </c:pt>
                <c:pt idx="783">
                  <c:v>247560</c:v>
                </c:pt>
                <c:pt idx="784">
                  <c:v>245570</c:v>
                </c:pt>
                <c:pt idx="785">
                  <c:v>250070</c:v>
                </c:pt>
                <c:pt idx="786">
                  <c:v>256210</c:v>
                </c:pt>
                <c:pt idx="787">
                  <c:v>256200</c:v>
                </c:pt>
                <c:pt idx="788">
                  <c:v>254660</c:v>
                </c:pt>
                <c:pt idx="789">
                  <c:v>255345</c:v>
                </c:pt>
                <c:pt idx="790">
                  <c:v>256030</c:v>
                </c:pt>
                <c:pt idx="791">
                  <c:v>255990</c:v>
                </c:pt>
                <c:pt idx="792">
                  <c:v>255950</c:v>
                </c:pt>
                <c:pt idx="793">
                  <c:v>259760</c:v>
                </c:pt>
                <c:pt idx="794">
                  <c:v>260650</c:v>
                </c:pt>
                <c:pt idx="795">
                  <c:v>260650</c:v>
                </c:pt>
                <c:pt idx="796">
                  <c:v>259950</c:v>
                </c:pt>
                <c:pt idx="797">
                  <c:v>258030</c:v>
                </c:pt>
                <c:pt idx="798">
                  <c:v>257020</c:v>
                </c:pt>
                <c:pt idx="799">
                  <c:v>258530</c:v>
                </c:pt>
                <c:pt idx="800">
                  <c:v>257940</c:v>
                </c:pt>
                <c:pt idx="801">
                  <c:v>258020</c:v>
                </c:pt>
                <c:pt idx="802">
                  <c:v>254990</c:v>
                </c:pt>
                <c:pt idx="803">
                  <c:v>253990</c:v>
                </c:pt>
                <c:pt idx="804">
                  <c:v>254480</c:v>
                </c:pt>
                <c:pt idx="805">
                  <c:v>255250</c:v>
                </c:pt>
                <c:pt idx="806">
                  <c:v>257790</c:v>
                </c:pt>
                <c:pt idx="807">
                  <c:v>258620</c:v>
                </c:pt>
                <c:pt idx="808">
                  <c:v>257130</c:v>
                </c:pt>
                <c:pt idx="809">
                  <c:v>257390</c:v>
                </c:pt>
                <c:pt idx="810">
                  <c:v>257430</c:v>
                </c:pt>
                <c:pt idx="811">
                  <c:v>257030</c:v>
                </c:pt>
                <c:pt idx="812">
                  <c:v>256970</c:v>
                </c:pt>
                <c:pt idx="813">
                  <c:v>257010</c:v>
                </c:pt>
                <c:pt idx="814">
                  <c:v>256150</c:v>
                </c:pt>
                <c:pt idx="815">
                  <c:v>255650</c:v>
                </c:pt>
                <c:pt idx="816">
                  <c:v>257670</c:v>
                </c:pt>
                <c:pt idx="817">
                  <c:v>259040</c:v>
                </c:pt>
                <c:pt idx="818">
                  <c:v>258480</c:v>
                </c:pt>
                <c:pt idx="819">
                  <c:v>255540</c:v>
                </c:pt>
                <c:pt idx="820">
                  <c:v>248680</c:v>
                </c:pt>
                <c:pt idx="821">
                  <c:v>248550</c:v>
                </c:pt>
                <c:pt idx="822">
                  <c:v>248550</c:v>
                </c:pt>
                <c:pt idx="823">
                  <c:v>248490</c:v>
                </c:pt>
                <c:pt idx="824">
                  <c:v>245040</c:v>
                </c:pt>
                <c:pt idx="825">
                  <c:v>239530</c:v>
                </c:pt>
                <c:pt idx="826">
                  <c:v>229490</c:v>
                </c:pt>
                <c:pt idx="827">
                  <c:v>217990</c:v>
                </c:pt>
                <c:pt idx="828">
                  <c:v>217860</c:v>
                </c:pt>
                <c:pt idx="829">
                  <c:v>227470</c:v>
                </c:pt>
                <c:pt idx="830">
                  <c:v>226550</c:v>
                </c:pt>
                <c:pt idx="831">
                  <c:v>224310</c:v>
                </c:pt>
                <c:pt idx="832">
                  <c:v>224270</c:v>
                </c:pt>
                <c:pt idx="833">
                  <c:v>224250</c:v>
                </c:pt>
                <c:pt idx="834">
                  <c:v>229185</c:v>
                </c:pt>
                <c:pt idx="835">
                  <c:v>234120</c:v>
                </c:pt>
                <c:pt idx="836">
                  <c:v>232110</c:v>
                </c:pt>
                <c:pt idx="837">
                  <c:v>237190</c:v>
                </c:pt>
                <c:pt idx="838">
                  <c:v>239180</c:v>
                </c:pt>
                <c:pt idx="839">
                  <c:v>238710</c:v>
                </c:pt>
                <c:pt idx="840">
                  <c:v>238730</c:v>
                </c:pt>
                <c:pt idx="841">
                  <c:v>237660</c:v>
                </c:pt>
                <c:pt idx="842">
                  <c:v>237470</c:v>
                </c:pt>
                <c:pt idx="843">
                  <c:v>237540</c:v>
                </c:pt>
                <c:pt idx="844">
                  <c:v>237010</c:v>
                </c:pt>
                <c:pt idx="845">
                  <c:v>236950</c:v>
                </c:pt>
                <c:pt idx="846">
                  <c:v>240940</c:v>
                </c:pt>
                <c:pt idx="847">
                  <c:v>246960</c:v>
                </c:pt>
                <c:pt idx="848">
                  <c:v>249810</c:v>
                </c:pt>
                <c:pt idx="849">
                  <c:v>249850</c:v>
                </c:pt>
                <c:pt idx="850">
                  <c:v>249830</c:v>
                </c:pt>
                <c:pt idx="851">
                  <c:v>249830</c:v>
                </c:pt>
                <c:pt idx="852">
                  <c:v>251690</c:v>
                </c:pt>
                <c:pt idx="853">
                  <c:v>251710</c:v>
                </c:pt>
                <c:pt idx="854">
                  <c:v>249920</c:v>
                </c:pt>
                <c:pt idx="855">
                  <c:v>242590</c:v>
                </c:pt>
                <c:pt idx="856">
                  <c:v>241870</c:v>
                </c:pt>
                <c:pt idx="857">
                  <c:v>246450</c:v>
                </c:pt>
                <c:pt idx="858">
                  <c:v>248110</c:v>
                </c:pt>
                <c:pt idx="859">
                  <c:v>248210</c:v>
                </c:pt>
                <c:pt idx="860">
                  <c:v>252380</c:v>
                </c:pt>
                <c:pt idx="861">
                  <c:v>247060</c:v>
                </c:pt>
                <c:pt idx="862">
                  <c:v>247580</c:v>
                </c:pt>
                <c:pt idx="863">
                  <c:v>244360</c:v>
                </c:pt>
                <c:pt idx="864">
                  <c:v>246770</c:v>
                </c:pt>
                <c:pt idx="865">
                  <c:v>246610</c:v>
                </c:pt>
                <c:pt idx="866">
                  <c:v>242730</c:v>
                </c:pt>
                <c:pt idx="867">
                  <c:v>239900</c:v>
                </c:pt>
                <c:pt idx="868">
                  <c:v>243320</c:v>
                </c:pt>
                <c:pt idx="869">
                  <c:v>242100</c:v>
                </c:pt>
                <c:pt idx="870">
                  <c:v>242070</c:v>
                </c:pt>
                <c:pt idx="871">
                  <c:v>242070</c:v>
                </c:pt>
                <c:pt idx="872">
                  <c:v>241780</c:v>
                </c:pt>
                <c:pt idx="873">
                  <c:v>239150</c:v>
                </c:pt>
                <c:pt idx="874">
                  <c:v>239170</c:v>
                </c:pt>
                <c:pt idx="875">
                  <c:v>240890</c:v>
                </c:pt>
                <c:pt idx="876">
                  <c:v>240400</c:v>
                </c:pt>
                <c:pt idx="877">
                  <c:v>239630</c:v>
                </c:pt>
                <c:pt idx="878">
                  <c:v>247560</c:v>
                </c:pt>
                <c:pt idx="879">
                  <c:v>252330</c:v>
                </c:pt>
                <c:pt idx="880">
                  <c:v>252540</c:v>
                </c:pt>
                <c:pt idx="881">
                  <c:v>252040</c:v>
                </c:pt>
                <c:pt idx="882">
                  <c:v>252100</c:v>
                </c:pt>
                <c:pt idx="883">
                  <c:v>244650</c:v>
                </c:pt>
                <c:pt idx="884">
                  <c:v>242720</c:v>
                </c:pt>
                <c:pt idx="885">
                  <c:v>244050</c:v>
                </c:pt>
                <c:pt idx="886">
                  <c:v>247110</c:v>
                </c:pt>
                <c:pt idx="887">
                  <c:v>244620</c:v>
                </c:pt>
                <c:pt idx="888">
                  <c:v>244660</c:v>
                </c:pt>
                <c:pt idx="889">
                  <c:v>241880</c:v>
                </c:pt>
                <c:pt idx="890">
                  <c:v>242850</c:v>
                </c:pt>
                <c:pt idx="891">
                  <c:v>242960</c:v>
                </c:pt>
                <c:pt idx="892">
                  <c:v>240900</c:v>
                </c:pt>
                <c:pt idx="893">
                  <c:v>242350</c:v>
                </c:pt>
                <c:pt idx="894">
                  <c:v>239870</c:v>
                </c:pt>
                <c:pt idx="895">
                  <c:v>239930</c:v>
                </c:pt>
                <c:pt idx="896">
                  <c:v>238820</c:v>
                </c:pt>
                <c:pt idx="897">
                  <c:v>238170</c:v>
                </c:pt>
                <c:pt idx="898">
                  <c:v>233740</c:v>
                </c:pt>
                <c:pt idx="899">
                  <c:v>233690</c:v>
                </c:pt>
                <c:pt idx="900">
                  <c:v>233300</c:v>
                </c:pt>
                <c:pt idx="901">
                  <c:v>233370</c:v>
                </c:pt>
                <c:pt idx="902">
                  <c:v>233390</c:v>
                </c:pt>
                <c:pt idx="903">
                  <c:v>232760</c:v>
                </c:pt>
                <c:pt idx="904">
                  <c:v>232610</c:v>
                </c:pt>
                <c:pt idx="905">
                  <c:v>232330</c:v>
                </c:pt>
                <c:pt idx="906">
                  <c:v>232310</c:v>
                </c:pt>
                <c:pt idx="907">
                  <c:v>229100</c:v>
                </c:pt>
                <c:pt idx="908">
                  <c:v>218380</c:v>
                </c:pt>
                <c:pt idx="909">
                  <c:v>217310</c:v>
                </c:pt>
                <c:pt idx="910">
                  <c:v>209450</c:v>
                </c:pt>
                <c:pt idx="911">
                  <c:v>206480</c:v>
                </c:pt>
                <c:pt idx="912">
                  <c:v>206370</c:v>
                </c:pt>
                <c:pt idx="913">
                  <c:v>207260</c:v>
                </c:pt>
                <c:pt idx="914">
                  <c:v>216130</c:v>
                </c:pt>
                <c:pt idx="915">
                  <c:v>221850</c:v>
                </c:pt>
                <c:pt idx="916">
                  <c:v>219750</c:v>
                </c:pt>
                <c:pt idx="917">
                  <c:v>216130</c:v>
                </c:pt>
                <c:pt idx="918">
                  <c:v>220500</c:v>
                </c:pt>
                <c:pt idx="919">
                  <c:v>224140</c:v>
                </c:pt>
                <c:pt idx="920">
                  <c:v>222190</c:v>
                </c:pt>
                <c:pt idx="921">
                  <c:v>225340</c:v>
                </c:pt>
                <c:pt idx="922">
                  <c:v>221790</c:v>
                </c:pt>
                <c:pt idx="923">
                  <c:v>223000</c:v>
                </c:pt>
                <c:pt idx="924">
                  <c:v>223490</c:v>
                </c:pt>
                <c:pt idx="925">
                  <c:v>223510</c:v>
                </c:pt>
                <c:pt idx="926">
                  <c:v>224110</c:v>
                </c:pt>
                <c:pt idx="927">
                  <c:v>224100</c:v>
                </c:pt>
                <c:pt idx="928">
                  <c:v>225160</c:v>
                </c:pt>
                <c:pt idx="929">
                  <c:v>226470</c:v>
                </c:pt>
                <c:pt idx="930">
                  <c:v>234660</c:v>
                </c:pt>
                <c:pt idx="931">
                  <c:v>238570</c:v>
                </c:pt>
                <c:pt idx="932">
                  <c:v>234060</c:v>
                </c:pt>
                <c:pt idx="933">
                  <c:v>234160</c:v>
                </c:pt>
                <c:pt idx="934">
                  <c:v>234240</c:v>
                </c:pt>
                <c:pt idx="935">
                  <c:v>234330</c:v>
                </c:pt>
                <c:pt idx="936">
                  <c:v>235950</c:v>
                </c:pt>
                <c:pt idx="937">
                  <c:v>235490</c:v>
                </c:pt>
                <c:pt idx="938">
                  <c:v>241440</c:v>
                </c:pt>
                <c:pt idx="939">
                  <c:v>239230</c:v>
                </c:pt>
                <c:pt idx="940">
                  <c:v>237750</c:v>
                </c:pt>
                <c:pt idx="941">
                  <c:v>241030</c:v>
                </c:pt>
                <c:pt idx="942">
                  <c:v>239720</c:v>
                </c:pt>
                <c:pt idx="943">
                  <c:v>240490</c:v>
                </c:pt>
                <c:pt idx="944">
                  <c:v>241750</c:v>
                </c:pt>
                <c:pt idx="945">
                  <c:v>244290</c:v>
                </c:pt>
                <c:pt idx="946">
                  <c:v>234890</c:v>
                </c:pt>
                <c:pt idx="947">
                  <c:v>239600</c:v>
                </c:pt>
                <c:pt idx="948">
                  <c:v>240990</c:v>
                </c:pt>
                <c:pt idx="949">
                  <c:v>242670</c:v>
                </c:pt>
                <c:pt idx="950">
                  <c:v>241790</c:v>
                </c:pt>
                <c:pt idx="951">
                  <c:v>241890</c:v>
                </c:pt>
                <c:pt idx="952">
                  <c:v>244540</c:v>
                </c:pt>
                <c:pt idx="953">
                  <c:v>246770</c:v>
                </c:pt>
                <c:pt idx="954">
                  <c:v>247120</c:v>
                </c:pt>
                <c:pt idx="955">
                  <c:v>249650</c:v>
                </c:pt>
                <c:pt idx="956">
                  <c:v>254000</c:v>
                </c:pt>
                <c:pt idx="957">
                  <c:v>251510</c:v>
                </c:pt>
                <c:pt idx="958">
                  <c:v>252360</c:v>
                </c:pt>
                <c:pt idx="959">
                  <c:v>251510</c:v>
                </c:pt>
                <c:pt idx="960">
                  <c:v>249720</c:v>
                </c:pt>
                <c:pt idx="961">
                  <c:v>251090</c:v>
                </c:pt>
                <c:pt idx="962">
                  <c:v>250860</c:v>
                </c:pt>
                <c:pt idx="963">
                  <c:v>250190</c:v>
                </c:pt>
                <c:pt idx="964">
                  <c:v>249490</c:v>
                </c:pt>
                <c:pt idx="965">
                  <c:v>249990</c:v>
                </c:pt>
                <c:pt idx="966">
                  <c:v>249690</c:v>
                </c:pt>
                <c:pt idx="967">
                  <c:v>247590</c:v>
                </c:pt>
                <c:pt idx="968">
                  <c:v>246040</c:v>
                </c:pt>
                <c:pt idx="969">
                  <c:v>246990</c:v>
                </c:pt>
                <c:pt idx="970">
                  <c:v>247290</c:v>
                </c:pt>
                <c:pt idx="971">
                  <c:v>245290</c:v>
                </c:pt>
                <c:pt idx="972">
                  <c:v>244640</c:v>
                </c:pt>
                <c:pt idx="973">
                  <c:v>246280</c:v>
                </c:pt>
                <c:pt idx="974">
                  <c:v>250490</c:v>
                </c:pt>
                <c:pt idx="975">
                  <c:v>251660</c:v>
                </c:pt>
                <c:pt idx="976">
                  <c:v>255990</c:v>
                </c:pt>
                <c:pt idx="977">
                  <c:v>255990</c:v>
                </c:pt>
                <c:pt idx="978">
                  <c:v>257290</c:v>
                </c:pt>
                <c:pt idx="979">
                  <c:v>254890</c:v>
                </c:pt>
                <c:pt idx="980">
                  <c:v>255190</c:v>
                </c:pt>
                <c:pt idx="981">
                  <c:v>257290</c:v>
                </c:pt>
                <c:pt idx="982">
                  <c:v>256190</c:v>
                </c:pt>
                <c:pt idx="983">
                  <c:v>256190</c:v>
                </c:pt>
                <c:pt idx="984">
                  <c:v>256380</c:v>
                </c:pt>
                <c:pt idx="985">
                  <c:v>256890</c:v>
                </c:pt>
                <c:pt idx="986">
                  <c:v>259090</c:v>
                </c:pt>
                <c:pt idx="987">
                  <c:v>263340</c:v>
                </c:pt>
                <c:pt idx="988">
                  <c:v>266090</c:v>
                </c:pt>
                <c:pt idx="989">
                  <c:v>264290</c:v>
                </c:pt>
                <c:pt idx="990">
                  <c:v>263190</c:v>
                </c:pt>
                <c:pt idx="991">
                  <c:v>268990</c:v>
                </c:pt>
                <c:pt idx="992">
                  <c:v>268990</c:v>
                </c:pt>
                <c:pt idx="993">
                  <c:v>274490</c:v>
                </c:pt>
                <c:pt idx="994">
                  <c:v>276590</c:v>
                </c:pt>
                <c:pt idx="995">
                  <c:v>276530</c:v>
                </c:pt>
                <c:pt idx="996">
                  <c:v>278490</c:v>
                </c:pt>
                <c:pt idx="997">
                  <c:v>278990</c:v>
                </c:pt>
                <c:pt idx="998">
                  <c:v>282010</c:v>
                </c:pt>
                <c:pt idx="999">
                  <c:v>276080</c:v>
                </c:pt>
                <c:pt idx="1000">
                  <c:v>270640</c:v>
                </c:pt>
                <c:pt idx="1001">
                  <c:v>274220</c:v>
                </c:pt>
                <c:pt idx="1002">
                  <c:v>270350</c:v>
                </c:pt>
                <c:pt idx="1003">
                  <c:v>272910</c:v>
                </c:pt>
                <c:pt idx="1004">
                  <c:v>270310</c:v>
                </c:pt>
                <c:pt idx="1005">
                  <c:v>270680</c:v>
                </c:pt>
                <c:pt idx="1006">
                  <c:v>271210</c:v>
                </c:pt>
                <c:pt idx="1007">
                  <c:v>273810</c:v>
                </c:pt>
                <c:pt idx="1008">
                  <c:v>276810</c:v>
                </c:pt>
                <c:pt idx="1009">
                  <c:v>278270</c:v>
                </c:pt>
                <c:pt idx="1010">
                  <c:v>277310</c:v>
                </c:pt>
                <c:pt idx="1011">
                  <c:v>272510</c:v>
                </c:pt>
                <c:pt idx="1012">
                  <c:v>273110</c:v>
                </c:pt>
                <c:pt idx="1013">
                  <c:v>276470</c:v>
                </c:pt>
                <c:pt idx="1014">
                  <c:v>273210</c:v>
                </c:pt>
                <c:pt idx="1015">
                  <c:v>274460</c:v>
                </c:pt>
                <c:pt idx="1016">
                  <c:v>273710</c:v>
                </c:pt>
                <c:pt idx="1017">
                  <c:v>274650</c:v>
                </c:pt>
                <c:pt idx="1018">
                  <c:v>273810</c:v>
                </c:pt>
                <c:pt idx="1019">
                  <c:v>274030</c:v>
                </c:pt>
                <c:pt idx="1020">
                  <c:v>275210</c:v>
                </c:pt>
                <c:pt idx="1021">
                  <c:v>276810</c:v>
                </c:pt>
                <c:pt idx="1022">
                  <c:v>275610</c:v>
                </c:pt>
                <c:pt idx="1023">
                  <c:v>276810</c:v>
                </c:pt>
                <c:pt idx="1024">
                  <c:v>280710</c:v>
                </c:pt>
                <c:pt idx="1025">
                  <c:v>282510</c:v>
                </c:pt>
                <c:pt idx="1026">
                  <c:v>284710</c:v>
                </c:pt>
                <c:pt idx="1027">
                  <c:v>282010</c:v>
                </c:pt>
                <c:pt idx="1028">
                  <c:v>280410</c:v>
                </c:pt>
                <c:pt idx="1029">
                  <c:v>281360</c:v>
                </c:pt>
                <c:pt idx="1030">
                  <c:v>279320</c:v>
                </c:pt>
                <c:pt idx="1031">
                  <c:v>279320</c:v>
                </c:pt>
                <c:pt idx="1032">
                  <c:v>275600</c:v>
                </c:pt>
                <c:pt idx="1033">
                  <c:v>275810</c:v>
                </c:pt>
                <c:pt idx="1034">
                  <c:v>273330</c:v>
                </c:pt>
                <c:pt idx="1035">
                  <c:v>270730</c:v>
                </c:pt>
                <c:pt idx="1036">
                  <c:v>271560</c:v>
                </c:pt>
                <c:pt idx="1037">
                  <c:v>270870</c:v>
                </c:pt>
                <c:pt idx="1038">
                  <c:v>272850</c:v>
                </c:pt>
                <c:pt idx="1039">
                  <c:v>271820</c:v>
                </c:pt>
                <c:pt idx="1040">
                  <c:v>272640</c:v>
                </c:pt>
                <c:pt idx="1041">
                  <c:v>274830</c:v>
                </c:pt>
                <c:pt idx="1042">
                  <c:v>273080</c:v>
                </c:pt>
                <c:pt idx="1043">
                  <c:v>274150</c:v>
                </c:pt>
                <c:pt idx="1044">
                  <c:v>276030</c:v>
                </c:pt>
                <c:pt idx="1045">
                  <c:v>275620</c:v>
                </c:pt>
                <c:pt idx="1046">
                  <c:v>275770</c:v>
                </c:pt>
                <c:pt idx="1047">
                  <c:v>276780</c:v>
                </c:pt>
                <c:pt idx="1048">
                  <c:v>276570</c:v>
                </c:pt>
                <c:pt idx="1049">
                  <c:v>276140</c:v>
                </c:pt>
                <c:pt idx="1050">
                  <c:v>275750</c:v>
                </c:pt>
                <c:pt idx="1051">
                  <c:v>275070</c:v>
                </c:pt>
                <c:pt idx="1052">
                  <c:v>276010</c:v>
                </c:pt>
                <c:pt idx="1053">
                  <c:v>278970</c:v>
                </c:pt>
                <c:pt idx="1054">
                  <c:v>276510</c:v>
                </c:pt>
                <c:pt idx="1055">
                  <c:v>278240</c:v>
                </c:pt>
                <c:pt idx="1056">
                  <c:v>279910</c:v>
                </c:pt>
                <c:pt idx="1057">
                  <c:v>280240</c:v>
                </c:pt>
                <c:pt idx="1058">
                  <c:v>281060</c:v>
                </c:pt>
                <c:pt idx="1059">
                  <c:v>283660</c:v>
                </c:pt>
                <c:pt idx="1060">
                  <c:v>284240</c:v>
                </c:pt>
                <c:pt idx="1061">
                  <c:v>286400</c:v>
                </c:pt>
                <c:pt idx="1062">
                  <c:v>285230</c:v>
                </c:pt>
                <c:pt idx="1063">
                  <c:v>280280</c:v>
                </c:pt>
                <c:pt idx="1064">
                  <c:v>279930</c:v>
                </c:pt>
                <c:pt idx="1065">
                  <c:v>279700</c:v>
                </c:pt>
                <c:pt idx="1066">
                  <c:v>278980</c:v>
                </c:pt>
                <c:pt idx="1067">
                  <c:v>280470</c:v>
                </c:pt>
                <c:pt idx="1068">
                  <c:v>282960</c:v>
                </c:pt>
                <c:pt idx="1069">
                  <c:v>283870</c:v>
                </c:pt>
                <c:pt idx="1070">
                  <c:v>286010</c:v>
                </c:pt>
                <c:pt idx="1071">
                  <c:v>291020</c:v>
                </c:pt>
                <c:pt idx="1072">
                  <c:v>288080</c:v>
                </c:pt>
                <c:pt idx="1073">
                  <c:v>297722.7</c:v>
                </c:pt>
                <c:pt idx="1074">
                  <c:v>291109.5</c:v>
                </c:pt>
                <c:pt idx="1075">
                  <c:v>289040.40000000002</c:v>
                </c:pt>
                <c:pt idx="1076">
                  <c:v>289070</c:v>
                </c:pt>
                <c:pt idx="1077">
                  <c:v>293000</c:v>
                </c:pt>
                <c:pt idx="1078">
                  <c:v>294500</c:v>
                </c:pt>
                <c:pt idx="1079">
                  <c:v>304000</c:v>
                </c:pt>
                <c:pt idx="1080">
                  <c:v>305300</c:v>
                </c:pt>
                <c:pt idx="1081">
                  <c:v>310500</c:v>
                </c:pt>
                <c:pt idx="1082">
                  <c:v>309000</c:v>
                </c:pt>
                <c:pt idx="1083">
                  <c:v>307500</c:v>
                </c:pt>
                <c:pt idx="1084">
                  <c:v>307200</c:v>
                </c:pt>
                <c:pt idx="1085">
                  <c:v>305000</c:v>
                </c:pt>
                <c:pt idx="1086">
                  <c:v>300800</c:v>
                </c:pt>
                <c:pt idx="1087">
                  <c:v>294500</c:v>
                </c:pt>
                <c:pt idx="1088">
                  <c:v>302300</c:v>
                </c:pt>
                <c:pt idx="1089">
                  <c:v>300700</c:v>
                </c:pt>
                <c:pt idx="1090">
                  <c:v>299900</c:v>
                </c:pt>
                <c:pt idx="1091">
                  <c:v>298500</c:v>
                </c:pt>
                <c:pt idx="1092">
                  <c:v>298900</c:v>
                </c:pt>
                <c:pt idx="1093">
                  <c:v>301800</c:v>
                </c:pt>
                <c:pt idx="1094">
                  <c:v>302400</c:v>
                </c:pt>
                <c:pt idx="1095">
                  <c:v>302500</c:v>
                </c:pt>
                <c:pt idx="1096">
                  <c:v>300600</c:v>
                </c:pt>
                <c:pt idx="1097">
                  <c:v>308500</c:v>
                </c:pt>
                <c:pt idx="1098">
                  <c:v>300200</c:v>
                </c:pt>
                <c:pt idx="1099">
                  <c:v>299500</c:v>
                </c:pt>
                <c:pt idx="1100">
                  <c:v>297200</c:v>
                </c:pt>
                <c:pt idx="1101">
                  <c:v>298300</c:v>
                </c:pt>
                <c:pt idx="1102">
                  <c:v>300000</c:v>
                </c:pt>
                <c:pt idx="1103">
                  <c:v>296800</c:v>
                </c:pt>
                <c:pt idx="1104">
                  <c:v>295400</c:v>
                </c:pt>
                <c:pt idx="1105">
                  <c:v>292500</c:v>
                </c:pt>
                <c:pt idx="1106">
                  <c:v>290800</c:v>
                </c:pt>
                <c:pt idx="1107">
                  <c:v>287600</c:v>
                </c:pt>
                <c:pt idx="1108">
                  <c:v>289700</c:v>
                </c:pt>
                <c:pt idx="1109">
                  <c:v>280000</c:v>
                </c:pt>
                <c:pt idx="1110">
                  <c:v>275500</c:v>
                </c:pt>
                <c:pt idx="1111">
                  <c:v>281300</c:v>
                </c:pt>
                <c:pt idx="1112">
                  <c:v>282000</c:v>
                </c:pt>
                <c:pt idx="1113">
                  <c:v>278800</c:v>
                </c:pt>
                <c:pt idx="1114">
                  <c:v>281500</c:v>
                </c:pt>
                <c:pt idx="1115">
                  <c:v>278600</c:v>
                </c:pt>
                <c:pt idx="1116">
                  <c:v>277200</c:v>
                </c:pt>
                <c:pt idx="1117">
                  <c:v>272800</c:v>
                </c:pt>
                <c:pt idx="1118">
                  <c:v>277600</c:v>
                </c:pt>
                <c:pt idx="1119">
                  <c:v>279200</c:v>
                </c:pt>
                <c:pt idx="1120">
                  <c:v>281000</c:v>
                </c:pt>
                <c:pt idx="1121">
                  <c:v>278800</c:v>
                </c:pt>
                <c:pt idx="1122">
                  <c:v>280300</c:v>
                </c:pt>
                <c:pt idx="1123">
                  <c:v>281500</c:v>
                </c:pt>
                <c:pt idx="1124">
                  <c:v>281000</c:v>
                </c:pt>
                <c:pt idx="1125">
                  <c:v>279500</c:v>
                </c:pt>
                <c:pt idx="1126">
                  <c:v>280000</c:v>
                </c:pt>
                <c:pt idx="1127">
                  <c:v>281300</c:v>
                </c:pt>
                <c:pt idx="1128">
                  <c:v>281400</c:v>
                </c:pt>
                <c:pt idx="1129">
                  <c:v>279000</c:v>
                </c:pt>
                <c:pt idx="1130">
                  <c:v>277800</c:v>
                </c:pt>
                <c:pt idx="1131">
                  <c:v>275500</c:v>
                </c:pt>
                <c:pt idx="1132">
                  <c:v>275400</c:v>
                </c:pt>
                <c:pt idx="1133">
                  <c:v>264500</c:v>
                </c:pt>
                <c:pt idx="1134">
                  <c:v>270300</c:v>
                </c:pt>
                <c:pt idx="1135">
                  <c:v>266200</c:v>
                </c:pt>
                <c:pt idx="1136">
                  <c:v>266500</c:v>
                </c:pt>
                <c:pt idx="1137">
                  <c:v>266000</c:v>
                </c:pt>
                <c:pt idx="1138">
                  <c:v>265000</c:v>
                </c:pt>
                <c:pt idx="1139">
                  <c:v>269200</c:v>
                </c:pt>
                <c:pt idx="1140">
                  <c:v>272700</c:v>
                </c:pt>
                <c:pt idx="1141">
                  <c:v>272500</c:v>
                </c:pt>
                <c:pt idx="1142">
                  <c:v>268400</c:v>
                </c:pt>
                <c:pt idx="1143">
                  <c:v>261800</c:v>
                </c:pt>
                <c:pt idx="1144">
                  <c:v>262000</c:v>
                </c:pt>
                <c:pt idx="1145">
                  <c:v>257500</c:v>
                </c:pt>
                <c:pt idx="1146">
                  <c:v>260800</c:v>
                </c:pt>
                <c:pt idx="1147">
                  <c:v>263000</c:v>
                </c:pt>
                <c:pt idx="1148">
                  <c:v>262500</c:v>
                </c:pt>
                <c:pt idx="1149">
                  <c:v>263500</c:v>
                </c:pt>
                <c:pt idx="1150">
                  <c:v>263200</c:v>
                </c:pt>
                <c:pt idx="1151">
                  <c:v>263200</c:v>
                </c:pt>
                <c:pt idx="1152">
                  <c:v>260500</c:v>
                </c:pt>
                <c:pt idx="1153">
                  <c:v>261200</c:v>
                </c:pt>
                <c:pt idx="1154">
                  <c:v>260500</c:v>
                </c:pt>
                <c:pt idx="1155">
                  <c:v>257000</c:v>
                </c:pt>
                <c:pt idx="1156">
                  <c:v>256000</c:v>
                </c:pt>
                <c:pt idx="1157">
                  <c:v>260000</c:v>
                </c:pt>
                <c:pt idx="1158">
                  <c:v>261000</c:v>
                </c:pt>
                <c:pt idx="1159">
                  <c:v>257900</c:v>
                </c:pt>
                <c:pt idx="1160">
                  <c:v>258500</c:v>
                </c:pt>
                <c:pt idx="1161">
                  <c:v>259500</c:v>
                </c:pt>
                <c:pt idx="1162">
                  <c:v>264200</c:v>
                </c:pt>
                <c:pt idx="1163">
                  <c:v>264200</c:v>
                </c:pt>
                <c:pt idx="1164">
                  <c:v>265000</c:v>
                </c:pt>
                <c:pt idx="1165">
                  <c:v>262200</c:v>
                </c:pt>
                <c:pt idx="1166">
                  <c:v>262700</c:v>
                </c:pt>
                <c:pt idx="1167">
                  <c:v>262800</c:v>
                </c:pt>
                <c:pt idx="1168">
                  <c:v>262400</c:v>
                </c:pt>
                <c:pt idx="1169">
                  <c:v>264200</c:v>
                </c:pt>
                <c:pt idx="1170">
                  <c:v>266000</c:v>
                </c:pt>
                <c:pt idx="1171">
                  <c:v>271200</c:v>
                </c:pt>
                <c:pt idx="1172">
                  <c:v>269200</c:v>
                </c:pt>
                <c:pt idx="1173">
                  <c:v>270500</c:v>
                </c:pt>
                <c:pt idx="1174">
                  <c:v>269500</c:v>
                </c:pt>
                <c:pt idx="1175">
                  <c:v>269880</c:v>
                </c:pt>
                <c:pt idx="1176">
                  <c:v>275270</c:v>
                </c:pt>
                <c:pt idx="1177">
                  <c:v>275200</c:v>
                </c:pt>
                <c:pt idx="1178">
                  <c:v>276800</c:v>
                </c:pt>
                <c:pt idx="1179">
                  <c:v>277500</c:v>
                </c:pt>
                <c:pt idx="1180">
                  <c:v>279800</c:v>
                </c:pt>
                <c:pt idx="1181">
                  <c:v>280800</c:v>
                </c:pt>
                <c:pt idx="1182">
                  <c:v>281200</c:v>
                </c:pt>
                <c:pt idx="1183">
                  <c:v>278000</c:v>
                </c:pt>
                <c:pt idx="1184">
                  <c:v>275000</c:v>
                </c:pt>
                <c:pt idx="1185">
                  <c:v>279200</c:v>
                </c:pt>
                <c:pt idx="1186">
                  <c:v>278500</c:v>
                </c:pt>
                <c:pt idx="1187">
                  <c:v>276500</c:v>
                </c:pt>
                <c:pt idx="1188">
                  <c:v>275700</c:v>
                </c:pt>
                <c:pt idx="1189">
                  <c:v>277400</c:v>
                </c:pt>
                <c:pt idx="1190">
                  <c:v>278600</c:v>
                </c:pt>
                <c:pt idx="1191">
                  <c:v>277900</c:v>
                </c:pt>
                <c:pt idx="1192">
                  <c:v>278600</c:v>
                </c:pt>
                <c:pt idx="1193">
                  <c:v>279400</c:v>
                </c:pt>
                <c:pt idx="1194">
                  <c:v>280900</c:v>
                </c:pt>
                <c:pt idx="1195">
                  <c:v>281700</c:v>
                </c:pt>
                <c:pt idx="1196">
                  <c:v>281000</c:v>
                </c:pt>
                <c:pt idx="1197">
                  <c:v>279560</c:v>
                </c:pt>
                <c:pt idx="1198">
                  <c:v>280210</c:v>
                </c:pt>
                <c:pt idx="1199">
                  <c:v>280560</c:v>
                </c:pt>
                <c:pt idx="1200">
                  <c:v>284000</c:v>
                </c:pt>
                <c:pt idx="1201">
                  <c:v>284200</c:v>
                </c:pt>
                <c:pt idx="1202">
                  <c:v>282290</c:v>
                </c:pt>
                <c:pt idx="1203">
                  <c:v>294200</c:v>
                </c:pt>
                <c:pt idx="1204">
                  <c:v>298700</c:v>
                </c:pt>
                <c:pt idx="1205">
                  <c:v>308200</c:v>
                </c:pt>
                <c:pt idx="1206">
                  <c:v>302200</c:v>
                </c:pt>
                <c:pt idx="1207">
                  <c:v>306500</c:v>
                </c:pt>
                <c:pt idx="1208">
                  <c:v>305800</c:v>
                </c:pt>
                <c:pt idx="1209">
                  <c:v>302000</c:v>
                </c:pt>
                <c:pt idx="1210">
                  <c:v>300000</c:v>
                </c:pt>
                <c:pt idx="1211">
                  <c:v>301800</c:v>
                </c:pt>
                <c:pt idx="1212">
                  <c:v>303500</c:v>
                </c:pt>
                <c:pt idx="1213">
                  <c:v>303000</c:v>
                </c:pt>
                <c:pt idx="1214">
                  <c:v>303500</c:v>
                </c:pt>
                <c:pt idx="1215">
                  <c:v>301500</c:v>
                </c:pt>
                <c:pt idx="1216">
                  <c:v>302500</c:v>
                </c:pt>
                <c:pt idx="1217">
                  <c:v>304500</c:v>
                </c:pt>
                <c:pt idx="1218">
                  <c:v>305500</c:v>
                </c:pt>
                <c:pt idx="1219">
                  <c:v>308300</c:v>
                </c:pt>
                <c:pt idx="1220">
                  <c:v>311000</c:v>
                </c:pt>
                <c:pt idx="1221">
                  <c:v>311500</c:v>
                </c:pt>
                <c:pt idx="1222">
                  <c:v>318000</c:v>
                </c:pt>
                <c:pt idx="1223">
                  <c:v>316200</c:v>
                </c:pt>
                <c:pt idx="1224">
                  <c:v>316000</c:v>
                </c:pt>
                <c:pt idx="1225">
                  <c:v>319500</c:v>
                </c:pt>
                <c:pt idx="1226">
                  <c:v>317800</c:v>
                </c:pt>
                <c:pt idx="1227">
                  <c:v>322200</c:v>
                </c:pt>
                <c:pt idx="1228">
                  <c:v>328500</c:v>
                </c:pt>
                <c:pt idx="1229">
                  <c:v>331200</c:v>
                </c:pt>
                <c:pt idx="1230">
                  <c:v>328700</c:v>
                </c:pt>
                <c:pt idx="1231">
                  <c:v>320500</c:v>
                </c:pt>
                <c:pt idx="1232">
                  <c:v>318000</c:v>
                </c:pt>
                <c:pt idx="1233">
                  <c:v>322000</c:v>
                </c:pt>
                <c:pt idx="1234">
                  <c:v>321000</c:v>
                </c:pt>
                <c:pt idx="1235">
                  <c:v>317700</c:v>
                </c:pt>
                <c:pt idx="1236">
                  <c:v>317900</c:v>
                </c:pt>
                <c:pt idx="1237">
                  <c:v>321000</c:v>
                </c:pt>
                <c:pt idx="1238">
                  <c:v>319000</c:v>
                </c:pt>
                <c:pt idx="1239">
                  <c:v>318000</c:v>
                </c:pt>
                <c:pt idx="1240">
                  <c:v>311800</c:v>
                </c:pt>
                <c:pt idx="1241">
                  <c:v>303000</c:v>
                </c:pt>
                <c:pt idx="1242">
                  <c:v>307200</c:v>
                </c:pt>
                <c:pt idx="1243">
                  <c:v>312500</c:v>
                </c:pt>
                <c:pt idx="1244">
                  <c:v>321200</c:v>
                </c:pt>
                <c:pt idx="1245">
                  <c:v>327500</c:v>
                </c:pt>
                <c:pt idx="1246">
                  <c:v>317500</c:v>
                </c:pt>
                <c:pt idx="1247">
                  <c:v>317000</c:v>
                </c:pt>
                <c:pt idx="1248">
                  <c:v>312800</c:v>
                </c:pt>
                <c:pt idx="1249">
                  <c:v>313800</c:v>
                </c:pt>
                <c:pt idx="1250">
                  <c:v>315000</c:v>
                </c:pt>
                <c:pt idx="1251">
                  <c:v>320500</c:v>
                </c:pt>
                <c:pt idx="1252">
                  <c:v>320000</c:v>
                </c:pt>
                <c:pt idx="1253">
                  <c:v>317500</c:v>
                </c:pt>
                <c:pt idx="1254">
                  <c:v>317500</c:v>
                </c:pt>
                <c:pt idx="1255">
                  <c:v>319500</c:v>
                </c:pt>
                <c:pt idx="1256">
                  <c:v>320200</c:v>
                </c:pt>
                <c:pt idx="1257">
                  <c:v>319500</c:v>
                </c:pt>
                <c:pt idx="1258">
                  <c:v>318400</c:v>
                </c:pt>
                <c:pt idx="1259">
                  <c:v>319300</c:v>
                </c:pt>
                <c:pt idx="1260">
                  <c:v>319200</c:v>
                </c:pt>
                <c:pt idx="1261">
                  <c:v>319200</c:v>
                </c:pt>
                <c:pt idx="1262">
                  <c:v>319400</c:v>
                </c:pt>
                <c:pt idx="1263">
                  <c:v>317200</c:v>
                </c:pt>
                <c:pt idx="1264">
                  <c:v>318000</c:v>
                </c:pt>
                <c:pt idx="1265">
                  <c:v>316100</c:v>
                </c:pt>
                <c:pt idx="1266">
                  <c:v>312200</c:v>
                </c:pt>
                <c:pt idx="1267">
                  <c:v>314500</c:v>
                </c:pt>
                <c:pt idx="1268">
                  <c:v>315700</c:v>
                </c:pt>
                <c:pt idx="1269">
                  <c:v>310200</c:v>
                </c:pt>
                <c:pt idx="1270">
                  <c:v>312000</c:v>
                </c:pt>
                <c:pt idx="1271">
                  <c:v>302500</c:v>
                </c:pt>
                <c:pt idx="1272">
                  <c:v>305000</c:v>
                </c:pt>
                <c:pt idx="1273">
                  <c:v>302200</c:v>
                </c:pt>
                <c:pt idx="1274">
                  <c:v>301200</c:v>
                </c:pt>
                <c:pt idx="1275">
                  <c:v>299200</c:v>
                </c:pt>
                <c:pt idx="1276">
                  <c:v>298200</c:v>
                </c:pt>
                <c:pt idx="1277">
                  <c:v>284000</c:v>
                </c:pt>
                <c:pt idx="1278">
                  <c:v>289700</c:v>
                </c:pt>
                <c:pt idx="1279">
                  <c:v>293500</c:v>
                </c:pt>
                <c:pt idx="1280">
                  <c:v>292700</c:v>
                </c:pt>
                <c:pt idx="1281">
                  <c:v>293700</c:v>
                </c:pt>
                <c:pt idx="1282">
                  <c:v>297000</c:v>
                </c:pt>
                <c:pt idx="1283">
                  <c:v>298000</c:v>
                </c:pt>
                <c:pt idx="1284">
                  <c:v>296000</c:v>
                </c:pt>
                <c:pt idx="1285">
                  <c:v>298000</c:v>
                </c:pt>
                <c:pt idx="1286">
                  <c:v>299300</c:v>
                </c:pt>
                <c:pt idx="1287">
                  <c:v>299700</c:v>
                </c:pt>
                <c:pt idx="1288">
                  <c:v>297700</c:v>
                </c:pt>
                <c:pt idx="1289">
                  <c:v>301000</c:v>
                </c:pt>
                <c:pt idx="1290">
                  <c:v>302400</c:v>
                </c:pt>
                <c:pt idx="1291">
                  <c:v>302000</c:v>
                </c:pt>
                <c:pt idx="1292">
                  <c:v>301200</c:v>
                </c:pt>
                <c:pt idx="1293">
                  <c:v>302200</c:v>
                </c:pt>
                <c:pt idx="1294">
                  <c:v>302600</c:v>
                </c:pt>
                <c:pt idx="1295">
                  <c:v>303800</c:v>
                </c:pt>
                <c:pt idx="1296">
                  <c:v>309200</c:v>
                </c:pt>
                <c:pt idx="1297">
                  <c:v>310000</c:v>
                </c:pt>
                <c:pt idx="1298">
                  <c:v>315800</c:v>
                </c:pt>
                <c:pt idx="1299">
                  <c:v>315200</c:v>
                </c:pt>
                <c:pt idx="1300">
                  <c:v>315800</c:v>
                </c:pt>
                <c:pt idx="1301">
                  <c:v>315300</c:v>
                </c:pt>
                <c:pt idx="1302">
                  <c:v>317300</c:v>
                </c:pt>
                <c:pt idx="1303">
                  <c:v>316700</c:v>
                </c:pt>
                <c:pt idx="1304">
                  <c:v>317200</c:v>
                </c:pt>
                <c:pt idx="1305">
                  <c:v>317200</c:v>
                </c:pt>
                <c:pt idx="1306">
                  <c:v>317200</c:v>
                </c:pt>
                <c:pt idx="1307">
                  <c:v>316800</c:v>
                </c:pt>
                <c:pt idx="1308">
                  <c:v>318000</c:v>
                </c:pt>
                <c:pt idx="1309">
                  <c:v>321500</c:v>
                </c:pt>
                <c:pt idx="1310">
                  <c:v>332500</c:v>
                </c:pt>
                <c:pt idx="1311">
                  <c:v>331300</c:v>
                </c:pt>
                <c:pt idx="1312">
                  <c:v>333500</c:v>
                </c:pt>
                <c:pt idx="1313">
                  <c:v>331000</c:v>
                </c:pt>
                <c:pt idx="1314">
                  <c:v>329000</c:v>
                </c:pt>
                <c:pt idx="1315">
                  <c:v>325800</c:v>
                </c:pt>
                <c:pt idx="1316">
                  <c:v>323800</c:v>
                </c:pt>
                <c:pt idx="1317">
                  <c:v>325500</c:v>
                </c:pt>
                <c:pt idx="1318">
                  <c:v>327800</c:v>
                </c:pt>
                <c:pt idx="1319">
                  <c:v>326400</c:v>
                </c:pt>
                <c:pt idx="1320">
                  <c:v>329300</c:v>
                </c:pt>
                <c:pt idx="1321">
                  <c:v>327500</c:v>
                </c:pt>
                <c:pt idx="1322">
                  <c:v>330500</c:v>
                </c:pt>
                <c:pt idx="1323">
                  <c:v>328500</c:v>
                </c:pt>
                <c:pt idx="1324">
                  <c:v>328500</c:v>
                </c:pt>
                <c:pt idx="1325">
                  <c:v>327200</c:v>
                </c:pt>
                <c:pt idx="1326">
                  <c:v>326300</c:v>
                </c:pt>
                <c:pt idx="1327">
                  <c:v>328000</c:v>
                </c:pt>
                <c:pt idx="1328">
                  <c:v>327200</c:v>
                </c:pt>
                <c:pt idx="1329">
                  <c:v>327700</c:v>
                </c:pt>
                <c:pt idx="1330">
                  <c:v>328500</c:v>
                </c:pt>
                <c:pt idx="1331">
                  <c:v>330200</c:v>
                </c:pt>
                <c:pt idx="1332">
                  <c:v>330200</c:v>
                </c:pt>
                <c:pt idx="1333">
                  <c:v>329100</c:v>
                </c:pt>
                <c:pt idx="1334">
                  <c:v>330000</c:v>
                </c:pt>
                <c:pt idx="1335">
                  <c:v>333600</c:v>
                </c:pt>
                <c:pt idx="1336">
                  <c:v>337800</c:v>
                </c:pt>
                <c:pt idx="1337">
                  <c:v>347200</c:v>
                </c:pt>
                <c:pt idx="1338">
                  <c:v>350800</c:v>
                </c:pt>
                <c:pt idx="1339">
                  <c:v>360000</c:v>
                </c:pt>
                <c:pt idx="1340">
                  <c:v>361500</c:v>
                </c:pt>
                <c:pt idx="1341">
                  <c:v>368800</c:v>
                </c:pt>
                <c:pt idx="1342">
                  <c:v>361000</c:v>
                </c:pt>
                <c:pt idx="1343">
                  <c:v>355200</c:v>
                </c:pt>
                <c:pt idx="1344">
                  <c:v>351500</c:v>
                </c:pt>
                <c:pt idx="1345">
                  <c:v>351000</c:v>
                </c:pt>
                <c:pt idx="1346">
                  <c:v>355000</c:v>
                </c:pt>
                <c:pt idx="1347">
                  <c:v>357300</c:v>
                </c:pt>
                <c:pt idx="1348">
                  <c:v>358300</c:v>
                </c:pt>
                <c:pt idx="1349">
                  <c:v>355700</c:v>
                </c:pt>
                <c:pt idx="1350">
                  <c:v>352500</c:v>
                </c:pt>
                <c:pt idx="1351">
                  <c:v>353600</c:v>
                </c:pt>
                <c:pt idx="1352">
                  <c:v>353200</c:v>
                </c:pt>
                <c:pt idx="1353">
                  <c:v>353500</c:v>
                </c:pt>
                <c:pt idx="1354">
                  <c:v>355000</c:v>
                </c:pt>
                <c:pt idx="1355">
                  <c:v>352500</c:v>
                </c:pt>
                <c:pt idx="1356">
                  <c:v>353000</c:v>
                </c:pt>
                <c:pt idx="1357">
                  <c:v>356500</c:v>
                </c:pt>
                <c:pt idx="1358">
                  <c:v>360000</c:v>
                </c:pt>
                <c:pt idx="1359">
                  <c:v>360500</c:v>
                </c:pt>
                <c:pt idx="1360">
                  <c:v>359000</c:v>
                </c:pt>
                <c:pt idx="1361">
                  <c:v>363500</c:v>
                </c:pt>
                <c:pt idx="1362">
                  <c:v>361600</c:v>
                </c:pt>
                <c:pt idx="1363">
                  <c:v>361200</c:v>
                </c:pt>
                <c:pt idx="1364">
                  <c:v>363200</c:v>
                </c:pt>
                <c:pt idx="1365">
                  <c:v>363500</c:v>
                </c:pt>
                <c:pt idx="1366">
                  <c:v>362000</c:v>
                </c:pt>
                <c:pt idx="1367">
                  <c:v>362600</c:v>
                </c:pt>
                <c:pt idx="1368">
                  <c:v>364700</c:v>
                </c:pt>
                <c:pt idx="1369">
                  <c:v>370000</c:v>
                </c:pt>
                <c:pt idx="1370">
                  <c:v>374000</c:v>
                </c:pt>
                <c:pt idx="1371">
                  <c:v>379500</c:v>
                </c:pt>
                <c:pt idx="1372">
                  <c:v>385500</c:v>
                </c:pt>
                <c:pt idx="1373">
                  <c:v>381800</c:v>
                </c:pt>
                <c:pt idx="1374">
                  <c:v>384300</c:v>
                </c:pt>
                <c:pt idx="1375">
                  <c:v>394700</c:v>
                </c:pt>
                <c:pt idx="1376">
                  <c:v>392900</c:v>
                </c:pt>
                <c:pt idx="1377">
                  <c:v>398200</c:v>
                </c:pt>
                <c:pt idx="1378">
                  <c:v>389000</c:v>
                </c:pt>
                <c:pt idx="1379">
                  <c:v>396200</c:v>
                </c:pt>
                <c:pt idx="1380">
                  <c:v>401500</c:v>
                </c:pt>
                <c:pt idx="1381">
                  <c:v>406000</c:v>
                </c:pt>
                <c:pt idx="1382">
                  <c:v>410800</c:v>
                </c:pt>
                <c:pt idx="1383">
                  <c:v>415200</c:v>
                </c:pt>
                <c:pt idx="1384">
                  <c:v>439500</c:v>
                </c:pt>
                <c:pt idx="1385">
                  <c:v>429000</c:v>
                </c:pt>
                <c:pt idx="1386">
                  <c:v>399500</c:v>
                </c:pt>
                <c:pt idx="1387">
                  <c:v>409500</c:v>
                </c:pt>
                <c:pt idx="1388">
                  <c:v>400000</c:v>
                </c:pt>
                <c:pt idx="1389">
                  <c:v>401000</c:v>
                </c:pt>
                <c:pt idx="1390">
                  <c:v>397500</c:v>
                </c:pt>
                <c:pt idx="1391">
                  <c:v>400500</c:v>
                </c:pt>
                <c:pt idx="1392">
                  <c:v>414500</c:v>
                </c:pt>
                <c:pt idx="1393">
                  <c:v>410000</c:v>
                </c:pt>
                <c:pt idx="1394">
                  <c:v>409200</c:v>
                </c:pt>
                <c:pt idx="1395">
                  <c:v>408500</c:v>
                </c:pt>
                <c:pt idx="1396">
                  <c:v>411500</c:v>
                </c:pt>
                <c:pt idx="1397">
                  <c:v>411700</c:v>
                </c:pt>
                <c:pt idx="1398">
                  <c:v>408500</c:v>
                </c:pt>
                <c:pt idx="1399">
                  <c:v>413300</c:v>
                </c:pt>
                <c:pt idx="1400">
                  <c:v>419800</c:v>
                </c:pt>
                <c:pt idx="1401">
                  <c:v>430000</c:v>
                </c:pt>
                <c:pt idx="1402">
                  <c:v>428600</c:v>
                </c:pt>
                <c:pt idx="1403">
                  <c:v>450000</c:v>
                </c:pt>
                <c:pt idx="1404">
                  <c:v>448700</c:v>
                </c:pt>
                <c:pt idx="1405">
                  <c:v>447800</c:v>
                </c:pt>
                <c:pt idx="1406">
                  <c:v>430500</c:v>
                </c:pt>
                <c:pt idx="1407">
                  <c:v>437200</c:v>
                </c:pt>
                <c:pt idx="1408">
                  <c:v>444700</c:v>
                </c:pt>
                <c:pt idx="1409">
                  <c:v>438800</c:v>
                </c:pt>
                <c:pt idx="1410">
                  <c:v>448500</c:v>
                </c:pt>
                <c:pt idx="1411">
                  <c:v>445500</c:v>
                </c:pt>
                <c:pt idx="1412">
                  <c:v>447000</c:v>
                </c:pt>
                <c:pt idx="1413">
                  <c:v>446700</c:v>
                </c:pt>
                <c:pt idx="1414">
                  <c:v>450000</c:v>
                </c:pt>
                <c:pt idx="1415">
                  <c:v>447600</c:v>
                </c:pt>
                <c:pt idx="1416">
                  <c:v>446300</c:v>
                </c:pt>
                <c:pt idx="1417">
                  <c:v>442500</c:v>
                </c:pt>
                <c:pt idx="1418">
                  <c:v>446700</c:v>
                </c:pt>
                <c:pt idx="1419">
                  <c:v>451400</c:v>
                </c:pt>
                <c:pt idx="1420">
                  <c:v>459200</c:v>
                </c:pt>
                <c:pt idx="1421">
                  <c:v>456700</c:v>
                </c:pt>
                <c:pt idx="1422">
                  <c:v>459800</c:v>
                </c:pt>
                <c:pt idx="1423">
                  <c:v>472700</c:v>
                </c:pt>
                <c:pt idx="1424">
                  <c:v>475500</c:v>
                </c:pt>
                <c:pt idx="1425">
                  <c:v>494000</c:v>
                </c:pt>
                <c:pt idx="1426">
                  <c:v>498400</c:v>
                </c:pt>
                <c:pt idx="1427">
                  <c:v>500000</c:v>
                </c:pt>
                <c:pt idx="1428">
                  <c:v>512700</c:v>
                </c:pt>
                <c:pt idx="1429">
                  <c:v>525500</c:v>
                </c:pt>
                <c:pt idx="1430">
                  <c:v>573500</c:v>
                </c:pt>
                <c:pt idx="1431">
                  <c:v>574500</c:v>
                </c:pt>
                <c:pt idx="1432">
                  <c:v>584000</c:v>
                </c:pt>
                <c:pt idx="1433">
                  <c:v>556500</c:v>
                </c:pt>
                <c:pt idx="1434">
                  <c:v>537000</c:v>
                </c:pt>
                <c:pt idx="1435">
                  <c:v>542500</c:v>
                </c:pt>
                <c:pt idx="1436">
                  <c:v>537500</c:v>
                </c:pt>
                <c:pt idx="1437">
                  <c:v>506000</c:v>
                </c:pt>
                <c:pt idx="1438">
                  <c:v>491000</c:v>
                </c:pt>
                <c:pt idx="1439">
                  <c:v>513000</c:v>
                </c:pt>
                <c:pt idx="1440">
                  <c:v>438000</c:v>
                </c:pt>
                <c:pt idx="1441">
                  <c:v>453000</c:v>
                </c:pt>
                <c:pt idx="1442">
                  <c:v>465500</c:v>
                </c:pt>
                <c:pt idx="1443">
                  <c:v>470000</c:v>
                </c:pt>
                <c:pt idx="1444">
                  <c:v>481000</c:v>
                </c:pt>
                <c:pt idx="1445">
                  <c:v>507000</c:v>
                </c:pt>
                <c:pt idx="1446">
                  <c:v>509000</c:v>
                </c:pt>
                <c:pt idx="1447">
                  <c:v>511500</c:v>
                </c:pt>
                <c:pt idx="1448">
                  <c:v>524500</c:v>
                </c:pt>
                <c:pt idx="1449">
                  <c:v>538500</c:v>
                </c:pt>
                <c:pt idx="1450">
                  <c:v>549500</c:v>
                </c:pt>
                <c:pt idx="1451">
                  <c:v>513000</c:v>
                </c:pt>
                <c:pt idx="1452">
                  <c:v>511500</c:v>
                </c:pt>
                <c:pt idx="1453">
                  <c:v>503500</c:v>
                </c:pt>
                <c:pt idx="1454">
                  <c:v>508000</c:v>
                </c:pt>
                <c:pt idx="1455">
                  <c:v>510500</c:v>
                </c:pt>
                <c:pt idx="1456">
                  <c:v>503500</c:v>
                </c:pt>
                <c:pt idx="1457">
                  <c:v>504000</c:v>
                </c:pt>
                <c:pt idx="1458">
                  <c:v>513500</c:v>
                </c:pt>
                <c:pt idx="1459">
                  <c:v>508000</c:v>
                </c:pt>
                <c:pt idx="1460">
                  <c:v>509500</c:v>
                </c:pt>
                <c:pt idx="1461">
                  <c:v>513000</c:v>
                </c:pt>
                <c:pt idx="1462">
                  <c:v>513500</c:v>
                </c:pt>
                <c:pt idx="1463">
                  <c:v>517500</c:v>
                </c:pt>
                <c:pt idx="1464">
                  <c:v>517000</c:v>
                </c:pt>
                <c:pt idx="1465">
                  <c:v>514000</c:v>
                </c:pt>
                <c:pt idx="1466">
                  <c:v>518500</c:v>
                </c:pt>
                <c:pt idx="1467">
                  <c:v>518000</c:v>
                </c:pt>
                <c:pt idx="1468">
                  <c:v>524500</c:v>
                </c:pt>
                <c:pt idx="1469">
                  <c:v>535500</c:v>
                </c:pt>
                <c:pt idx="1470">
                  <c:v>546800</c:v>
                </c:pt>
                <c:pt idx="1471">
                  <c:v>548500</c:v>
                </c:pt>
                <c:pt idx="1472">
                  <c:v>557200</c:v>
                </c:pt>
                <c:pt idx="1473">
                  <c:v>544500</c:v>
                </c:pt>
                <c:pt idx="1474">
                  <c:v>540500</c:v>
                </c:pt>
                <c:pt idx="1475">
                  <c:v>540800</c:v>
                </c:pt>
                <c:pt idx="1476">
                  <c:v>533500</c:v>
                </c:pt>
                <c:pt idx="1477">
                  <c:v>526500</c:v>
                </c:pt>
                <c:pt idx="1478">
                  <c:v>535800</c:v>
                </c:pt>
                <c:pt idx="1479">
                  <c:v>532200</c:v>
                </c:pt>
                <c:pt idx="1480">
                  <c:v>530500</c:v>
                </c:pt>
                <c:pt idx="1481">
                  <c:v>530700</c:v>
                </c:pt>
                <c:pt idx="1482">
                  <c:v>521300</c:v>
                </c:pt>
                <c:pt idx="1483">
                  <c:v>513500</c:v>
                </c:pt>
                <c:pt idx="1484">
                  <c:v>520500</c:v>
                </c:pt>
                <c:pt idx="1485">
                  <c:v>512500</c:v>
                </c:pt>
                <c:pt idx="1486">
                  <c:v>514000</c:v>
                </c:pt>
                <c:pt idx="1487">
                  <c:v>514000</c:v>
                </c:pt>
                <c:pt idx="1488">
                  <c:v>518000</c:v>
                </c:pt>
                <c:pt idx="1489">
                  <c:v>523500</c:v>
                </c:pt>
                <c:pt idx="1490">
                  <c:v>522000</c:v>
                </c:pt>
                <c:pt idx="1491">
                  <c:v>515500</c:v>
                </c:pt>
                <c:pt idx="1492">
                  <c:v>516300</c:v>
                </c:pt>
                <c:pt idx="1493">
                  <c:v>519800</c:v>
                </c:pt>
                <c:pt idx="1494">
                  <c:v>515000</c:v>
                </c:pt>
                <c:pt idx="1495">
                  <c:v>517800</c:v>
                </c:pt>
                <c:pt idx="1496">
                  <c:v>513800</c:v>
                </c:pt>
                <c:pt idx="1497">
                  <c:v>509000</c:v>
                </c:pt>
                <c:pt idx="1498">
                  <c:v>513000</c:v>
                </c:pt>
                <c:pt idx="1499">
                  <c:v>506800</c:v>
                </c:pt>
                <c:pt idx="1500">
                  <c:v>508800</c:v>
                </c:pt>
                <c:pt idx="1501">
                  <c:v>498700</c:v>
                </c:pt>
                <c:pt idx="1502">
                  <c:v>493500</c:v>
                </c:pt>
                <c:pt idx="1503">
                  <c:v>493500</c:v>
                </c:pt>
                <c:pt idx="1504">
                  <c:v>471200</c:v>
                </c:pt>
                <c:pt idx="1505">
                  <c:v>481800</c:v>
                </c:pt>
                <c:pt idx="1506">
                  <c:v>498000</c:v>
                </c:pt>
                <c:pt idx="1507">
                  <c:v>488500</c:v>
                </c:pt>
                <c:pt idx="1508">
                  <c:v>488000</c:v>
                </c:pt>
                <c:pt idx="1509">
                  <c:v>494000</c:v>
                </c:pt>
                <c:pt idx="1510">
                  <c:v>492500</c:v>
                </c:pt>
                <c:pt idx="1511">
                  <c:v>487800</c:v>
                </c:pt>
                <c:pt idx="1512">
                  <c:v>488300</c:v>
                </c:pt>
                <c:pt idx="1513">
                  <c:v>487500</c:v>
                </c:pt>
                <c:pt idx="1514">
                  <c:v>499500</c:v>
                </c:pt>
                <c:pt idx="1515">
                  <c:v>498000</c:v>
                </c:pt>
                <c:pt idx="1516">
                  <c:v>493300</c:v>
                </c:pt>
                <c:pt idx="1517">
                  <c:v>493500</c:v>
                </c:pt>
                <c:pt idx="1518">
                  <c:v>498400</c:v>
                </c:pt>
                <c:pt idx="1519">
                  <c:v>500500</c:v>
                </c:pt>
                <c:pt idx="1520">
                  <c:v>502500</c:v>
                </c:pt>
                <c:pt idx="1521">
                  <c:v>503500</c:v>
                </c:pt>
                <c:pt idx="1522">
                  <c:v>498800</c:v>
                </c:pt>
                <c:pt idx="1523">
                  <c:v>499500</c:v>
                </c:pt>
                <c:pt idx="1524">
                  <c:v>498700</c:v>
                </c:pt>
                <c:pt idx="1525">
                  <c:v>492000</c:v>
                </c:pt>
                <c:pt idx="1526">
                  <c:v>492500</c:v>
                </c:pt>
                <c:pt idx="1527">
                  <c:v>493000</c:v>
                </c:pt>
                <c:pt idx="1528">
                  <c:v>489000</c:v>
                </c:pt>
                <c:pt idx="1529">
                  <c:v>485000</c:v>
                </c:pt>
                <c:pt idx="1530">
                  <c:v>488500</c:v>
                </c:pt>
                <c:pt idx="1531">
                  <c:v>488500</c:v>
                </c:pt>
                <c:pt idx="1532">
                  <c:v>485000</c:v>
                </c:pt>
                <c:pt idx="1533">
                  <c:v>486800</c:v>
                </c:pt>
                <c:pt idx="1534">
                  <c:v>486500</c:v>
                </c:pt>
                <c:pt idx="1535">
                  <c:v>483200</c:v>
                </c:pt>
                <c:pt idx="1536">
                  <c:v>485500</c:v>
                </c:pt>
                <c:pt idx="1537">
                  <c:v>489000</c:v>
                </c:pt>
                <c:pt idx="1538">
                  <c:v>489300</c:v>
                </c:pt>
                <c:pt idx="1539">
                  <c:v>490800</c:v>
                </c:pt>
                <c:pt idx="1540">
                  <c:v>488200</c:v>
                </c:pt>
                <c:pt idx="1541">
                  <c:v>493300</c:v>
                </c:pt>
                <c:pt idx="1542">
                  <c:v>502800</c:v>
                </c:pt>
                <c:pt idx="1543">
                  <c:v>502000</c:v>
                </c:pt>
                <c:pt idx="1544">
                  <c:v>494500</c:v>
                </c:pt>
                <c:pt idx="1545">
                  <c:v>496500</c:v>
                </c:pt>
                <c:pt idx="1546">
                  <c:v>495700</c:v>
                </c:pt>
                <c:pt idx="1547">
                  <c:v>493500</c:v>
                </c:pt>
                <c:pt idx="1548">
                  <c:v>495900</c:v>
                </c:pt>
                <c:pt idx="1549">
                  <c:v>491500</c:v>
                </c:pt>
                <c:pt idx="1550">
                  <c:v>487500</c:v>
                </c:pt>
                <c:pt idx="1551">
                  <c:v>492000</c:v>
                </c:pt>
                <c:pt idx="1552">
                  <c:v>493000</c:v>
                </c:pt>
                <c:pt idx="1553">
                  <c:v>493000</c:v>
                </c:pt>
                <c:pt idx="1554">
                  <c:v>487500</c:v>
                </c:pt>
                <c:pt idx="1555">
                  <c:v>487500</c:v>
                </c:pt>
                <c:pt idx="1556">
                  <c:v>493000</c:v>
                </c:pt>
                <c:pt idx="1557">
                  <c:v>491300</c:v>
                </c:pt>
                <c:pt idx="1558">
                  <c:v>492000</c:v>
                </c:pt>
                <c:pt idx="1559">
                  <c:v>489500</c:v>
                </c:pt>
                <c:pt idx="1560">
                  <c:v>491500</c:v>
                </c:pt>
                <c:pt idx="1561">
                  <c:v>490500</c:v>
                </c:pt>
                <c:pt idx="1562">
                  <c:v>491200</c:v>
                </c:pt>
                <c:pt idx="1563">
                  <c:v>491300</c:v>
                </c:pt>
                <c:pt idx="1564">
                  <c:v>490600</c:v>
                </c:pt>
                <c:pt idx="1565">
                  <c:v>494700</c:v>
                </c:pt>
                <c:pt idx="1566">
                  <c:v>496500</c:v>
                </c:pt>
                <c:pt idx="1567">
                  <c:v>496200</c:v>
                </c:pt>
                <c:pt idx="1568">
                  <c:v>496500</c:v>
                </c:pt>
                <c:pt idx="1569">
                  <c:v>496400</c:v>
                </c:pt>
                <c:pt idx="1570">
                  <c:v>497900</c:v>
                </c:pt>
                <c:pt idx="1571">
                  <c:v>496700</c:v>
                </c:pt>
                <c:pt idx="1572">
                  <c:v>496000</c:v>
                </c:pt>
                <c:pt idx="1573">
                  <c:v>497300</c:v>
                </c:pt>
                <c:pt idx="1574">
                  <c:v>499400</c:v>
                </c:pt>
                <c:pt idx="1575">
                  <c:v>497500</c:v>
                </c:pt>
                <c:pt idx="1576">
                  <c:v>496300</c:v>
                </c:pt>
                <c:pt idx="1577">
                  <c:v>495400</c:v>
                </c:pt>
                <c:pt idx="1578">
                  <c:v>496000</c:v>
                </c:pt>
                <c:pt idx="1579">
                  <c:v>491200</c:v>
                </c:pt>
                <c:pt idx="1580">
                  <c:v>494000</c:v>
                </c:pt>
                <c:pt idx="1581">
                  <c:v>493400</c:v>
                </c:pt>
                <c:pt idx="1582">
                  <c:v>495000</c:v>
                </c:pt>
                <c:pt idx="1583">
                  <c:v>494800</c:v>
                </c:pt>
                <c:pt idx="1584">
                  <c:v>497400</c:v>
                </c:pt>
                <c:pt idx="1585">
                  <c:v>496000</c:v>
                </c:pt>
                <c:pt idx="1586">
                  <c:v>495700</c:v>
                </c:pt>
                <c:pt idx="1587">
                  <c:v>496400</c:v>
                </c:pt>
                <c:pt idx="1588">
                  <c:v>496300</c:v>
                </c:pt>
                <c:pt idx="1589">
                  <c:v>500000</c:v>
                </c:pt>
                <c:pt idx="1590">
                  <c:v>507000</c:v>
                </c:pt>
                <c:pt idx="1591">
                  <c:v>524300</c:v>
                </c:pt>
                <c:pt idx="1592">
                  <c:v>527500</c:v>
                </c:pt>
                <c:pt idx="1593">
                  <c:v>523000</c:v>
                </c:pt>
                <c:pt idx="1594">
                  <c:v>516500</c:v>
                </c:pt>
                <c:pt idx="1595">
                  <c:v>515500</c:v>
                </c:pt>
                <c:pt idx="1596">
                  <c:v>510500</c:v>
                </c:pt>
                <c:pt idx="1597">
                  <c:v>508500</c:v>
                </c:pt>
                <c:pt idx="1598">
                  <c:v>503500</c:v>
                </c:pt>
                <c:pt idx="1599">
                  <c:v>510000</c:v>
                </c:pt>
                <c:pt idx="1600">
                  <c:v>513000</c:v>
                </c:pt>
                <c:pt idx="1601">
                  <c:v>512000</c:v>
                </c:pt>
                <c:pt idx="1602">
                  <c:v>502200</c:v>
                </c:pt>
                <c:pt idx="1603">
                  <c:v>506200</c:v>
                </c:pt>
                <c:pt idx="1604">
                  <c:v>507500</c:v>
                </c:pt>
                <c:pt idx="1605">
                  <c:v>508000</c:v>
                </c:pt>
                <c:pt idx="1606">
                  <c:v>511500</c:v>
                </c:pt>
                <c:pt idx="1607">
                  <c:v>517000</c:v>
                </c:pt>
                <c:pt idx="1608">
                  <c:v>521500</c:v>
                </c:pt>
                <c:pt idx="1609">
                  <c:v>513500</c:v>
                </c:pt>
                <c:pt idx="1610">
                  <c:v>515500</c:v>
                </c:pt>
                <c:pt idx="1611">
                  <c:v>516000</c:v>
                </c:pt>
                <c:pt idx="1612">
                  <c:v>517700</c:v>
                </c:pt>
                <c:pt idx="1613">
                  <c:v>521500</c:v>
                </c:pt>
                <c:pt idx="1614">
                  <c:v>511300</c:v>
                </c:pt>
                <c:pt idx="1615">
                  <c:v>513500</c:v>
                </c:pt>
                <c:pt idx="1616">
                  <c:v>513500</c:v>
                </c:pt>
                <c:pt idx="1617">
                  <c:v>511700</c:v>
                </c:pt>
                <c:pt idx="1618">
                  <c:v>511500</c:v>
                </c:pt>
                <c:pt idx="1619">
                  <c:v>514000</c:v>
                </c:pt>
                <c:pt idx="1620">
                  <c:v>513500</c:v>
                </c:pt>
                <c:pt idx="1621">
                  <c:v>513800</c:v>
                </c:pt>
                <c:pt idx="1622">
                  <c:v>511700</c:v>
                </c:pt>
                <c:pt idx="1623">
                  <c:v>510800</c:v>
                </c:pt>
                <c:pt idx="1624">
                  <c:v>508500</c:v>
                </c:pt>
                <c:pt idx="1625">
                  <c:v>508800</c:v>
                </c:pt>
                <c:pt idx="1626">
                  <c:v>506400</c:v>
                </c:pt>
                <c:pt idx="1627">
                  <c:v>503000</c:v>
                </c:pt>
                <c:pt idx="1628">
                  <c:v>503000</c:v>
                </c:pt>
                <c:pt idx="1629">
                  <c:v>501800</c:v>
                </c:pt>
                <c:pt idx="1630">
                  <c:v>501700</c:v>
                </c:pt>
                <c:pt idx="1631">
                  <c:v>502500</c:v>
                </c:pt>
                <c:pt idx="1632">
                  <c:v>504200</c:v>
                </c:pt>
                <c:pt idx="1633">
                  <c:v>502000</c:v>
                </c:pt>
                <c:pt idx="1634">
                  <c:v>504700</c:v>
                </c:pt>
                <c:pt idx="1635">
                  <c:v>505200</c:v>
                </c:pt>
                <c:pt idx="1636">
                  <c:v>504200</c:v>
                </c:pt>
                <c:pt idx="1637">
                  <c:v>504500</c:v>
                </c:pt>
                <c:pt idx="1638">
                  <c:v>505500</c:v>
                </c:pt>
                <c:pt idx="1639">
                  <c:v>503800</c:v>
                </c:pt>
                <c:pt idx="1640">
                  <c:v>503000</c:v>
                </c:pt>
                <c:pt idx="1641">
                  <c:v>502500</c:v>
                </c:pt>
                <c:pt idx="1642">
                  <c:v>504200</c:v>
                </c:pt>
                <c:pt idx="1643">
                  <c:v>503400</c:v>
                </c:pt>
                <c:pt idx="1644">
                  <c:v>504500</c:v>
                </c:pt>
                <c:pt idx="1645">
                  <c:v>503500</c:v>
                </c:pt>
                <c:pt idx="1646">
                  <c:v>503800</c:v>
                </c:pt>
                <c:pt idx="1647">
                  <c:v>503200</c:v>
                </c:pt>
                <c:pt idx="1648">
                  <c:v>502000</c:v>
                </c:pt>
                <c:pt idx="1649">
                  <c:v>500200</c:v>
                </c:pt>
                <c:pt idx="1650">
                  <c:v>497500</c:v>
                </c:pt>
                <c:pt idx="1651">
                  <c:v>499200</c:v>
                </c:pt>
                <c:pt idx="1652">
                  <c:v>501200</c:v>
                </c:pt>
                <c:pt idx="1653">
                  <c:v>499000</c:v>
                </c:pt>
                <c:pt idx="1654">
                  <c:v>500500</c:v>
                </c:pt>
                <c:pt idx="1655">
                  <c:v>499500</c:v>
                </c:pt>
                <c:pt idx="1656">
                  <c:v>501000</c:v>
                </c:pt>
                <c:pt idx="1657">
                  <c:v>501000</c:v>
                </c:pt>
                <c:pt idx="1658">
                  <c:v>505500</c:v>
                </c:pt>
                <c:pt idx="1659">
                  <c:v>505200</c:v>
                </c:pt>
                <c:pt idx="1660">
                  <c:v>505500</c:v>
                </c:pt>
                <c:pt idx="1661">
                  <c:v>505500</c:v>
                </c:pt>
                <c:pt idx="1662">
                  <c:v>508000</c:v>
                </c:pt>
                <c:pt idx="1663">
                  <c:v>512500</c:v>
                </c:pt>
                <c:pt idx="1664">
                  <c:v>509500</c:v>
                </c:pt>
                <c:pt idx="1665">
                  <c:v>509400</c:v>
                </c:pt>
                <c:pt idx="1666">
                  <c:v>509300</c:v>
                </c:pt>
                <c:pt idx="1667">
                  <c:v>514000</c:v>
                </c:pt>
                <c:pt idx="1668">
                  <c:v>519500</c:v>
                </c:pt>
                <c:pt idx="1669">
                  <c:v>514500</c:v>
                </c:pt>
                <c:pt idx="1670">
                  <c:v>523500</c:v>
                </c:pt>
                <c:pt idx="1671">
                  <c:v>520800</c:v>
                </c:pt>
                <c:pt idx="1672">
                  <c:v>525000</c:v>
                </c:pt>
                <c:pt idx="1673">
                  <c:v>529500</c:v>
                </c:pt>
                <c:pt idx="1674">
                  <c:v>537500</c:v>
                </c:pt>
                <c:pt idx="1675">
                  <c:v>540500</c:v>
                </c:pt>
                <c:pt idx="1676">
                  <c:v>541800</c:v>
                </c:pt>
                <c:pt idx="1677">
                  <c:v>538500</c:v>
                </c:pt>
                <c:pt idx="1678">
                  <c:v>540000</c:v>
                </c:pt>
                <c:pt idx="1679">
                  <c:v>548800</c:v>
                </c:pt>
                <c:pt idx="1680">
                  <c:v>554500</c:v>
                </c:pt>
                <c:pt idx="1681">
                  <c:v>551200</c:v>
                </c:pt>
                <c:pt idx="1682">
                  <c:v>559200</c:v>
                </c:pt>
                <c:pt idx="1683">
                  <c:v>561000</c:v>
                </c:pt>
                <c:pt idx="1684">
                  <c:v>582000</c:v>
                </c:pt>
                <c:pt idx="1685">
                  <c:v>583500</c:v>
                </c:pt>
                <c:pt idx="1686">
                  <c:v>583500</c:v>
                </c:pt>
                <c:pt idx="1687">
                  <c:v>585000</c:v>
                </c:pt>
                <c:pt idx="1688">
                  <c:v>579500</c:v>
                </c:pt>
                <c:pt idx="1689">
                  <c:v>564000</c:v>
                </c:pt>
                <c:pt idx="1690">
                  <c:v>551000</c:v>
                </c:pt>
                <c:pt idx="1691">
                  <c:v>553000</c:v>
                </c:pt>
                <c:pt idx="1692">
                  <c:v>552500</c:v>
                </c:pt>
                <c:pt idx="1693">
                  <c:v>559000</c:v>
                </c:pt>
                <c:pt idx="1694">
                  <c:v>557000</c:v>
                </c:pt>
                <c:pt idx="1695">
                  <c:v>549800</c:v>
                </c:pt>
                <c:pt idx="1696">
                  <c:v>551500</c:v>
                </c:pt>
                <c:pt idx="1697">
                  <c:v>555300</c:v>
                </c:pt>
                <c:pt idx="1698">
                  <c:v>556000</c:v>
                </c:pt>
                <c:pt idx="1699">
                  <c:v>559800</c:v>
                </c:pt>
                <c:pt idx="1700">
                  <c:v>565500</c:v>
                </c:pt>
                <c:pt idx="1701">
                  <c:v>570000</c:v>
                </c:pt>
                <c:pt idx="1702">
                  <c:v>570000</c:v>
                </c:pt>
                <c:pt idx="1703">
                  <c:v>565000</c:v>
                </c:pt>
                <c:pt idx="1704">
                  <c:v>569800</c:v>
                </c:pt>
                <c:pt idx="1705">
                  <c:v>572200</c:v>
                </c:pt>
                <c:pt idx="1706">
                  <c:v>572500</c:v>
                </c:pt>
                <c:pt idx="1707">
                  <c:v>580300</c:v>
                </c:pt>
                <c:pt idx="1708">
                  <c:v>586200</c:v>
                </c:pt>
                <c:pt idx="1709">
                  <c:v>581700</c:v>
                </c:pt>
                <c:pt idx="1710">
                  <c:v>585000</c:v>
                </c:pt>
                <c:pt idx="1711">
                  <c:v>593200</c:v>
                </c:pt>
                <c:pt idx="1712">
                  <c:v>595500</c:v>
                </c:pt>
                <c:pt idx="1713">
                  <c:v>603200</c:v>
                </c:pt>
                <c:pt idx="1714">
                  <c:v>609300</c:v>
                </c:pt>
                <c:pt idx="1715">
                  <c:v>605500</c:v>
                </c:pt>
                <c:pt idx="1716">
                  <c:v>609000</c:v>
                </c:pt>
                <c:pt idx="1717">
                  <c:v>603200</c:v>
                </c:pt>
                <c:pt idx="1718">
                  <c:v>594000</c:v>
                </c:pt>
                <c:pt idx="1719">
                  <c:v>599000</c:v>
                </c:pt>
                <c:pt idx="1720">
                  <c:v>597000</c:v>
                </c:pt>
                <c:pt idx="1721">
                  <c:v>596000</c:v>
                </c:pt>
                <c:pt idx="1722">
                  <c:v>594000</c:v>
                </c:pt>
                <c:pt idx="1723">
                  <c:v>600500</c:v>
                </c:pt>
                <c:pt idx="1724">
                  <c:v>600500</c:v>
                </c:pt>
                <c:pt idx="1725">
                  <c:v>605000</c:v>
                </c:pt>
                <c:pt idx="1726">
                  <c:v>600000</c:v>
                </c:pt>
                <c:pt idx="1727">
                  <c:v>618200</c:v>
                </c:pt>
                <c:pt idx="1728">
                  <c:v>612300</c:v>
                </c:pt>
                <c:pt idx="1729">
                  <c:v>608200</c:v>
                </c:pt>
                <c:pt idx="1730">
                  <c:v>613200</c:v>
                </c:pt>
                <c:pt idx="1731">
                  <c:v>616400</c:v>
                </c:pt>
                <c:pt idx="1732">
                  <c:v>614000</c:v>
                </c:pt>
                <c:pt idx="1733">
                  <c:v>631300</c:v>
                </c:pt>
                <c:pt idx="1734">
                  <c:v>636500</c:v>
                </c:pt>
                <c:pt idx="1735">
                  <c:v>644000</c:v>
                </c:pt>
                <c:pt idx="1736">
                  <c:v>655500</c:v>
                </c:pt>
                <c:pt idx="1737">
                  <c:v>641000</c:v>
                </c:pt>
                <c:pt idx="1738">
                  <c:v>635500</c:v>
                </c:pt>
                <c:pt idx="1739">
                  <c:v>640800</c:v>
                </c:pt>
                <c:pt idx="1740">
                  <c:v>645000</c:v>
                </c:pt>
                <c:pt idx="1741">
                  <c:v>664500</c:v>
                </c:pt>
                <c:pt idx="1742">
                  <c:v>676500</c:v>
                </c:pt>
                <c:pt idx="1743">
                  <c:v>668500</c:v>
                </c:pt>
                <c:pt idx="1744">
                  <c:v>657800</c:v>
                </c:pt>
                <c:pt idx="1745">
                  <c:v>665000</c:v>
                </c:pt>
                <c:pt idx="1746">
                  <c:v>669000</c:v>
                </c:pt>
                <c:pt idx="1747">
                  <c:v>651800</c:v>
                </c:pt>
                <c:pt idx="1748">
                  <c:v>649500</c:v>
                </c:pt>
                <c:pt idx="1749">
                  <c:v>652000</c:v>
                </c:pt>
                <c:pt idx="1750">
                  <c:v>648500</c:v>
                </c:pt>
                <c:pt idx="1751">
                  <c:v>641500</c:v>
                </c:pt>
                <c:pt idx="1752">
                  <c:v>634500</c:v>
                </c:pt>
                <c:pt idx="1753">
                  <c:v>617000</c:v>
                </c:pt>
                <c:pt idx="1754">
                  <c:v>607000</c:v>
                </c:pt>
                <c:pt idx="1755">
                  <c:v>619000</c:v>
                </c:pt>
                <c:pt idx="1756">
                  <c:v>626500</c:v>
                </c:pt>
                <c:pt idx="1757">
                  <c:v>619000</c:v>
                </c:pt>
                <c:pt idx="1758">
                  <c:v>616000</c:v>
                </c:pt>
                <c:pt idx="1759">
                  <c:v>606500</c:v>
                </c:pt>
                <c:pt idx="1760">
                  <c:v>610500</c:v>
                </c:pt>
                <c:pt idx="1761">
                  <c:v>613800</c:v>
                </c:pt>
                <c:pt idx="1762">
                  <c:v>611500</c:v>
                </c:pt>
                <c:pt idx="1763">
                  <c:v>612500</c:v>
                </c:pt>
                <c:pt idx="1764">
                  <c:v>607500</c:v>
                </c:pt>
                <c:pt idx="1765">
                  <c:v>602000</c:v>
                </c:pt>
                <c:pt idx="1766">
                  <c:v>596000</c:v>
                </c:pt>
                <c:pt idx="1767">
                  <c:v>592500</c:v>
                </c:pt>
                <c:pt idx="1768">
                  <c:v>589000</c:v>
                </c:pt>
                <c:pt idx="1769">
                  <c:v>584000</c:v>
                </c:pt>
                <c:pt idx="1770">
                  <c:v>569000</c:v>
                </c:pt>
                <c:pt idx="1771">
                  <c:v>600000</c:v>
                </c:pt>
                <c:pt idx="1772">
                  <c:v>577500</c:v>
                </c:pt>
                <c:pt idx="1773">
                  <c:v>582500</c:v>
                </c:pt>
                <c:pt idx="1774">
                  <c:v>577500</c:v>
                </c:pt>
                <c:pt idx="1775">
                  <c:v>579000</c:v>
                </c:pt>
                <c:pt idx="1776">
                  <c:v>584500</c:v>
                </c:pt>
                <c:pt idx="1777">
                  <c:v>586500</c:v>
                </c:pt>
                <c:pt idx="1778">
                  <c:v>582200</c:v>
                </c:pt>
                <c:pt idx="1779">
                  <c:v>591500</c:v>
                </c:pt>
                <c:pt idx="1780">
                  <c:v>588000</c:v>
                </c:pt>
                <c:pt idx="1781">
                  <c:v>596500</c:v>
                </c:pt>
                <c:pt idx="1782">
                  <c:v>588000</c:v>
                </c:pt>
                <c:pt idx="1783">
                  <c:v>587000</c:v>
                </c:pt>
                <c:pt idx="1784">
                  <c:v>592700</c:v>
                </c:pt>
                <c:pt idx="1785">
                  <c:v>589700</c:v>
                </c:pt>
                <c:pt idx="1786">
                  <c:v>589500</c:v>
                </c:pt>
                <c:pt idx="1787">
                  <c:v>590500</c:v>
                </c:pt>
                <c:pt idx="1788">
                  <c:v>589000</c:v>
                </c:pt>
                <c:pt idx="1789">
                  <c:v>591000</c:v>
                </c:pt>
                <c:pt idx="1790">
                  <c:v>588500</c:v>
                </c:pt>
                <c:pt idx="1791">
                  <c:v>589300</c:v>
                </c:pt>
                <c:pt idx="1792">
                  <c:v>594000</c:v>
                </c:pt>
                <c:pt idx="1793">
                  <c:v>592800</c:v>
                </c:pt>
                <c:pt idx="1794">
                  <c:v>594500</c:v>
                </c:pt>
                <c:pt idx="1795">
                  <c:v>594000</c:v>
                </c:pt>
                <c:pt idx="1796">
                  <c:v>600800</c:v>
                </c:pt>
                <c:pt idx="1797">
                  <c:v>611500</c:v>
                </c:pt>
                <c:pt idx="1798">
                  <c:v>605500</c:v>
                </c:pt>
                <c:pt idx="1799">
                  <c:v>612000</c:v>
                </c:pt>
                <c:pt idx="1800">
                  <c:v>618500</c:v>
                </c:pt>
                <c:pt idx="1801">
                  <c:v>620500</c:v>
                </c:pt>
                <c:pt idx="1802">
                  <c:v>619000</c:v>
                </c:pt>
                <c:pt idx="1803">
                  <c:v>613000</c:v>
                </c:pt>
                <c:pt idx="1804">
                  <c:v>608800</c:v>
                </c:pt>
                <c:pt idx="1805">
                  <c:v>615500</c:v>
                </c:pt>
                <c:pt idx="1806">
                  <c:v>603000</c:v>
                </c:pt>
                <c:pt idx="1807">
                  <c:v>601300</c:v>
                </c:pt>
                <c:pt idx="1808">
                  <c:v>597500</c:v>
                </c:pt>
                <c:pt idx="1809">
                  <c:v>591200</c:v>
                </c:pt>
                <c:pt idx="1810">
                  <c:v>585500</c:v>
                </c:pt>
                <c:pt idx="1811">
                  <c:v>583000</c:v>
                </c:pt>
                <c:pt idx="1812">
                  <c:v>581300</c:v>
                </c:pt>
                <c:pt idx="1813">
                  <c:v>581000</c:v>
                </c:pt>
                <c:pt idx="1814">
                  <c:v>575000</c:v>
                </c:pt>
                <c:pt idx="1815">
                  <c:v>572500</c:v>
                </c:pt>
                <c:pt idx="1816">
                  <c:v>579000</c:v>
                </c:pt>
                <c:pt idx="1817">
                  <c:v>576000</c:v>
                </c:pt>
                <c:pt idx="1818">
                  <c:v>577000</c:v>
                </c:pt>
                <c:pt idx="1819">
                  <c:v>583000</c:v>
                </c:pt>
                <c:pt idx="1820">
                  <c:v>583800</c:v>
                </c:pt>
                <c:pt idx="1821">
                  <c:v>587200</c:v>
                </c:pt>
                <c:pt idx="1822">
                  <c:v>587200</c:v>
                </c:pt>
                <c:pt idx="1823">
                  <c:v>592500</c:v>
                </c:pt>
                <c:pt idx="1824">
                  <c:v>597000</c:v>
                </c:pt>
                <c:pt idx="1825">
                  <c:v>603000</c:v>
                </c:pt>
                <c:pt idx="1826">
                  <c:v>611000</c:v>
                </c:pt>
                <c:pt idx="1827">
                  <c:v>619200</c:v>
                </c:pt>
                <c:pt idx="1828">
                  <c:v>612000</c:v>
                </c:pt>
                <c:pt idx="1829">
                  <c:v>616500</c:v>
                </c:pt>
                <c:pt idx="1830">
                  <c:v>613500</c:v>
                </c:pt>
                <c:pt idx="1831">
                  <c:v>614000</c:v>
                </c:pt>
                <c:pt idx="1832">
                  <c:v>602500</c:v>
                </c:pt>
                <c:pt idx="1833">
                  <c:v>597500</c:v>
                </c:pt>
                <c:pt idx="1834">
                  <c:v>602500</c:v>
                </c:pt>
                <c:pt idx="1835">
                  <c:v>598800</c:v>
                </c:pt>
                <c:pt idx="1836">
                  <c:v>592000</c:v>
                </c:pt>
                <c:pt idx="1837">
                  <c:v>590000</c:v>
                </c:pt>
                <c:pt idx="1838">
                  <c:v>580000</c:v>
                </c:pt>
                <c:pt idx="1839">
                  <c:v>582500</c:v>
                </c:pt>
                <c:pt idx="1840">
                  <c:v>588000</c:v>
                </c:pt>
                <c:pt idx="1841">
                  <c:v>584500</c:v>
                </c:pt>
                <c:pt idx="1842">
                  <c:v>585500</c:v>
                </c:pt>
                <c:pt idx="1843">
                  <c:v>589500</c:v>
                </c:pt>
                <c:pt idx="1844">
                  <c:v>587500</c:v>
                </c:pt>
                <c:pt idx="1845">
                  <c:v>597000</c:v>
                </c:pt>
                <c:pt idx="1846">
                  <c:v>593000</c:v>
                </c:pt>
                <c:pt idx="1847">
                  <c:v>599000</c:v>
                </c:pt>
                <c:pt idx="1848">
                  <c:v>599000</c:v>
                </c:pt>
                <c:pt idx="1849">
                  <c:v>598500</c:v>
                </c:pt>
                <c:pt idx="1850">
                  <c:v>604200</c:v>
                </c:pt>
                <c:pt idx="1851">
                  <c:v>602000</c:v>
                </c:pt>
                <c:pt idx="1852">
                  <c:v>600000</c:v>
                </c:pt>
                <c:pt idx="1853">
                  <c:v>597000</c:v>
                </c:pt>
                <c:pt idx="1854">
                  <c:v>598500</c:v>
                </c:pt>
                <c:pt idx="1855">
                  <c:v>598500</c:v>
                </c:pt>
                <c:pt idx="1856">
                  <c:v>597500</c:v>
                </c:pt>
                <c:pt idx="1857">
                  <c:v>598200</c:v>
                </c:pt>
                <c:pt idx="1858">
                  <c:v>596500</c:v>
                </c:pt>
                <c:pt idx="1859">
                  <c:v>594700</c:v>
                </c:pt>
                <c:pt idx="1860">
                  <c:v>593000</c:v>
                </c:pt>
                <c:pt idx="1861">
                  <c:v>593500</c:v>
                </c:pt>
                <c:pt idx="1862">
                  <c:v>595000</c:v>
                </c:pt>
                <c:pt idx="1863">
                  <c:v>594200</c:v>
                </c:pt>
                <c:pt idx="1864">
                  <c:v>595300</c:v>
                </c:pt>
                <c:pt idx="1865">
                  <c:v>601500</c:v>
                </c:pt>
                <c:pt idx="1866">
                  <c:v>606000</c:v>
                </c:pt>
                <c:pt idx="1867">
                  <c:v>602300</c:v>
                </c:pt>
                <c:pt idx="1868">
                  <c:v>606300</c:v>
                </c:pt>
                <c:pt idx="1869">
                  <c:v>615500</c:v>
                </c:pt>
                <c:pt idx="1870">
                  <c:v>609000</c:v>
                </c:pt>
                <c:pt idx="1871">
                  <c:v>612500</c:v>
                </c:pt>
                <c:pt idx="1872">
                  <c:v>629000</c:v>
                </c:pt>
                <c:pt idx="1873">
                  <c:v>629200</c:v>
                </c:pt>
                <c:pt idx="1874">
                  <c:v>636000</c:v>
                </c:pt>
                <c:pt idx="1875">
                  <c:v>629000</c:v>
                </c:pt>
                <c:pt idx="1876">
                  <c:v>639000</c:v>
                </c:pt>
                <c:pt idx="1877">
                  <c:v>632000</c:v>
                </c:pt>
                <c:pt idx="1878">
                  <c:v>630500</c:v>
                </c:pt>
                <c:pt idx="1879">
                  <c:v>634000</c:v>
                </c:pt>
                <c:pt idx="1880">
                  <c:v>634000</c:v>
                </c:pt>
                <c:pt idx="1881">
                  <c:v>634000</c:v>
                </c:pt>
                <c:pt idx="1882">
                  <c:v>634000</c:v>
                </c:pt>
                <c:pt idx="1883">
                  <c:v>626500</c:v>
                </c:pt>
                <c:pt idx="1884">
                  <c:v>631800</c:v>
                </c:pt>
                <c:pt idx="1885">
                  <c:v>634000</c:v>
                </c:pt>
                <c:pt idx="1886">
                  <c:v>630300</c:v>
                </c:pt>
                <c:pt idx="1887">
                  <c:v>636000</c:v>
                </c:pt>
                <c:pt idx="1888">
                  <c:v>639000</c:v>
                </c:pt>
                <c:pt idx="1889">
                  <c:v>639000</c:v>
                </c:pt>
                <c:pt idx="1890">
                  <c:v>643000</c:v>
                </c:pt>
                <c:pt idx="1891">
                  <c:v>648800</c:v>
                </c:pt>
                <c:pt idx="1892">
                  <c:v>664000</c:v>
                </c:pt>
                <c:pt idx="1893">
                  <c:v>682500</c:v>
                </c:pt>
                <c:pt idx="1894">
                  <c:v>683000</c:v>
                </c:pt>
                <c:pt idx="1895">
                  <c:v>657000</c:v>
                </c:pt>
                <c:pt idx="1896">
                  <c:v>664000</c:v>
                </c:pt>
                <c:pt idx="1897">
                  <c:v>675700</c:v>
                </c:pt>
                <c:pt idx="1898">
                  <c:v>686000</c:v>
                </c:pt>
                <c:pt idx="1899">
                  <c:v>689800</c:v>
                </c:pt>
                <c:pt idx="1900">
                  <c:v>683500</c:v>
                </c:pt>
                <c:pt idx="1901">
                  <c:v>695800</c:v>
                </c:pt>
                <c:pt idx="1902">
                  <c:v>696000</c:v>
                </c:pt>
                <c:pt idx="1903">
                  <c:v>691000</c:v>
                </c:pt>
                <c:pt idx="1904">
                  <c:v>688000</c:v>
                </c:pt>
                <c:pt idx="1905">
                  <c:v>688000</c:v>
                </c:pt>
                <c:pt idx="1906">
                  <c:v>698000</c:v>
                </c:pt>
                <c:pt idx="1907">
                  <c:v>694000</c:v>
                </c:pt>
                <c:pt idx="1908">
                  <c:v>693000</c:v>
                </c:pt>
                <c:pt idx="1909">
                  <c:v>683200</c:v>
                </c:pt>
                <c:pt idx="1910">
                  <c:v>670000</c:v>
                </c:pt>
                <c:pt idx="1911">
                  <c:v>680500</c:v>
                </c:pt>
                <c:pt idx="1912">
                  <c:v>683500</c:v>
                </c:pt>
                <c:pt idx="1913">
                  <c:v>685500</c:v>
                </c:pt>
                <c:pt idx="1914">
                  <c:v>683800</c:v>
                </c:pt>
                <c:pt idx="1915">
                  <c:v>686000</c:v>
                </c:pt>
                <c:pt idx="1916">
                  <c:v>685000</c:v>
                </c:pt>
                <c:pt idx="1917">
                  <c:v>691500</c:v>
                </c:pt>
                <c:pt idx="1918">
                  <c:v>691800</c:v>
                </c:pt>
                <c:pt idx="1919">
                  <c:v>693800</c:v>
                </c:pt>
                <c:pt idx="1920">
                  <c:v>702000</c:v>
                </c:pt>
                <c:pt idx="1921">
                  <c:v>689000</c:v>
                </c:pt>
                <c:pt idx="1922">
                  <c:v>693500</c:v>
                </c:pt>
                <c:pt idx="1923">
                  <c:v>695800</c:v>
                </c:pt>
                <c:pt idx="1924">
                  <c:v>699500</c:v>
                </c:pt>
                <c:pt idx="1925">
                  <c:v>702000</c:v>
                </c:pt>
                <c:pt idx="1926">
                  <c:v>706700</c:v>
                </c:pt>
                <c:pt idx="1927">
                  <c:v>702500</c:v>
                </c:pt>
                <c:pt idx="1928">
                  <c:v>708500</c:v>
                </c:pt>
                <c:pt idx="1929">
                  <c:v>714500</c:v>
                </c:pt>
                <c:pt idx="1930">
                  <c:v>717500</c:v>
                </c:pt>
                <c:pt idx="1931">
                  <c:v>715500</c:v>
                </c:pt>
                <c:pt idx="1932">
                  <c:v>718000</c:v>
                </c:pt>
                <c:pt idx="1933">
                  <c:v>721700</c:v>
                </c:pt>
                <c:pt idx="1934">
                  <c:v>722500</c:v>
                </c:pt>
                <c:pt idx="1935">
                  <c:v>727000</c:v>
                </c:pt>
                <c:pt idx="1936">
                  <c:v>735500</c:v>
                </c:pt>
                <c:pt idx="1937">
                  <c:v>733500</c:v>
                </c:pt>
                <c:pt idx="1938">
                  <c:v>751500</c:v>
                </c:pt>
                <c:pt idx="1939">
                  <c:v>749000</c:v>
                </c:pt>
                <c:pt idx="1940">
                  <c:v>763000</c:v>
                </c:pt>
                <c:pt idx="1941">
                  <c:v>768500</c:v>
                </c:pt>
                <c:pt idx="1942">
                  <c:v>773000</c:v>
                </c:pt>
                <c:pt idx="1943">
                  <c:v>770500</c:v>
                </c:pt>
                <c:pt idx="1944">
                  <c:v>763000</c:v>
                </c:pt>
                <c:pt idx="1945">
                  <c:v>763800</c:v>
                </c:pt>
                <c:pt idx="1946">
                  <c:v>782500</c:v>
                </c:pt>
                <c:pt idx="1947">
                  <c:v>788300</c:v>
                </c:pt>
                <c:pt idx="1948">
                  <c:v>788500</c:v>
                </c:pt>
                <c:pt idx="1949">
                  <c:v>797500</c:v>
                </c:pt>
                <c:pt idx="1950">
                  <c:v>817000</c:v>
                </c:pt>
                <c:pt idx="1951">
                  <c:v>800500</c:v>
                </c:pt>
                <c:pt idx="1952">
                  <c:v>820500</c:v>
                </c:pt>
                <c:pt idx="1953">
                  <c:v>816000</c:v>
                </c:pt>
                <c:pt idx="1954">
                  <c:v>817000</c:v>
                </c:pt>
                <c:pt idx="1955">
                  <c:v>808500</c:v>
                </c:pt>
                <c:pt idx="1956">
                  <c:v>803500</c:v>
                </c:pt>
                <c:pt idx="1957">
                  <c:v>798000</c:v>
                </c:pt>
                <c:pt idx="1958">
                  <c:v>802000</c:v>
                </c:pt>
                <c:pt idx="1959">
                  <c:v>803000</c:v>
                </c:pt>
                <c:pt idx="1960">
                  <c:v>807500</c:v>
                </c:pt>
                <c:pt idx="1961">
                  <c:v>818000</c:v>
                </c:pt>
                <c:pt idx="1962">
                  <c:v>821500</c:v>
                </c:pt>
                <c:pt idx="1963">
                  <c:v>810500</c:v>
                </c:pt>
                <c:pt idx="1964">
                  <c:v>815500</c:v>
                </c:pt>
                <c:pt idx="1965">
                  <c:v>807500</c:v>
                </c:pt>
                <c:pt idx="1966">
                  <c:v>805300</c:v>
                </c:pt>
                <c:pt idx="1967">
                  <c:v>810500</c:v>
                </c:pt>
                <c:pt idx="1968">
                  <c:v>810500</c:v>
                </c:pt>
                <c:pt idx="1969">
                  <c:v>813500</c:v>
                </c:pt>
                <c:pt idx="1970">
                  <c:v>828000</c:v>
                </c:pt>
                <c:pt idx="1971">
                  <c:v>829000</c:v>
                </c:pt>
                <c:pt idx="1972">
                  <c:v>840500</c:v>
                </c:pt>
                <c:pt idx="1973">
                  <c:v>840000</c:v>
                </c:pt>
                <c:pt idx="1974">
                  <c:v>842500</c:v>
                </c:pt>
                <c:pt idx="1975">
                  <c:v>843500</c:v>
                </c:pt>
                <c:pt idx="1976">
                  <c:v>836500</c:v>
                </c:pt>
                <c:pt idx="1977">
                  <c:v>839500</c:v>
                </c:pt>
                <c:pt idx="1978">
                  <c:v>842800</c:v>
                </c:pt>
                <c:pt idx="1979">
                  <c:v>844000</c:v>
                </c:pt>
                <c:pt idx="1980">
                  <c:v>842200</c:v>
                </c:pt>
                <c:pt idx="1981">
                  <c:v>849500</c:v>
                </c:pt>
                <c:pt idx="1982">
                  <c:v>857500</c:v>
                </c:pt>
                <c:pt idx="1983">
                  <c:v>861000</c:v>
                </c:pt>
                <c:pt idx="1984">
                  <c:v>928500</c:v>
                </c:pt>
                <c:pt idx="1985">
                  <c:v>893500</c:v>
                </c:pt>
                <c:pt idx="1986">
                  <c:v>892000</c:v>
                </c:pt>
                <c:pt idx="1987">
                  <c:v>900500</c:v>
                </c:pt>
                <c:pt idx="1988">
                  <c:v>913500</c:v>
                </c:pt>
                <c:pt idx="1989">
                  <c:v>913000</c:v>
                </c:pt>
                <c:pt idx="1990">
                  <c:v>914500</c:v>
                </c:pt>
                <c:pt idx="1991">
                  <c:v>924500</c:v>
                </c:pt>
                <c:pt idx="1992">
                  <c:v>927500</c:v>
                </c:pt>
                <c:pt idx="1993">
                  <c:v>941000</c:v>
                </c:pt>
                <c:pt idx="1994">
                  <c:v>937000</c:v>
                </c:pt>
                <c:pt idx="1995">
                  <c:v>932300</c:v>
                </c:pt>
                <c:pt idx="1996">
                  <c:v>920500</c:v>
                </c:pt>
                <c:pt idx="1997">
                  <c:v>928500</c:v>
                </c:pt>
                <c:pt idx="1998">
                  <c:v>932000</c:v>
                </c:pt>
                <c:pt idx="1999">
                  <c:v>930000</c:v>
                </c:pt>
                <c:pt idx="2000">
                  <c:v>927000</c:v>
                </c:pt>
                <c:pt idx="2001">
                  <c:v>926500</c:v>
                </c:pt>
                <c:pt idx="2002">
                  <c:v>913500</c:v>
                </c:pt>
                <c:pt idx="2003">
                  <c:v>910500</c:v>
                </c:pt>
                <c:pt idx="2004">
                  <c:v>890000</c:v>
                </c:pt>
                <c:pt idx="2005">
                  <c:v>918500</c:v>
                </c:pt>
                <c:pt idx="2006">
                  <c:v>927000</c:v>
                </c:pt>
                <c:pt idx="2007">
                  <c:v>930200</c:v>
                </c:pt>
                <c:pt idx="2008">
                  <c:v>932300</c:v>
                </c:pt>
                <c:pt idx="2009">
                  <c:v>932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C3E-4570-8713-19B2CAE2BD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62785312"/>
        <c:axId val="862763264"/>
      </c:lineChart>
      <c:catAx>
        <c:axId val="862785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862763264"/>
        <c:crosses val="autoZero"/>
        <c:auto val="1"/>
        <c:lblAlgn val="ctr"/>
        <c:lblOffset val="100"/>
        <c:noMultiLvlLbl val="0"/>
      </c:catAx>
      <c:valAx>
        <c:axId val="862763264"/>
        <c:scaling>
          <c:orientation val="minMax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862785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r>
              <a:rPr lang="fa-IR"/>
              <a:t>اختلاف دلار آزاد و نیما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DanaFaNum" pitchFamily="2" charset="-78"/>
              <a:ea typeface="+mn-ea"/>
              <a:cs typeface="DanaFaNum" pitchFamily="2" charset="-78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cat>
            <c:strRef>
              <c:f>'  ارز-دلار نیمایی      '!$B$2:$B$2099</c:f>
              <c:strCache>
                <c:ptCount val="2010"/>
                <c:pt idx="0">
                  <c:v>1397-01-05</c:v>
                </c:pt>
                <c:pt idx="1">
                  <c:v>1397-01-06</c:v>
                </c:pt>
                <c:pt idx="2">
                  <c:v>1397-01-07</c:v>
                </c:pt>
                <c:pt idx="3">
                  <c:v>1397-01-08</c:v>
                </c:pt>
                <c:pt idx="4">
                  <c:v>1397-01-09</c:v>
                </c:pt>
                <c:pt idx="5">
                  <c:v>1397-01-14</c:v>
                </c:pt>
                <c:pt idx="6">
                  <c:v>1397-01-15</c:v>
                </c:pt>
                <c:pt idx="7">
                  <c:v>1397-01-16</c:v>
                </c:pt>
                <c:pt idx="8">
                  <c:v>1397-01-18</c:v>
                </c:pt>
                <c:pt idx="9">
                  <c:v>1397-01-19</c:v>
                </c:pt>
                <c:pt idx="10">
                  <c:v>1397-01-20</c:v>
                </c:pt>
                <c:pt idx="11">
                  <c:v>1397-01-21</c:v>
                </c:pt>
                <c:pt idx="12">
                  <c:v>1397-01-22</c:v>
                </c:pt>
                <c:pt idx="13">
                  <c:v>1397-01-26</c:v>
                </c:pt>
                <c:pt idx="14">
                  <c:v>1397-01-27</c:v>
                </c:pt>
                <c:pt idx="15">
                  <c:v>1397-01-28</c:v>
                </c:pt>
                <c:pt idx="16">
                  <c:v>1397-01-29</c:v>
                </c:pt>
                <c:pt idx="17">
                  <c:v>1397-01-30</c:v>
                </c:pt>
                <c:pt idx="18">
                  <c:v>1397-02-01</c:v>
                </c:pt>
                <c:pt idx="19">
                  <c:v>1397-02-02</c:v>
                </c:pt>
                <c:pt idx="20">
                  <c:v>1397-02-03</c:v>
                </c:pt>
                <c:pt idx="21">
                  <c:v>1397-02-04</c:v>
                </c:pt>
                <c:pt idx="22">
                  <c:v>1397-02-05</c:v>
                </c:pt>
                <c:pt idx="23">
                  <c:v>1397-02-06</c:v>
                </c:pt>
                <c:pt idx="24">
                  <c:v>1397-02-08</c:v>
                </c:pt>
                <c:pt idx="25">
                  <c:v>1397-02-09</c:v>
                </c:pt>
                <c:pt idx="26">
                  <c:v>1397-02-10</c:v>
                </c:pt>
                <c:pt idx="27">
                  <c:v>1397-02-11</c:v>
                </c:pt>
                <c:pt idx="28">
                  <c:v>1397-02-12</c:v>
                </c:pt>
                <c:pt idx="29">
                  <c:v>1397-02-13</c:v>
                </c:pt>
                <c:pt idx="30">
                  <c:v>1397-02-15</c:v>
                </c:pt>
                <c:pt idx="31">
                  <c:v>1397-02-16</c:v>
                </c:pt>
                <c:pt idx="32">
                  <c:v>1397-02-17</c:v>
                </c:pt>
                <c:pt idx="33">
                  <c:v>1397-02-18</c:v>
                </c:pt>
                <c:pt idx="34">
                  <c:v>1397-02-19</c:v>
                </c:pt>
                <c:pt idx="35">
                  <c:v>1397-02-20</c:v>
                </c:pt>
                <c:pt idx="36">
                  <c:v>1397-02-22</c:v>
                </c:pt>
                <c:pt idx="37">
                  <c:v>1397-02-23</c:v>
                </c:pt>
                <c:pt idx="38">
                  <c:v>1397-02-24</c:v>
                </c:pt>
                <c:pt idx="39">
                  <c:v>1397-02-25</c:v>
                </c:pt>
                <c:pt idx="40">
                  <c:v>1397-02-26</c:v>
                </c:pt>
                <c:pt idx="41">
                  <c:v>1397-02-27</c:v>
                </c:pt>
                <c:pt idx="42">
                  <c:v>1397-02-29</c:v>
                </c:pt>
                <c:pt idx="43">
                  <c:v>1397-02-30</c:v>
                </c:pt>
                <c:pt idx="44">
                  <c:v>1397-02-31</c:v>
                </c:pt>
                <c:pt idx="45">
                  <c:v>1397-03-01</c:v>
                </c:pt>
                <c:pt idx="46">
                  <c:v>1397-03-02</c:v>
                </c:pt>
                <c:pt idx="47">
                  <c:v>1397-03-03</c:v>
                </c:pt>
                <c:pt idx="48">
                  <c:v>1397-03-05</c:v>
                </c:pt>
                <c:pt idx="49">
                  <c:v>1397-03-06</c:v>
                </c:pt>
                <c:pt idx="50">
                  <c:v>1397-03-07</c:v>
                </c:pt>
                <c:pt idx="51">
                  <c:v>1397-03-08</c:v>
                </c:pt>
                <c:pt idx="52">
                  <c:v>1397-03-09</c:v>
                </c:pt>
                <c:pt idx="53">
                  <c:v>1397-03-10</c:v>
                </c:pt>
                <c:pt idx="54">
                  <c:v>1397-03-12</c:v>
                </c:pt>
                <c:pt idx="55">
                  <c:v>1397-03-13</c:v>
                </c:pt>
                <c:pt idx="56">
                  <c:v>1397-03-14</c:v>
                </c:pt>
                <c:pt idx="57">
                  <c:v>1397-03-15</c:v>
                </c:pt>
                <c:pt idx="58">
                  <c:v>1397-03-16</c:v>
                </c:pt>
                <c:pt idx="59">
                  <c:v>1397-03-17</c:v>
                </c:pt>
                <c:pt idx="60">
                  <c:v>1397-03-19</c:v>
                </c:pt>
                <c:pt idx="61">
                  <c:v>1397-03-20</c:v>
                </c:pt>
                <c:pt idx="62">
                  <c:v>1397-03-21</c:v>
                </c:pt>
                <c:pt idx="63">
                  <c:v>1397-03-22</c:v>
                </c:pt>
                <c:pt idx="64">
                  <c:v>1397-03-23</c:v>
                </c:pt>
                <c:pt idx="65">
                  <c:v>1397-03-24</c:v>
                </c:pt>
                <c:pt idx="66">
                  <c:v>1397-03-26</c:v>
                </c:pt>
                <c:pt idx="67">
                  <c:v>1397-03-27</c:v>
                </c:pt>
                <c:pt idx="68">
                  <c:v>1397-03-28</c:v>
                </c:pt>
                <c:pt idx="69">
                  <c:v>1397-03-29</c:v>
                </c:pt>
                <c:pt idx="70">
                  <c:v>1397-03-30</c:v>
                </c:pt>
                <c:pt idx="71">
                  <c:v>1397-03-31</c:v>
                </c:pt>
                <c:pt idx="72">
                  <c:v>1397-04-02</c:v>
                </c:pt>
                <c:pt idx="73">
                  <c:v>1397-04-03</c:v>
                </c:pt>
                <c:pt idx="74">
                  <c:v>1397-04-04</c:v>
                </c:pt>
                <c:pt idx="75">
                  <c:v>1397-04-05</c:v>
                </c:pt>
                <c:pt idx="76">
                  <c:v>1397-04-06</c:v>
                </c:pt>
                <c:pt idx="77">
                  <c:v>1397-04-07</c:v>
                </c:pt>
                <c:pt idx="78">
                  <c:v>1397-04-09</c:v>
                </c:pt>
                <c:pt idx="79">
                  <c:v>1397-04-10</c:v>
                </c:pt>
                <c:pt idx="80">
                  <c:v>1397-04-11</c:v>
                </c:pt>
                <c:pt idx="81">
                  <c:v>1397-04-12</c:v>
                </c:pt>
                <c:pt idx="82">
                  <c:v>1397-04-13</c:v>
                </c:pt>
                <c:pt idx="83">
                  <c:v>1397-04-14</c:v>
                </c:pt>
                <c:pt idx="84">
                  <c:v>1397-04-16</c:v>
                </c:pt>
                <c:pt idx="85">
                  <c:v>1397-04-17</c:v>
                </c:pt>
                <c:pt idx="86">
                  <c:v>1397-04-18</c:v>
                </c:pt>
                <c:pt idx="87">
                  <c:v>1397-04-19</c:v>
                </c:pt>
                <c:pt idx="88">
                  <c:v>1397-04-20</c:v>
                </c:pt>
                <c:pt idx="89">
                  <c:v>1397-04-21</c:v>
                </c:pt>
                <c:pt idx="90">
                  <c:v>1397-04-23</c:v>
                </c:pt>
                <c:pt idx="91">
                  <c:v>1397-04-24</c:v>
                </c:pt>
                <c:pt idx="92">
                  <c:v>1397-04-25</c:v>
                </c:pt>
                <c:pt idx="93">
                  <c:v>1397-04-26</c:v>
                </c:pt>
                <c:pt idx="94">
                  <c:v>1397-04-27</c:v>
                </c:pt>
                <c:pt idx="95">
                  <c:v>1397-04-28</c:v>
                </c:pt>
                <c:pt idx="96">
                  <c:v>1397-04-30</c:v>
                </c:pt>
                <c:pt idx="97">
                  <c:v>1397-04-31</c:v>
                </c:pt>
                <c:pt idx="98">
                  <c:v>1397-05-01</c:v>
                </c:pt>
                <c:pt idx="99">
                  <c:v>1397-05-02</c:v>
                </c:pt>
                <c:pt idx="100">
                  <c:v>1397-05-03</c:v>
                </c:pt>
                <c:pt idx="101">
                  <c:v>1397-05-04</c:v>
                </c:pt>
                <c:pt idx="102">
                  <c:v>1397-05-05</c:v>
                </c:pt>
                <c:pt idx="103">
                  <c:v>1397-05-06</c:v>
                </c:pt>
                <c:pt idx="104">
                  <c:v>1397-05-07</c:v>
                </c:pt>
                <c:pt idx="105">
                  <c:v>1397-05-08</c:v>
                </c:pt>
                <c:pt idx="106">
                  <c:v>1397-05-09</c:v>
                </c:pt>
                <c:pt idx="107">
                  <c:v>1397-05-10</c:v>
                </c:pt>
                <c:pt idx="108">
                  <c:v>1397-05-11</c:v>
                </c:pt>
                <c:pt idx="109">
                  <c:v>1397-05-12</c:v>
                </c:pt>
                <c:pt idx="110">
                  <c:v>1397-05-13</c:v>
                </c:pt>
                <c:pt idx="111">
                  <c:v>1397-05-14</c:v>
                </c:pt>
                <c:pt idx="112">
                  <c:v>1397-05-15</c:v>
                </c:pt>
                <c:pt idx="113">
                  <c:v>1397-05-16</c:v>
                </c:pt>
                <c:pt idx="114">
                  <c:v>1397-05-17</c:v>
                </c:pt>
                <c:pt idx="115">
                  <c:v>1397-05-18</c:v>
                </c:pt>
                <c:pt idx="116">
                  <c:v>1397-05-19</c:v>
                </c:pt>
                <c:pt idx="117">
                  <c:v>1397-05-20</c:v>
                </c:pt>
                <c:pt idx="118">
                  <c:v>1397-05-21</c:v>
                </c:pt>
                <c:pt idx="119">
                  <c:v>1397-05-22</c:v>
                </c:pt>
                <c:pt idx="120">
                  <c:v>1397-05-23</c:v>
                </c:pt>
                <c:pt idx="121">
                  <c:v>1397-05-24</c:v>
                </c:pt>
                <c:pt idx="122">
                  <c:v>1397-05-25</c:v>
                </c:pt>
                <c:pt idx="123">
                  <c:v>1397-05-26</c:v>
                </c:pt>
                <c:pt idx="124">
                  <c:v>1397-05-27</c:v>
                </c:pt>
                <c:pt idx="125">
                  <c:v>1397-05-28</c:v>
                </c:pt>
                <c:pt idx="126">
                  <c:v>1397-05-29</c:v>
                </c:pt>
                <c:pt idx="127">
                  <c:v>1397-05-30</c:v>
                </c:pt>
                <c:pt idx="128">
                  <c:v>1397-05-31</c:v>
                </c:pt>
                <c:pt idx="129">
                  <c:v>1397-06-01</c:v>
                </c:pt>
                <c:pt idx="130">
                  <c:v>1397-06-02</c:v>
                </c:pt>
                <c:pt idx="131">
                  <c:v>1397-06-03</c:v>
                </c:pt>
                <c:pt idx="132">
                  <c:v>1397-06-04</c:v>
                </c:pt>
                <c:pt idx="133">
                  <c:v>1397-06-05</c:v>
                </c:pt>
                <c:pt idx="134">
                  <c:v>1397-06-06</c:v>
                </c:pt>
                <c:pt idx="135">
                  <c:v>1397-06-07</c:v>
                </c:pt>
                <c:pt idx="136">
                  <c:v>1397-06-08</c:v>
                </c:pt>
                <c:pt idx="137">
                  <c:v>1397-06-09</c:v>
                </c:pt>
                <c:pt idx="138">
                  <c:v>1397-06-10</c:v>
                </c:pt>
                <c:pt idx="139">
                  <c:v>1397-06-11</c:v>
                </c:pt>
                <c:pt idx="140">
                  <c:v>1397-06-12</c:v>
                </c:pt>
                <c:pt idx="141">
                  <c:v>1397-06-13</c:v>
                </c:pt>
                <c:pt idx="142">
                  <c:v>1397-06-14</c:v>
                </c:pt>
                <c:pt idx="143">
                  <c:v>1397-06-15</c:v>
                </c:pt>
                <c:pt idx="144">
                  <c:v>1397-06-17</c:v>
                </c:pt>
                <c:pt idx="145">
                  <c:v>1397-06-18</c:v>
                </c:pt>
                <c:pt idx="146">
                  <c:v>1397-06-19</c:v>
                </c:pt>
                <c:pt idx="147">
                  <c:v>1397-06-20</c:v>
                </c:pt>
                <c:pt idx="148">
                  <c:v>1397-06-21</c:v>
                </c:pt>
                <c:pt idx="149">
                  <c:v>1397-06-22</c:v>
                </c:pt>
                <c:pt idx="150">
                  <c:v>1397-06-24</c:v>
                </c:pt>
                <c:pt idx="151">
                  <c:v>1397-06-25</c:v>
                </c:pt>
                <c:pt idx="152">
                  <c:v>1397-06-26</c:v>
                </c:pt>
                <c:pt idx="153">
                  <c:v>1397-06-27</c:v>
                </c:pt>
                <c:pt idx="154">
                  <c:v>1397-06-31</c:v>
                </c:pt>
                <c:pt idx="155">
                  <c:v>1397-07-01</c:v>
                </c:pt>
                <c:pt idx="156">
                  <c:v>1397-07-02</c:v>
                </c:pt>
                <c:pt idx="157">
                  <c:v>1397-07-03</c:v>
                </c:pt>
                <c:pt idx="158">
                  <c:v>1397-07-04</c:v>
                </c:pt>
                <c:pt idx="159">
                  <c:v>1397-07-05</c:v>
                </c:pt>
                <c:pt idx="160">
                  <c:v>1397-07-07</c:v>
                </c:pt>
                <c:pt idx="161">
                  <c:v>1397-07-08</c:v>
                </c:pt>
                <c:pt idx="162">
                  <c:v>1397-07-09</c:v>
                </c:pt>
                <c:pt idx="163">
                  <c:v>1397-07-10</c:v>
                </c:pt>
                <c:pt idx="164">
                  <c:v>1397-07-11</c:v>
                </c:pt>
                <c:pt idx="165">
                  <c:v>1397-07-12</c:v>
                </c:pt>
                <c:pt idx="166">
                  <c:v>1397-07-14</c:v>
                </c:pt>
                <c:pt idx="167">
                  <c:v>1397-07-15</c:v>
                </c:pt>
                <c:pt idx="168">
                  <c:v>1397-07-16</c:v>
                </c:pt>
                <c:pt idx="169">
                  <c:v>1397-07-17</c:v>
                </c:pt>
                <c:pt idx="170">
                  <c:v>1397-07-18</c:v>
                </c:pt>
                <c:pt idx="171">
                  <c:v>1397-07-19</c:v>
                </c:pt>
                <c:pt idx="172">
                  <c:v>1397-07-21</c:v>
                </c:pt>
                <c:pt idx="173">
                  <c:v>1397-07-22</c:v>
                </c:pt>
                <c:pt idx="174">
                  <c:v>1397-07-23</c:v>
                </c:pt>
                <c:pt idx="175">
                  <c:v>1397-07-24</c:v>
                </c:pt>
                <c:pt idx="176">
                  <c:v>1397-07-25</c:v>
                </c:pt>
                <c:pt idx="177">
                  <c:v>1397-07-26</c:v>
                </c:pt>
                <c:pt idx="178">
                  <c:v>1397-07-28</c:v>
                </c:pt>
                <c:pt idx="179">
                  <c:v>1397-07-29</c:v>
                </c:pt>
                <c:pt idx="180">
                  <c:v>1397-07-30</c:v>
                </c:pt>
                <c:pt idx="181">
                  <c:v>1397-08-01</c:v>
                </c:pt>
                <c:pt idx="182">
                  <c:v>1397-08-02</c:v>
                </c:pt>
                <c:pt idx="183">
                  <c:v>1397-08-03</c:v>
                </c:pt>
                <c:pt idx="184">
                  <c:v>1397-08-04</c:v>
                </c:pt>
                <c:pt idx="185">
                  <c:v>1397-08-05</c:v>
                </c:pt>
                <c:pt idx="186">
                  <c:v>1397-08-06</c:v>
                </c:pt>
                <c:pt idx="187">
                  <c:v>1397-08-07</c:v>
                </c:pt>
                <c:pt idx="188">
                  <c:v>1397-08-09</c:v>
                </c:pt>
                <c:pt idx="189">
                  <c:v>1397-08-10</c:v>
                </c:pt>
                <c:pt idx="190">
                  <c:v>1397-08-11</c:v>
                </c:pt>
                <c:pt idx="191">
                  <c:v>1397-08-12</c:v>
                </c:pt>
                <c:pt idx="192">
                  <c:v>1397-08-13</c:v>
                </c:pt>
                <c:pt idx="193">
                  <c:v>1397-08-14</c:v>
                </c:pt>
                <c:pt idx="194">
                  <c:v>1397-08-15</c:v>
                </c:pt>
                <c:pt idx="195">
                  <c:v>1397-08-18</c:v>
                </c:pt>
                <c:pt idx="196">
                  <c:v>1397-08-19</c:v>
                </c:pt>
                <c:pt idx="197">
                  <c:v>1397-08-20</c:v>
                </c:pt>
                <c:pt idx="198">
                  <c:v>1397-08-21</c:v>
                </c:pt>
                <c:pt idx="199">
                  <c:v>1397-08-22</c:v>
                </c:pt>
                <c:pt idx="200">
                  <c:v>1397-08-23</c:v>
                </c:pt>
                <c:pt idx="201">
                  <c:v>1397-08-24</c:v>
                </c:pt>
                <c:pt idx="202">
                  <c:v>1397-08-25</c:v>
                </c:pt>
                <c:pt idx="203">
                  <c:v>1397-08-26</c:v>
                </c:pt>
                <c:pt idx="204">
                  <c:v>1397-08-27</c:v>
                </c:pt>
                <c:pt idx="205">
                  <c:v>1397-08-28</c:v>
                </c:pt>
                <c:pt idx="206">
                  <c:v>1397-08-29</c:v>
                </c:pt>
                <c:pt idx="207">
                  <c:v>1397-08-30</c:v>
                </c:pt>
                <c:pt idx="208">
                  <c:v>1397-09-01</c:v>
                </c:pt>
                <c:pt idx="209">
                  <c:v>1397-09-03</c:v>
                </c:pt>
                <c:pt idx="210">
                  <c:v>1397-09-05</c:v>
                </c:pt>
                <c:pt idx="211">
                  <c:v>1397-09-06</c:v>
                </c:pt>
                <c:pt idx="212">
                  <c:v>1397-09-07</c:v>
                </c:pt>
                <c:pt idx="213">
                  <c:v>1397-09-08</c:v>
                </c:pt>
                <c:pt idx="214">
                  <c:v>1397-09-10</c:v>
                </c:pt>
                <c:pt idx="215">
                  <c:v>1397-09-11</c:v>
                </c:pt>
                <c:pt idx="216">
                  <c:v>1397-09-12</c:v>
                </c:pt>
                <c:pt idx="217">
                  <c:v>1397-09-13</c:v>
                </c:pt>
                <c:pt idx="218">
                  <c:v>1397-09-14</c:v>
                </c:pt>
                <c:pt idx="219">
                  <c:v>1397-09-15</c:v>
                </c:pt>
                <c:pt idx="220">
                  <c:v>1397-09-17</c:v>
                </c:pt>
                <c:pt idx="221">
                  <c:v>1397-09-18</c:v>
                </c:pt>
                <c:pt idx="222">
                  <c:v>1397-09-19</c:v>
                </c:pt>
                <c:pt idx="223">
                  <c:v>1397-09-20</c:v>
                </c:pt>
                <c:pt idx="224">
                  <c:v>1397-09-21</c:v>
                </c:pt>
                <c:pt idx="225">
                  <c:v>1397-09-22</c:v>
                </c:pt>
                <c:pt idx="226">
                  <c:v>1397-09-24</c:v>
                </c:pt>
                <c:pt idx="227">
                  <c:v>1397-09-25</c:v>
                </c:pt>
                <c:pt idx="228">
                  <c:v>1397-09-26</c:v>
                </c:pt>
                <c:pt idx="229">
                  <c:v>1397-09-27</c:v>
                </c:pt>
                <c:pt idx="230">
                  <c:v>1397-09-28</c:v>
                </c:pt>
                <c:pt idx="231">
                  <c:v>1397-09-29</c:v>
                </c:pt>
                <c:pt idx="232">
                  <c:v>1397-10-01</c:v>
                </c:pt>
                <c:pt idx="233">
                  <c:v>1397-10-02</c:v>
                </c:pt>
                <c:pt idx="234">
                  <c:v>1397-10-03</c:v>
                </c:pt>
                <c:pt idx="235">
                  <c:v>1397-10-04</c:v>
                </c:pt>
                <c:pt idx="236">
                  <c:v>1397-10-05</c:v>
                </c:pt>
                <c:pt idx="237">
                  <c:v>1397-10-06</c:v>
                </c:pt>
                <c:pt idx="238">
                  <c:v>1397-10-08</c:v>
                </c:pt>
                <c:pt idx="239">
                  <c:v>1397-10-09</c:v>
                </c:pt>
                <c:pt idx="240">
                  <c:v>1397-10-10</c:v>
                </c:pt>
                <c:pt idx="241">
                  <c:v>1397-10-11</c:v>
                </c:pt>
                <c:pt idx="242">
                  <c:v>1397-10-12</c:v>
                </c:pt>
                <c:pt idx="243">
                  <c:v>1397-10-13</c:v>
                </c:pt>
                <c:pt idx="244">
                  <c:v>1397-10-15</c:v>
                </c:pt>
                <c:pt idx="245">
                  <c:v>1397-10-16</c:v>
                </c:pt>
                <c:pt idx="246">
                  <c:v>1397-10-17</c:v>
                </c:pt>
                <c:pt idx="247">
                  <c:v>1397-10-18</c:v>
                </c:pt>
                <c:pt idx="248">
                  <c:v>1397-10-19</c:v>
                </c:pt>
                <c:pt idx="249">
                  <c:v>1397-10-20</c:v>
                </c:pt>
                <c:pt idx="250">
                  <c:v>1397-10-22</c:v>
                </c:pt>
                <c:pt idx="251">
                  <c:v>1397-10-23</c:v>
                </c:pt>
                <c:pt idx="252">
                  <c:v>1397-10-24</c:v>
                </c:pt>
                <c:pt idx="253">
                  <c:v>1397-10-25</c:v>
                </c:pt>
                <c:pt idx="254">
                  <c:v>1397-10-26</c:v>
                </c:pt>
                <c:pt idx="255">
                  <c:v>1397-10-27</c:v>
                </c:pt>
                <c:pt idx="256">
                  <c:v>1397-10-29</c:v>
                </c:pt>
                <c:pt idx="257">
                  <c:v>1397-10-30</c:v>
                </c:pt>
                <c:pt idx="258">
                  <c:v>1397-11-01</c:v>
                </c:pt>
                <c:pt idx="259">
                  <c:v>1397-11-02</c:v>
                </c:pt>
                <c:pt idx="260">
                  <c:v>1397-11-03</c:v>
                </c:pt>
                <c:pt idx="261">
                  <c:v>1397-11-04</c:v>
                </c:pt>
                <c:pt idx="262">
                  <c:v>1397-11-06</c:v>
                </c:pt>
                <c:pt idx="263">
                  <c:v>1397-11-07</c:v>
                </c:pt>
                <c:pt idx="264">
                  <c:v>1397-11-08</c:v>
                </c:pt>
                <c:pt idx="265">
                  <c:v>1397-11-09</c:v>
                </c:pt>
                <c:pt idx="266">
                  <c:v>1397-11-10</c:v>
                </c:pt>
                <c:pt idx="267">
                  <c:v>1397-11-11</c:v>
                </c:pt>
                <c:pt idx="268">
                  <c:v>1397-11-13</c:v>
                </c:pt>
                <c:pt idx="269">
                  <c:v>1397-11-14</c:v>
                </c:pt>
                <c:pt idx="270">
                  <c:v>1397-11-15</c:v>
                </c:pt>
                <c:pt idx="271">
                  <c:v>1397-11-16</c:v>
                </c:pt>
                <c:pt idx="272">
                  <c:v>1397-11-17</c:v>
                </c:pt>
                <c:pt idx="273">
                  <c:v>1397-11-18</c:v>
                </c:pt>
                <c:pt idx="274">
                  <c:v>1397-11-21</c:v>
                </c:pt>
                <c:pt idx="275">
                  <c:v>1397-11-23</c:v>
                </c:pt>
                <c:pt idx="276">
                  <c:v>1397-11-24</c:v>
                </c:pt>
                <c:pt idx="277">
                  <c:v>1397-11-27</c:v>
                </c:pt>
                <c:pt idx="278">
                  <c:v>1397-11-28</c:v>
                </c:pt>
                <c:pt idx="279">
                  <c:v>1397-11-29</c:v>
                </c:pt>
                <c:pt idx="280">
                  <c:v>1397-11-30</c:v>
                </c:pt>
                <c:pt idx="281">
                  <c:v>1397-12-01</c:v>
                </c:pt>
                <c:pt idx="282">
                  <c:v>1397-12-02</c:v>
                </c:pt>
                <c:pt idx="283">
                  <c:v>1397-12-04</c:v>
                </c:pt>
                <c:pt idx="284">
                  <c:v>1397-12-05</c:v>
                </c:pt>
                <c:pt idx="285">
                  <c:v>1397-12-06</c:v>
                </c:pt>
                <c:pt idx="286">
                  <c:v>1397-12-07</c:v>
                </c:pt>
                <c:pt idx="287">
                  <c:v>1397-12-08</c:v>
                </c:pt>
                <c:pt idx="288">
                  <c:v>1397-12-09</c:v>
                </c:pt>
                <c:pt idx="289">
                  <c:v>1397-12-11</c:v>
                </c:pt>
                <c:pt idx="290">
                  <c:v>1397-12-12</c:v>
                </c:pt>
                <c:pt idx="291">
                  <c:v>1397-12-13</c:v>
                </c:pt>
                <c:pt idx="292">
                  <c:v>1397-12-14</c:v>
                </c:pt>
                <c:pt idx="293">
                  <c:v>1397-12-15</c:v>
                </c:pt>
                <c:pt idx="294">
                  <c:v>1397-12-16</c:v>
                </c:pt>
                <c:pt idx="295">
                  <c:v>1397-12-18</c:v>
                </c:pt>
                <c:pt idx="296">
                  <c:v>1397-12-19</c:v>
                </c:pt>
                <c:pt idx="297">
                  <c:v>1397-12-20</c:v>
                </c:pt>
                <c:pt idx="298">
                  <c:v>1397-12-21</c:v>
                </c:pt>
                <c:pt idx="299">
                  <c:v>1397-12-22</c:v>
                </c:pt>
                <c:pt idx="300">
                  <c:v>1397-12-23</c:v>
                </c:pt>
                <c:pt idx="301">
                  <c:v>1397-12-25</c:v>
                </c:pt>
                <c:pt idx="302">
                  <c:v>1397-12-26</c:v>
                </c:pt>
                <c:pt idx="303">
                  <c:v>1397-12-27</c:v>
                </c:pt>
                <c:pt idx="304">
                  <c:v>1397-12-28</c:v>
                </c:pt>
                <c:pt idx="305">
                  <c:v>1398-01-05</c:v>
                </c:pt>
                <c:pt idx="306">
                  <c:v>1398-01-06</c:v>
                </c:pt>
                <c:pt idx="307">
                  <c:v>1398-01-07</c:v>
                </c:pt>
                <c:pt idx="308">
                  <c:v>1398-01-10</c:v>
                </c:pt>
                <c:pt idx="309">
                  <c:v>1398-01-11</c:v>
                </c:pt>
                <c:pt idx="310">
                  <c:v>1398-01-17</c:v>
                </c:pt>
                <c:pt idx="311">
                  <c:v>1398-01-18</c:v>
                </c:pt>
                <c:pt idx="312">
                  <c:v>1398-01-19</c:v>
                </c:pt>
                <c:pt idx="313">
                  <c:v>1398-01-20</c:v>
                </c:pt>
                <c:pt idx="314">
                  <c:v>1398-01-21</c:v>
                </c:pt>
                <c:pt idx="315">
                  <c:v>1398-01-24</c:v>
                </c:pt>
                <c:pt idx="316">
                  <c:v>1398-01-25</c:v>
                </c:pt>
                <c:pt idx="317">
                  <c:v>1398-01-26</c:v>
                </c:pt>
                <c:pt idx="318">
                  <c:v>1398-01-27</c:v>
                </c:pt>
                <c:pt idx="319">
                  <c:v>1398-01-28</c:v>
                </c:pt>
                <c:pt idx="320">
                  <c:v>1398-01-31</c:v>
                </c:pt>
                <c:pt idx="321">
                  <c:v>1398-02-02</c:v>
                </c:pt>
                <c:pt idx="322">
                  <c:v>1398-02-03</c:v>
                </c:pt>
                <c:pt idx="323">
                  <c:v>1398-02-04</c:v>
                </c:pt>
                <c:pt idx="324">
                  <c:v>1398-02-07</c:v>
                </c:pt>
                <c:pt idx="325">
                  <c:v>1398-02-08</c:v>
                </c:pt>
                <c:pt idx="326">
                  <c:v>1398-02-09</c:v>
                </c:pt>
                <c:pt idx="327">
                  <c:v>1398-02-10</c:v>
                </c:pt>
                <c:pt idx="328">
                  <c:v>1398-02-11</c:v>
                </c:pt>
                <c:pt idx="329">
                  <c:v>1398-02-12</c:v>
                </c:pt>
                <c:pt idx="330">
                  <c:v>1398-02-14</c:v>
                </c:pt>
                <c:pt idx="331">
                  <c:v>1398-02-15</c:v>
                </c:pt>
                <c:pt idx="332">
                  <c:v>1398-02-16</c:v>
                </c:pt>
                <c:pt idx="333">
                  <c:v>1398-02-17</c:v>
                </c:pt>
                <c:pt idx="334">
                  <c:v>1398-02-18</c:v>
                </c:pt>
                <c:pt idx="335">
                  <c:v>1398-02-19</c:v>
                </c:pt>
                <c:pt idx="336">
                  <c:v>1398-02-21</c:v>
                </c:pt>
                <c:pt idx="337">
                  <c:v>1398-02-22</c:v>
                </c:pt>
                <c:pt idx="338">
                  <c:v>1398-02-23</c:v>
                </c:pt>
                <c:pt idx="339">
                  <c:v>1398-02-24</c:v>
                </c:pt>
                <c:pt idx="340">
                  <c:v>1398-02-25</c:v>
                </c:pt>
                <c:pt idx="341">
                  <c:v>1398-02-26</c:v>
                </c:pt>
                <c:pt idx="342">
                  <c:v>1398-02-28</c:v>
                </c:pt>
                <c:pt idx="343">
                  <c:v>1398-02-29</c:v>
                </c:pt>
                <c:pt idx="344">
                  <c:v>1398-02-30</c:v>
                </c:pt>
                <c:pt idx="345">
                  <c:v>1398-02-31</c:v>
                </c:pt>
                <c:pt idx="346">
                  <c:v>1398-03-01</c:v>
                </c:pt>
                <c:pt idx="347">
                  <c:v>1398-03-02</c:v>
                </c:pt>
                <c:pt idx="348">
                  <c:v>1398-03-04</c:v>
                </c:pt>
                <c:pt idx="349">
                  <c:v>1398-03-05</c:v>
                </c:pt>
                <c:pt idx="350">
                  <c:v>1398-03-07</c:v>
                </c:pt>
                <c:pt idx="351">
                  <c:v>1398-03-08</c:v>
                </c:pt>
                <c:pt idx="352">
                  <c:v>1398-03-09</c:v>
                </c:pt>
                <c:pt idx="353">
                  <c:v>1398-03-11</c:v>
                </c:pt>
                <c:pt idx="354">
                  <c:v>1398-03-12</c:v>
                </c:pt>
                <c:pt idx="355">
                  <c:v>1398-03-13</c:v>
                </c:pt>
                <c:pt idx="356">
                  <c:v>1398-03-18</c:v>
                </c:pt>
                <c:pt idx="357">
                  <c:v>1398-03-19</c:v>
                </c:pt>
                <c:pt idx="358">
                  <c:v>1398-03-20</c:v>
                </c:pt>
                <c:pt idx="359">
                  <c:v>1398-03-21</c:v>
                </c:pt>
                <c:pt idx="360">
                  <c:v>1398-03-22</c:v>
                </c:pt>
                <c:pt idx="361">
                  <c:v>1398-03-25</c:v>
                </c:pt>
                <c:pt idx="362">
                  <c:v>1398-03-26</c:v>
                </c:pt>
                <c:pt idx="363">
                  <c:v>1398-03-27</c:v>
                </c:pt>
                <c:pt idx="364">
                  <c:v>1398-03-28</c:v>
                </c:pt>
                <c:pt idx="365">
                  <c:v>1398-03-29</c:v>
                </c:pt>
                <c:pt idx="366">
                  <c:v>1398-03-30</c:v>
                </c:pt>
                <c:pt idx="367">
                  <c:v>1398-04-01</c:v>
                </c:pt>
                <c:pt idx="368">
                  <c:v>1398-04-02</c:v>
                </c:pt>
                <c:pt idx="369">
                  <c:v>1398-04-03</c:v>
                </c:pt>
                <c:pt idx="370">
                  <c:v>1398-04-04</c:v>
                </c:pt>
                <c:pt idx="371">
                  <c:v>1398-04-05</c:v>
                </c:pt>
                <c:pt idx="372">
                  <c:v>1398-04-06</c:v>
                </c:pt>
                <c:pt idx="373">
                  <c:v>1398-04-09</c:v>
                </c:pt>
                <c:pt idx="374">
                  <c:v>1398-04-10</c:v>
                </c:pt>
                <c:pt idx="375">
                  <c:v>1398-04-11</c:v>
                </c:pt>
                <c:pt idx="376">
                  <c:v>1398-04-12</c:v>
                </c:pt>
                <c:pt idx="377">
                  <c:v>1398-04-13</c:v>
                </c:pt>
                <c:pt idx="378">
                  <c:v>1398-04-15</c:v>
                </c:pt>
                <c:pt idx="379">
                  <c:v>1398-04-16</c:v>
                </c:pt>
                <c:pt idx="380">
                  <c:v>1398-04-17</c:v>
                </c:pt>
                <c:pt idx="381">
                  <c:v>1398-04-18</c:v>
                </c:pt>
                <c:pt idx="382">
                  <c:v>1398-04-19</c:v>
                </c:pt>
                <c:pt idx="383">
                  <c:v>1398-04-20</c:v>
                </c:pt>
                <c:pt idx="384">
                  <c:v>1398-04-22</c:v>
                </c:pt>
                <c:pt idx="385">
                  <c:v>1398-04-23</c:v>
                </c:pt>
                <c:pt idx="386">
                  <c:v>1398-04-24</c:v>
                </c:pt>
                <c:pt idx="387">
                  <c:v>1398-04-25</c:v>
                </c:pt>
                <c:pt idx="388">
                  <c:v>1398-04-26</c:v>
                </c:pt>
                <c:pt idx="389">
                  <c:v>1398-04-27</c:v>
                </c:pt>
                <c:pt idx="390">
                  <c:v>1398-04-29</c:v>
                </c:pt>
                <c:pt idx="391">
                  <c:v>1398-04-30</c:v>
                </c:pt>
                <c:pt idx="392">
                  <c:v>1398-04-31</c:v>
                </c:pt>
                <c:pt idx="393">
                  <c:v>1398-05-01</c:v>
                </c:pt>
                <c:pt idx="394">
                  <c:v>1398-05-02</c:v>
                </c:pt>
                <c:pt idx="395">
                  <c:v>1398-05-03</c:v>
                </c:pt>
                <c:pt idx="396">
                  <c:v>1398-05-05</c:v>
                </c:pt>
                <c:pt idx="397">
                  <c:v>1398-05-06</c:v>
                </c:pt>
                <c:pt idx="398">
                  <c:v>1398-05-07</c:v>
                </c:pt>
                <c:pt idx="399">
                  <c:v>1398-05-08</c:v>
                </c:pt>
                <c:pt idx="400">
                  <c:v>1398-05-09</c:v>
                </c:pt>
                <c:pt idx="401">
                  <c:v>1398-05-10</c:v>
                </c:pt>
                <c:pt idx="402">
                  <c:v>1398-05-12</c:v>
                </c:pt>
                <c:pt idx="403">
                  <c:v>1398-05-13</c:v>
                </c:pt>
                <c:pt idx="404">
                  <c:v>1398-05-14</c:v>
                </c:pt>
                <c:pt idx="405">
                  <c:v>1398-05-15</c:v>
                </c:pt>
                <c:pt idx="406">
                  <c:v>1398-05-16</c:v>
                </c:pt>
                <c:pt idx="407">
                  <c:v>1398-05-17</c:v>
                </c:pt>
                <c:pt idx="408">
                  <c:v>1398-05-19</c:v>
                </c:pt>
                <c:pt idx="409">
                  <c:v>1398-05-20</c:v>
                </c:pt>
                <c:pt idx="410">
                  <c:v>1398-05-22</c:v>
                </c:pt>
                <c:pt idx="411">
                  <c:v>1398-05-23</c:v>
                </c:pt>
                <c:pt idx="412">
                  <c:v>1398-05-24</c:v>
                </c:pt>
                <c:pt idx="413">
                  <c:v>1398-05-26</c:v>
                </c:pt>
                <c:pt idx="414">
                  <c:v>1398-05-27</c:v>
                </c:pt>
                <c:pt idx="415">
                  <c:v>1398-05-28</c:v>
                </c:pt>
                <c:pt idx="416">
                  <c:v>1398-05-30</c:v>
                </c:pt>
                <c:pt idx="417">
                  <c:v>1398-05-31</c:v>
                </c:pt>
                <c:pt idx="418">
                  <c:v>1398-06-02</c:v>
                </c:pt>
                <c:pt idx="419">
                  <c:v>1398-06-03</c:v>
                </c:pt>
                <c:pt idx="420">
                  <c:v>1398-06-04</c:v>
                </c:pt>
                <c:pt idx="421">
                  <c:v>1398-06-05</c:v>
                </c:pt>
                <c:pt idx="422">
                  <c:v>1398-06-06</c:v>
                </c:pt>
                <c:pt idx="423">
                  <c:v>1398-06-07</c:v>
                </c:pt>
                <c:pt idx="424">
                  <c:v>1398-06-09</c:v>
                </c:pt>
                <c:pt idx="425">
                  <c:v>1398-06-10</c:v>
                </c:pt>
                <c:pt idx="426">
                  <c:v>1398-06-11</c:v>
                </c:pt>
                <c:pt idx="427">
                  <c:v>1398-06-12</c:v>
                </c:pt>
                <c:pt idx="428">
                  <c:v>1398-06-13</c:v>
                </c:pt>
                <c:pt idx="429">
                  <c:v>1398-06-14</c:v>
                </c:pt>
                <c:pt idx="430">
                  <c:v>1398-06-16</c:v>
                </c:pt>
                <c:pt idx="431">
                  <c:v>1398-06-17</c:v>
                </c:pt>
                <c:pt idx="432">
                  <c:v>1398-06-20</c:v>
                </c:pt>
                <c:pt idx="433">
                  <c:v>1398-06-21</c:v>
                </c:pt>
                <c:pt idx="434">
                  <c:v>1398-06-23</c:v>
                </c:pt>
                <c:pt idx="435">
                  <c:v>1398-06-24</c:v>
                </c:pt>
                <c:pt idx="436">
                  <c:v>1398-06-25</c:v>
                </c:pt>
                <c:pt idx="437">
                  <c:v>1398-06-26</c:v>
                </c:pt>
                <c:pt idx="438">
                  <c:v>1398-06-27</c:v>
                </c:pt>
                <c:pt idx="439">
                  <c:v>1398-06-28</c:v>
                </c:pt>
                <c:pt idx="440">
                  <c:v>1398-06-30</c:v>
                </c:pt>
                <c:pt idx="441">
                  <c:v>1398-06-31</c:v>
                </c:pt>
                <c:pt idx="442">
                  <c:v>1398-07-01</c:v>
                </c:pt>
                <c:pt idx="443">
                  <c:v>1398-07-02</c:v>
                </c:pt>
                <c:pt idx="444">
                  <c:v>1398-07-03</c:v>
                </c:pt>
                <c:pt idx="445">
                  <c:v>1398-07-04</c:v>
                </c:pt>
                <c:pt idx="446">
                  <c:v>1398-07-06</c:v>
                </c:pt>
                <c:pt idx="447">
                  <c:v>1398-07-07</c:v>
                </c:pt>
                <c:pt idx="448">
                  <c:v>1398-07-08</c:v>
                </c:pt>
                <c:pt idx="449">
                  <c:v>1398-07-09</c:v>
                </c:pt>
                <c:pt idx="450">
                  <c:v>1398-07-10</c:v>
                </c:pt>
                <c:pt idx="451">
                  <c:v>1398-07-11</c:v>
                </c:pt>
                <c:pt idx="452">
                  <c:v>1398-07-13</c:v>
                </c:pt>
                <c:pt idx="453">
                  <c:v>1398-07-14</c:v>
                </c:pt>
                <c:pt idx="454">
                  <c:v>1398-07-15</c:v>
                </c:pt>
                <c:pt idx="455">
                  <c:v>1398-07-16</c:v>
                </c:pt>
                <c:pt idx="456">
                  <c:v>1398-07-17</c:v>
                </c:pt>
                <c:pt idx="457">
                  <c:v>1398-07-18</c:v>
                </c:pt>
                <c:pt idx="458">
                  <c:v>1398-07-20</c:v>
                </c:pt>
                <c:pt idx="459">
                  <c:v>1398-07-21</c:v>
                </c:pt>
                <c:pt idx="460">
                  <c:v>1398-07-22</c:v>
                </c:pt>
                <c:pt idx="461">
                  <c:v>1398-07-23</c:v>
                </c:pt>
                <c:pt idx="462">
                  <c:v>1398-07-24</c:v>
                </c:pt>
                <c:pt idx="463">
                  <c:v>1398-07-25</c:v>
                </c:pt>
                <c:pt idx="464">
                  <c:v>1398-07-28</c:v>
                </c:pt>
                <c:pt idx="465">
                  <c:v>1398-07-29</c:v>
                </c:pt>
                <c:pt idx="466">
                  <c:v>1398-07-30</c:v>
                </c:pt>
                <c:pt idx="467">
                  <c:v>1398-08-01</c:v>
                </c:pt>
                <c:pt idx="468">
                  <c:v>1398-08-02</c:v>
                </c:pt>
                <c:pt idx="469">
                  <c:v>1398-08-04</c:v>
                </c:pt>
                <c:pt idx="470">
                  <c:v>1398-08-06</c:v>
                </c:pt>
                <c:pt idx="471">
                  <c:v>1398-08-08</c:v>
                </c:pt>
                <c:pt idx="472">
                  <c:v>1398-08-09</c:v>
                </c:pt>
                <c:pt idx="473">
                  <c:v>1398-08-11</c:v>
                </c:pt>
                <c:pt idx="474">
                  <c:v>1398-08-12</c:v>
                </c:pt>
                <c:pt idx="475">
                  <c:v>1398-08-13</c:v>
                </c:pt>
                <c:pt idx="476">
                  <c:v>1398-08-14</c:v>
                </c:pt>
                <c:pt idx="477">
                  <c:v>1398-08-16</c:v>
                </c:pt>
                <c:pt idx="478">
                  <c:v>1398-08-18</c:v>
                </c:pt>
                <c:pt idx="479">
                  <c:v>1398-08-19</c:v>
                </c:pt>
                <c:pt idx="480">
                  <c:v>1398-08-20</c:v>
                </c:pt>
                <c:pt idx="481">
                  <c:v>1398-08-21</c:v>
                </c:pt>
                <c:pt idx="482">
                  <c:v>1398-08-22</c:v>
                </c:pt>
                <c:pt idx="483">
                  <c:v>1398-08-23</c:v>
                </c:pt>
                <c:pt idx="484">
                  <c:v>1398-08-25</c:v>
                </c:pt>
                <c:pt idx="485">
                  <c:v>1398-08-26</c:v>
                </c:pt>
                <c:pt idx="486">
                  <c:v>1398-08-27</c:v>
                </c:pt>
                <c:pt idx="487">
                  <c:v>1398-08-28</c:v>
                </c:pt>
                <c:pt idx="488">
                  <c:v>1398-08-29</c:v>
                </c:pt>
                <c:pt idx="489">
                  <c:v>1398-08-30</c:v>
                </c:pt>
                <c:pt idx="490">
                  <c:v>1398-09-02</c:v>
                </c:pt>
                <c:pt idx="491">
                  <c:v>1398-09-03</c:v>
                </c:pt>
                <c:pt idx="492">
                  <c:v>1398-09-04</c:v>
                </c:pt>
                <c:pt idx="493">
                  <c:v>1398-09-05</c:v>
                </c:pt>
                <c:pt idx="494">
                  <c:v>1398-09-06</c:v>
                </c:pt>
                <c:pt idx="495">
                  <c:v>1398-09-07</c:v>
                </c:pt>
                <c:pt idx="496">
                  <c:v>1398-09-09</c:v>
                </c:pt>
                <c:pt idx="497">
                  <c:v>1398-09-10</c:v>
                </c:pt>
                <c:pt idx="498">
                  <c:v>1398-09-11</c:v>
                </c:pt>
                <c:pt idx="499">
                  <c:v>1398-09-12</c:v>
                </c:pt>
                <c:pt idx="500">
                  <c:v>1398-09-13</c:v>
                </c:pt>
                <c:pt idx="501">
                  <c:v>1398-09-14</c:v>
                </c:pt>
                <c:pt idx="502">
                  <c:v>1398-09-16</c:v>
                </c:pt>
                <c:pt idx="503">
                  <c:v>1398-09-17</c:v>
                </c:pt>
                <c:pt idx="504">
                  <c:v>1398-09-18</c:v>
                </c:pt>
                <c:pt idx="505">
                  <c:v>1398-09-19</c:v>
                </c:pt>
                <c:pt idx="506">
                  <c:v>1398-09-20</c:v>
                </c:pt>
                <c:pt idx="507">
                  <c:v>1398-09-21</c:v>
                </c:pt>
                <c:pt idx="508">
                  <c:v>1398-09-23</c:v>
                </c:pt>
                <c:pt idx="509">
                  <c:v>1398-09-24</c:v>
                </c:pt>
                <c:pt idx="510">
                  <c:v>1398-09-25</c:v>
                </c:pt>
                <c:pt idx="511">
                  <c:v>1398-09-26</c:v>
                </c:pt>
                <c:pt idx="512">
                  <c:v>1398-09-27</c:v>
                </c:pt>
                <c:pt idx="513">
                  <c:v>1398-09-28</c:v>
                </c:pt>
                <c:pt idx="514">
                  <c:v>1398-09-30</c:v>
                </c:pt>
                <c:pt idx="515">
                  <c:v>1398-10-01</c:v>
                </c:pt>
                <c:pt idx="516">
                  <c:v>1398-10-02</c:v>
                </c:pt>
                <c:pt idx="517">
                  <c:v>1398-10-03</c:v>
                </c:pt>
                <c:pt idx="518">
                  <c:v>1398-10-04</c:v>
                </c:pt>
                <c:pt idx="519">
                  <c:v>1398-10-05</c:v>
                </c:pt>
                <c:pt idx="520">
                  <c:v>1398-10-07</c:v>
                </c:pt>
                <c:pt idx="521">
                  <c:v>1398-10-08</c:v>
                </c:pt>
                <c:pt idx="522">
                  <c:v>1398-10-09</c:v>
                </c:pt>
                <c:pt idx="523">
                  <c:v>1398-10-10</c:v>
                </c:pt>
                <c:pt idx="524">
                  <c:v>1398-10-11</c:v>
                </c:pt>
                <c:pt idx="525">
                  <c:v>1398-10-12</c:v>
                </c:pt>
                <c:pt idx="526">
                  <c:v>1398-10-14</c:v>
                </c:pt>
                <c:pt idx="527">
                  <c:v>1398-10-15</c:v>
                </c:pt>
                <c:pt idx="528">
                  <c:v>1398-10-16</c:v>
                </c:pt>
                <c:pt idx="529">
                  <c:v>1398-10-17</c:v>
                </c:pt>
                <c:pt idx="530">
                  <c:v>1398-10-18</c:v>
                </c:pt>
                <c:pt idx="531">
                  <c:v>1398-10-19</c:v>
                </c:pt>
                <c:pt idx="532">
                  <c:v>1398-10-21</c:v>
                </c:pt>
                <c:pt idx="533">
                  <c:v>1398-10-22</c:v>
                </c:pt>
                <c:pt idx="534">
                  <c:v>1398-10-23</c:v>
                </c:pt>
                <c:pt idx="535">
                  <c:v>1398-10-24</c:v>
                </c:pt>
                <c:pt idx="536">
                  <c:v>1398-10-25</c:v>
                </c:pt>
                <c:pt idx="537">
                  <c:v>1398-10-26</c:v>
                </c:pt>
                <c:pt idx="538">
                  <c:v>1398-10-28</c:v>
                </c:pt>
                <c:pt idx="539">
                  <c:v>1398-10-29</c:v>
                </c:pt>
                <c:pt idx="540">
                  <c:v>1398-10-30</c:v>
                </c:pt>
                <c:pt idx="541">
                  <c:v>1398-11-01</c:v>
                </c:pt>
                <c:pt idx="542">
                  <c:v>1398-11-02</c:v>
                </c:pt>
                <c:pt idx="543">
                  <c:v>1398-11-03</c:v>
                </c:pt>
                <c:pt idx="544">
                  <c:v>1398-11-05</c:v>
                </c:pt>
                <c:pt idx="545">
                  <c:v>1398-11-06</c:v>
                </c:pt>
                <c:pt idx="546">
                  <c:v>1398-11-07</c:v>
                </c:pt>
                <c:pt idx="547">
                  <c:v>1398-11-08</c:v>
                </c:pt>
                <c:pt idx="548">
                  <c:v>1398-11-10</c:v>
                </c:pt>
                <c:pt idx="549">
                  <c:v>1398-11-12</c:v>
                </c:pt>
                <c:pt idx="550">
                  <c:v>1398-11-13</c:v>
                </c:pt>
                <c:pt idx="551">
                  <c:v>1398-11-14</c:v>
                </c:pt>
                <c:pt idx="552">
                  <c:v>1398-11-15</c:v>
                </c:pt>
                <c:pt idx="553">
                  <c:v>1398-11-16</c:v>
                </c:pt>
                <c:pt idx="554">
                  <c:v>1398-11-17</c:v>
                </c:pt>
                <c:pt idx="555">
                  <c:v>1398-11-19</c:v>
                </c:pt>
                <c:pt idx="556">
                  <c:v>1398-11-20</c:v>
                </c:pt>
                <c:pt idx="557">
                  <c:v>1398-11-21</c:v>
                </c:pt>
                <c:pt idx="558">
                  <c:v>1398-11-23</c:v>
                </c:pt>
                <c:pt idx="559">
                  <c:v>1398-11-24</c:v>
                </c:pt>
                <c:pt idx="560">
                  <c:v>1398-11-26</c:v>
                </c:pt>
                <c:pt idx="561">
                  <c:v>1398-11-27</c:v>
                </c:pt>
                <c:pt idx="562">
                  <c:v>1398-11-28</c:v>
                </c:pt>
                <c:pt idx="563">
                  <c:v>1398-11-29</c:v>
                </c:pt>
                <c:pt idx="564">
                  <c:v>1398-11-30</c:v>
                </c:pt>
                <c:pt idx="565">
                  <c:v>1398-12-01</c:v>
                </c:pt>
                <c:pt idx="566">
                  <c:v>1398-12-03</c:v>
                </c:pt>
                <c:pt idx="567">
                  <c:v>1398-12-04</c:v>
                </c:pt>
                <c:pt idx="568">
                  <c:v>1398-12-05</c:v>
                </c:pt>
                <c:pt idx="569">
                  <c:v>1398-12-06</c:v>
                </c:pt>
                <c:pt idx="570">
                  <c:v>1398-12-07</c:v>
                </c:pt>
                <c:pt idx="571">
                  <c:v>1398-12-08</c:v>
                </c:pt>
                <c:pt idx="572">
                  <c:v>1398-12-10</c:v>
                </c:pt>
                <c:pt idx="573">
                  <c:v>1398-12-11</c:v>
                </c:pt>
                <c:pt idx="574">
                  <c:v>1398-12-12</c:v>
                </c:pt>
                <c:pt idx="575">
                  <c:v>1398-12-13</c:v>
                </c:pt>
                <c:pt idx="576">
                  <c:v>1398-12-14</c:v>
                </c:pt>
                <c:pt idx="577">
                  <c:v>1398-12-15</c:v>
                </c:pt>
                <c:pt idx="578">
                  <c:v>1398-12-17</c:v>
                </c:pt>
                <c:pt idx="579">
                  <c:v>1398-12-19</c:v>
                </c:pt>
                <c:pt idx="580">
                  <c:v>1398-12-20</c:v>
                </c:pt>
                <c:pt idx="581">
                  <c:v>1398-12-21</c:v>
                </c:pt>
                <c:pt idx="582">
                  <c:v>1398-12-22</c:v>
                </c:pt>
                <c:pt idx="583">
                  <c:v>1398-12-24</c:v>
                </c:pt>
                <c:pt idx="584">
                  <c:v>1398-12-25</c:v>
                </c:pt>
                <c:pt idx="585">
                  <c:v>1398-12-26</c:v>
                </c:pt>
                <c:pt idx="586">
                  <c:v>1398-12-27</c:v>
                </c:pt>
                <c:pt idx="587">
                  <c:v>1398-12-28</c:v>
                </c:pt>
                <c:pt idx="588">
                  <c:v>1399-01-05</c:v>
                </c:pt>
                <c:pt idx="589">
                  <c:v>1399-01-06</c:v>
                </c:pt>
                <c:pt idx="590">
                  <c:v>1399-01-09</c:v>
                </c:pt>
                <c:pt idx="591">
                  <c:v>1399-01-10</c:v>
                </c:pt>
                <c:pt idx="592">
                  <c:v>1399-01-11</c:v>
                </c:pt>
                <c:pt idx="593">
                  <c:v>1399-01-14</c:v>
                </c:pt>
                <c:pt idx="594">
                  <c:v>1399-01-16</c:v>
                </c:pt>
                <c:pt idx="595">
                  <c:v>1399-01-17</c:v>
                </c:pt>
                <c:pt idx="596">
                  <c:v>1399-01-18</c:v>
                </c:pt>
                <c:pt idx="597">
                  <c:v>1399-01-19</c:v>
                </c:pt>
                <c:pt idx="598">
                  <c:v>1399-01-20</c:v>
                </c:pt>
                <c:pt idx="599">
                  <c:v>1399-01-23</c:v>
                </c:pt>
                <c:pt idx="600">
                  <c:v>1399-01-24</c:v>
                </c:pt>
                <c:pt idx="601">
                  <c:v>1399-01-25</c:v>
                </c:pt>
                <c:pt idx="602">
                  <c:v>1399-01-26</c:v>
                </c:pt>
                <c:pt idx="603">
                  <c:v>1399-01-27</c:v>
                </c:pt>
                <c:pt idx="604">
                  <c:v>1399-01-30</c:v>
                </c:pt>
                <c:pt idx="605">
                  <c:v>1399-01-31</c:v>
                </c:pt>
                <c:pt idx="606">
                  <c:v>1399-02-01</c:v>
                </c:pt>
                <c:pt idx="607">
                  <c:v>1399-02-02</c:v>
                </c:pt>
                <c:pt idx="608">
                  <c:v>1399-02-03</c:v>
                </c:pt>
                <c:pt idx="609">
                  <c:v>1399-02-04</c:v>
                </c:pt>
                <c:pt idx="610">
                  <c:v>1399-02-06</c:v>
                </c:pt>
                <c:pt idx="611">
                  <c:v>1399-02-07</c:v>
                </c:pt>
                <c:pt idx="612">
                  <c:v>1399-02-08</c:v>
                </c:pt>
                <c:pt idx="613">
                  <c:v>1399-02-09</c:v>
                </c:pt>
                <c:pt idx="614">
                  <c:v>1399-02-10</c:v>
                </c:pt>
                <c:pt idx="615">
                  <c:v>1399-02-11</c:v>
                </c:pt>
                <c:pt idx="616">
                  <c:v>1399-02-13</c:v>
                </c:pt>
                <c:pt idx="617">
                  <c:v>1399-02-14</c:v>
                </c:pt>
                <c:pt idx="618">
                  <c:v>1399-02-15</c:v>
                </c:pt>
                <c:pt idx="619">
                  <c:v>1399-02-16</c:v>
                </c:pt>
                <c:pt idx="620">
                  <c:v>1399-02-17</c:v>
                </c:pt>
                <c:pt idx="621">
                  <c:v>1399-02-18</c:v>
                </c:pt>
                <c:pt idx="622">
                  <c:v>1399-02-20</c:v>
                </c:pt>
                <c:pt idx="623">
                  <c:v>1399-02-21</c:v>
                </c:pt>
                <c:pt idx="624">
                  <c:v>1399-02-22</c:v>
                </c:pt>
                <c:pt idx="625">
                  <c:v>1399-02-23</c:v>
                </c:pt>
                <c:pt idx="626">
                  <c:v>1399-02-24</c:v>
                </c:pt>
                <c:pt idx="627">
                  <c:v>1399-02-25</c:v>
                </c:pt>
                <c:pt idx="628">
                  <c:v>1399-02-27</c:v>
                </c:pt>
                <c:pt idx="629">
                  <c:v>1399-02-28</c:v>
                </c:pt>
                <c:pt idx="630">
                  <c:v>1399-02-29</c:v>
                </c:pt>
                <c:pt idx="631">
                  <c:v>1399-02-30</c:v>
                </c:pt>
                <c:pt idx="632">
                  <c:v>1399-02-31</c:v>
                </c:pt>
                <c:pt idx="633">
                  <c:v>1399-03-01</c:v>
                </c:pt>
                <c:pt idx="634">
                  <c:v>1399-03-03</c:v>
                </c:pt>
                <c:pt idx="635">
                  <c:v>1399-03-06</c:v>
                </c:pt>
                <c:pt idx="636">
                  <c:v>1399-03-07</c:v>
                </c:pt>
                <c:pt idx="637">
                  <c:v>1399-03-08</c:v>
                </c:pt>
                <c:pt idx="638">
                  <c:v>1399-03-10</c:v>
                </c:pt>
                <c:pt idx="639">
                  <c:v>1399-03-11</c:v>
                </c:pt>
                <c:pt idx="640">
                  <c:v>1399-03-12</c:v>
                </c:pt>
                <c:pt idx="641">
                  <c:v>1399-03-13</c:v>
                </c:pt>
                <c:pt idx="642">
                  <c:v>1399-03-17</c:v>
                </c:pt>
                <c:pt idx="643">
                  <c:v>1399-03-18</c:v>
                </c:pt>
                <c:pt idx="644">
                  <c:v>1399-03-19</c:v>
                </c:pt>
                <c:pt idx="645">
                  <c:v>1399-03-20</c:v>
                </c:pt>
                <c:pt idx="646">
                  <c:v>1399-03-21</c:v>
                </c:pt>
                <c:pt idx="647">
                  <c:v>1399-03-22</c:v>
                </c:pt>
                <c:pt idx="648">
                  <c:v>1399-03-24</c:v>
                </c:pt>
                <c:pt idx="649">
                  <c:v>1399-03-25</c:v>
                </c:pt>
                <c:pt idx="650">
                  <c:v>1399-03-26</c:v>
                </c:pt>
                <c:pt idx="651">
                  <c:v>1399-03-27</c:v>
                </c:pt>
                <c:pt idx="652">
                  <c:v>1399-03-29</c:v>
                </c:pt>
                <c:pt idx="653">
                  <c:v>1399-03-31</c:v>
                </c:pt>
                <c:pt idx="654">
                  <c:v>1399-04-01</c:v>
                </c:pt>
                <c:pt idx="655">
                  <c:v>1399-04-02</c:v>
                </c:pt>
                <c:pt idx="656">
                  <c:v>1399-04-03</c:v>
                </c:pt>
                <c:pt idx="657">
                  <c:v>1399-04-04</c:v>
                </c:pt>
                <c:pt idx="658">
                  <c:v>1399-04-05</c:v>
                </c:pt>
                <c:pt idx="659">
                  <c:v>1399-04-07</c:v>
                </c:pt>
                <c:pt idx="660">
                  <c:v>1399-04-08</c:v>
                </c:pt>
                <c:pt idx="661">
                  <c:v>1399-04-09</c:v>
                </c:pt>
                <c:pt idx="662">
                  <c:v>1399-04-10</c:v>
                </c:pt>
                <c:pt idx="663">
                  <c:v>1399-04-11</c:v>
                </c:pt>
                <c:pt idx="664">
                  <c:v>1399-04-12</c:v>
                </c:pt>
                <c:pt idx="665">
                  <c:v>1399-04-14</c:v>
                </c:pt>
                <c:pt idx="666">
                  <c:v>1399-04-15</c:v>
                </c:pt>
                <c:pt idx="667">
                  <c:v>1399-04-16</c:v>
                </c:pt>
                <c:pt idx="668">
                  <c:v>1399-04-17</c:v>
                </c:pt>
                <c:pt idx="669">
                  <c:v>1399-04-18</c:v>
                </c:pt>
                <c:pt idx="670">
                  <c:v>1399-04-19</c:v>
                </c:pt>
                <c:pt idx="671">
                  <c:v>1399-04-21</c:v>
                </c:pt>
                <c:pt idx="672">
                  <c:v>1399-04-22</c:v>
                </c:pt>
                <c:pt idx="673">
                  <c:v>1399-04-23</c:v>
                </c:pt>
                <c:pt idx="674">
                  <c:v>1399-04-24</c:v>
                </c:pt>
                <c:pt idx="675">
                  <c:v>1399-04-25</c:v>
                </c:pt>
                <c:pt idx="676">
                  <c:v>1399-04-26</c:v>
                </c:pt>
                <c:pt idx="677">
                  <c:v>1399-04-28</c:v>
                </c:pt>
                <c:pt idx="678">
                  <c:v>1399-04-29</c:v>
                </c:pt>
                <c:pt idx="679">
                  <c:v>1399-04-30</c:v>
                </c:pt>
                <c:pt idx="680">
                  <c:v>1399-04-31</c:v>
                </c:pt>
                <c:pt idx="681">
                  <c:v>1399-05-01</c:v>
                </c:pt>
                <c:pt idx="682">
                  <c:v>1399-05-02</c:v>
                </c:pt>
                <c:pt idx="683">
                  <c:v>1399-05-04</c:v>
                </c:pt>
                <c:pt idx="684">
                  <c:v>1399-05-05</c:v>
                </c:pt>
                <c:pt idx="685">
                  <c:v>1399-05-06</c:v>
                </c:pt>
                <c:pt idx="686">
                  <c:v>1399-05-07</c:v>
                </c:pt>
                <c:pt idx="687">
                  <c:v>1399-05-08</c:v>
                </c:pt>
                <c:pt idx="688">
                  <c:v>1399-05-09</c:v>
                </c:pt>
                <c:pt idx="689">
                  <c:v>1399-05-11</c:v>
                </c:pt>
                <c:pt idx="690">
                  <c:v>1399-05-12</c:v>
                </c:pt>
                <c:pt idx="691">
                  <c:v>1399-05-13</c:v>
                </c:pt>
                <c:pt idx="692">
                  <c:v>1399-05-14</c:v>
                </c:pt>
                <c:pt idx="693">
                  <c:v>1399-05-15</c:v>
                </c:pt>
                <c:pt idx="694">
                  <c:v>1399-05-16</c:v>
                </c:pt>
                <c:pt idx="695">
                  <c:v>1399-05-19</c:v>
                </c:pt>
                <c:pt idx="696">
                  <c:v>1399-05-20</c:v>
                </c:pt>
                <c:pt idx="697">
                  <c:v>1399-05-21</c:v>
                </c:pt>
                <c:pt idx="698">
                  <c:v>1399-05-22</c:v>
                </c:pt>
                <c:pt idx="699">
                  <c:v>1399-05-23</c:v>
                </c:pt>
                <c:pt idx="700">
                  <c:v>1399-05-25</c:v>
                </c:pt>
                <c:pt idx="701">
                  <c:v>1399-05-26</c:v>
                </c:pt>
                <c:pt idx="702">
                  <c:v>1399-05-27</c:v>
                </c:pt>
                <c:pt idx="703">
                  <c:v>1399-05-28</c:v>
                </c:pt>
                <c:pt idx="704">
                  <c:v>1399-05-29</c:v>
                </c:pt>
                <c:pt idx="705">
                  <c:v>1399-05-30</c:v>
                </c:pt>
                <c:pt idx="706">
                  <c:v>1399-06-01</c:v>
                </c:pt>
                <c:pt idx="707">
                  <c:v>1399-06-02</c:v>
                </c:pt>
                <c:pt idx="708">
                  <c:v>1399-06-03</c:v>
                </c:pt>
                <c:pt idx="709">
                  <c:v>1399-06-04</c:v>
                </c:pt>
                <c:pt idx="710">
                  <c:v>1399-06-05</c:v>
                </c:pt>
                <c:pt idx="711">
                  <c:v>1399-06-06</c:v>
                </c:pt>
                <c:pt idx="712">
                  <c:v>1399-06-10</c:v>
                </c:pt>
                <c:pt idx="713">
                  <c:v>1399-06-11</c:v>
                </c:pt>
                <c:pt idx="714">
                  <c:v>1399-06-12</c:v>
                </c:pt>
                <c:pt idx="715">
                  <c:v>1399-06-13</c:v>
                </c:pt>
                <c:pt idx="716">
                  <c:v>1399-06-15</c:v>
                </c:pt>
                <c:pt idx="717">
                  <c:v>1399-06-16</c:v>
                </c:pt>
                <c:pt idx="718">
                  <c:v>1399-06-17</c:v>
                </c:pt>
                <c:pt idx="719">
                  <c:v>1399-06-18</c:v>
                </c:pt>
                <c:pt idx="720">
                  <c:v>1399-06-19</c:v>
                </c:pt>
                <c:pt idx="721">
                  <c:v>1399-06-20</c:v>
                </c:pt>
                <c:pt idx="722">
                  <c:v>1399-06-22</c:v>
                </c:pt>
                <c:pt idx="723">
                  <c:v>1399-06-23</c:v>
                </c:pt>
                <c:pt idx="724">
                  <c:v>1399-06-24</c:v>
                </c:pt>
                <c:pt idx="725">
                  <c:v>1399-06-25</c:v>
                </c:pt>
                <c:pt idx="726">
                  <c:v>1399-06-26</c:v>
                </c:pt>
                <c:pt idx="727">
                  <c:v>1399-06-27</c:v>
                </c:pt>
                <c:pt idx="728">
                  <c:v>1399-06-29</c:v>
                </c:pt>
                <c:pt idx="729">
                  <c:v>1399-06-30</c:v>
                </c:pt>
                <c:pt idx="730">
                  <c:v>1399-06-31</c:v>
                </c:pt>
                <c:pt idx="731">
                  <c:v>1399-07-01</c:v>
                </c:pt>
                <c:pt idx="732">
                  <c:v>1399-07-02</c:v>
                </c:pt>
                <c:pt idx="733">
                  <c:v>1399-07-03</c:v>
                </c:pt>
                <c:pt idx="734">
                  <c:v>1399-07-05</c:v>
                </c:pt>
                <c:pt idx="735">
                  <c:v>1399-07-06</c:v>
                </c:pt>
                <c:pt idx="736">
                  <c:v>1399-07-07</c:v>
                </c:pt>
                <c:pt idx="737">
                  <c:v>1399-07-08</c:v>
                </c:pt>
                <c:pt idx="738">
                  <c:v>1399-07-09</c:v>
                </c:pt>
                <c:pt idx="739">
                  <c:v>1399-07-10</c:v>
                </c:pt>
                <c:pt idx="740">
                  <c:v>1399-07-12</c:v>
                </c:pt>
                <c:pt idx="741">
                  <c:v>1399-07-13</c:v>
                </c:pt>
                <c:pt idx="742">
                  <c:v>1399-07-14</c:v>
                </c:pt>
                <c:pt idx="743">
                  <c:v>1399-07-15</c:v>
                </c:pt>
                <c:pt idx="744">
                  <c:v>1399-07-16</c:v>
                </c:pt>
                <c:pt idx="745">
                  <c:v>1399-07-19</c:v>
                </c:pt>
                <c:pt idx="746">
                  <c:v>1399-07-20</c:v>
                </c:pt>
                <c:pt idx="747">
                  <c:v>1399-07-21</c:v>
                </c:pt>
                <c:pt idx="748">
                  <c:v>1399-07-22</c:v>
                </c:pt>
                <c:pt idx="749">
                  <c:v>1399-07-23</c:v>
                </c:pt>
                <c:pt idx="750">
                  <c:v>1399-07-24</c:v>
                </c:pt>
                <c:pt idx="751">
                  <c:v>1399-07-27</c:v>
                </c:pt>
                <c:pt idx="752">
                  <c:v>1399-07-28</c:v>
                </c:pt>
                <c:pt idx="753">
                  <c:v>1399-07-29</c:v>
                </c:pt>
                <c:pt idx="754">
                  <c:v>1399-07-30</c:v>
                </c:pt>
                <c:pt idx="755">
                  <c:v>1399-08-01</c:v>
                </c:pt>
                <c:pt idx="756">
                  <c:v>1399-08-03</c:v>
                </c:pt>
                <c:pt idx="757">
                  <c:v>1399-08-05</c:v>
                </c:pt>
                <c:pt idx="758">
                  <c:v>1399-08-06</c:v>
                </c:pt>
                <c:pt idx="759">
                  <c:v>1399-08-07</c:v>
                </c:pt>
                <c:pt idx="760">
                  <c:v>1399-08-08</c:v>
                </c:pt>
                <c:pt idx="761">
                  <c:v>1399-08-10</c:v>
                </c:pt>
                <c:pt idx="762">
                  <c:v>1399-08-11</c:v>
                </c:pt>
                <c:pt idx="763">
                  <c:v>1399-08-12</c:v>
                </c:pt>
                <c:pt idx="764">
                  <c:v>1399-08-14</c:v>
                </c:pt>
                <c:pt idx="765">
                  <c:v>1399-08-15</c:v>
                </c:pt>
                <c:pt idx="766">
                  <c:v>1399-08-17</c:v>
                </c:pt>
                <c:pt idx="767">
                  <c:v>1399-08-18</c:v>
                </c:pt>
                <c:pt idx="768">
                  <c:v>1399-08-19</c:v>
                </c:pt>
                <c:pt idx="769">
                  <c:v>1399-08-20</c:v>
                </c:pt>
                <c:pt idx="770">
                  <c:v>1399-08-21</c:v>
                </c:pt>
                <c:pt idx="771">
                  <c:v>1399-08-22</c:v>
                </c:pt>
                <c:pt idx="772">
                  <c:v>1399-08-24</c:v>
                </c:pt>
                <c:pt idx="773">
                  <c:v>1399-08-25</c:v>
                </c:pt>
                <c:pt idx="774">
                  <c:v>1399-08-26</c:v>
                </c:pt>
                <c:pt idx="775">
                  <c:v>1399-08-27</c:v>
                </c:pt>
                <c:pt idx="776">
                  <c:v>1399-08-28</c:v>
                </c:pt>
                <c:pt idx="777">
                  <c:v>1399-08-29</c:v>
                </c:pt>
                <c:pt idx="778">
                  <c:v>1399-09-01</c:v>
                </c:pt>
                <c:pt idx="779">
                  <c:v>1399-09-02</c:v>
                </c:pt>
                <c:pt idx="780">
                  <c:v>1399-09-03</c:v>
                </c:pt>
                <c:pt idx="781">
                  <c:v>1399-09-04</c:v>
                </c:pt>
                <c:pt idx="782">
                  <c:v>1399-09-05</c:v>
                </c:pt>
                <c:pt idx="783">
                  <c:v>1399-09-08</c:v>
                </c:pt>
                <c:pt idx="784">
                  <c:v>1399-09-09</c:v>
                </c:pt>
                <c:pt idx="785">
                  <c:v>1399-09-10</c:v>
                </c:pt>
                <c:pt idx="786">
                  <c:v>1399-09-11</c:v>
                </c:pt>
                <c:pt idx="787">
                  <c:v>1399-09-12</c:v>
                </c:pt>
                <c:pt idx="788">
                  <c:v>1399-09-13</c:v>
                </c:pt>
                <c:pt idx="789">
                  <c:v>1399-09-15</c:v>
                </c:pt>
                <c:pt idx="790">
                  <c:v>1399-09-16</c:v>
                </c:pt>
                <c:pt idx="791">
                  <c:v>1399-09-17</c:v>
                </c:pt>
                <c:pt idx="792">
                  <c:v>1399-09-18</c:v>
                </c:pt>
                <c:pt idx="793">
                  <c:v>1399-09-19</c:v>
                </c:pt>
                <c:pt idx="794">
                  <c:v>1399-09-20</c:v>
                </c:pt>
                <c:pt idx="795">
                  <c:v>1399-09-21</c:v>
                </c:pt>
                <c:pt idx="796">
                  <c:v>1399-09-22</c:v>
                </c:pt>
                <c:pt idx="797">
                  <c:v>1399-09-23</c:v>
                </c:pt>
                <c:pt idx="798">
                  <c:v>1399-09-24</c:v>
                </c:pt>
                <c:pt idx="799">
                  <c:v>1399-09-25</c:v>
                </c:pt>
                <c:pt idx="800">
                  <c:v>1399-09-26</c:v>
                </c:pt>
                <c:pt idx="801">
                  <c:v>1399-09-27</c:v>
                </c:pt>
                <c:pt idx="802">
                  <c:v>1399-09-29</c:v>
                </c:pt>
                <c:pt idx="803">
                  <c:v>1399-09-30</c:v>
                </c:pt>
                <c:pt idx="804">
                  <c:v>1399-10-01</c:v>
                </c:pt>
                <c:pt idx="805">
                  <c:v>1399-10-02</c:v>
                </c:pt>
                <c:pt idx="806">
                  <c:v>1399-10-03</c:v>
                </c:pt>
                <c:pt idx="807">
                  <c:v>1399-10-04</c:v>
                </c:pt>
                <c:pt idx="808">
                  <c:v>1399-10-06</c:v>
                </c:pt>
                <c:pt idx="809">
                  <c:v>1399-10-07</c:v>
                </c:pt>
                <c:pt idx="810">
                  <c:v>1399-10-08</c:v>
                </c:pt>
                <c:pt idx="811">
                  <c:v>1399-10-09</c:v>
                </c:pt>
                <c:pt idx="812">
                  <c:v>1399-10-10</c:v>
                </c:pt>
                <c:pt idx="813">
                  <c:v>1399-10-11</c:v>
                </c:pt>
                <c:pt idx="814">
                  <c:v>1399-10-13</c:v>
                </c:pt>
                <c:pt idx="815">
                  <c:v>1399-10-14</c:v>
                </c:pt>
                <c:pt idx="816">
                  <c:v>1399-10-15</c:v>
                </c:pt>
                <c:pt idx="817">
                  <c:v>1399-10-16</c:v>
                </c:pt>
                <c:pt idx="818">
                  <c:v>1399-10-17</c:v>
                </c:pt>
                <c:pt idx="819">
                  <c:v>1399-10-18</c:v>
                </c:pt>
                <c:pt idx="820">
                  <c:v>1399-10-20</c:v>
                </c:pt>
                <c:pt idx="821">
                  <c:v>1399-10-21</c:v>
                </c:pt>
                <c:pt idx="822">
                  <c:v>1399-10-22</c:v>
                </c:pt>
                <c:pt idx="823">
                  <c:v>1399-10-23</c:v>
                </c:pt>
                <c:pt idx="824">
                  <c:v>1399-10-24</c:v>
                </c:pt>
                <c:pt idx="825">
                  <c:v>1399-10-25</c:v>
                </c:pt>
                <c:pt idx="826">
                  <c:v>1399-10-27</c:v>
                </c:pt>
                <c:pt idx="827">
                  <c:v>1399-10-29</c:v>
                </c:pt>
                <c:pt idx="828">
                  <c:v>1399-10-30</c:v>
                </c:pt>
                <c:pt idx="829">
                  <c:v>1399-11-01</c:v>
                </c:pt>
                <c:pt idx="830">
                  <c:v>1399-11-02</c:v>
                </c:pt>
                <c:pt idx="831">
                  <c:v>1399-11-04</c:v>
                </c:pt>
                <c:pt idx="832">
                  <c:v>1399-11-05</c:v>
                </c:pt>
                <c:pt idx="833">
                  <c:v>1399-11-06</c:v>
                </c:pt>
                <c:pt idx="834">
                  <c:v>1399-11-07</c:v>
                </c:pt>
                <c:pt idx="835">
                  <c:v>1399-11-08</c:v>
                </c:pt>
                <c:pt idx="836">
                  <c:v>1399-11-09</c:v>
                </c:pt>
                <c:pt idx="837">
                  <c:v>1399-11-11</c:v>
                </c:pt>
                <c:pt idx="838">
                  <c:v>1399-11-12</c:v>
                </c:pt>
                <c:pt idx="839">
                  <c:v>1399-11-13</c:v>
                </c:pt>
                <c:pt idx="840">
                  <c:v>1399-11-14</c:v>
                </c:pt>
                <c:pt idx="841">
                  <c:v>1399-11-15</c:v>
                </c:pt>
                <c:pt idx="842">
                  <c:v>1399-11-16</c:v>
                </c:pt>
                <c:pt idx="843">
                  <c:v>1399-11-18</c:v>
                </c:pt>
                <c:pt idx="844">
                  <c:v>1399-11-19</c:v>
                </c:pt>
                <c:pt idx="845">
                  <c:v>1399-11-20</c:v>
                </c:pt>
                <c:pt idx="846">
                  <c:v>1399-11-21</c:v>
                </c:pt>
                <c:pt idx="847">
                  <c:v>1399-11-23</c:v>
                </c:pt>
                <c:pt idx="848">
                  <c:v>1399-11-25</c:v>
                </c:pt>
                <c:pt idx="849">
                  <c:v>1399-11-26</c:v>
                </c:pt>
                <c:pt idx="850">
                  <c:v>1399-11-27</c:v>
                </c:pt>
                <c:pt idx="851">
                  <c:v>1399-11-28</c:v>
                </c:pt>
                <c:pt idx="852">
                  <c:v>1399-11-29</c:v>
                </c:pt>
                <c:pt idx="853">
                  <c:v>1399-11-30</c:v>
                </c:pt>
                <c:pt idx="854">
                  <c:v>1399-12-02</c:v>
                </c:pt>
                <c:pt idx="855">
                  <c:v>1399-12-03</c:v>
                </c:pt>
                <c:pt idx="856">
                  <c:v>1399-12-04</c:v>
                </c:pt>
                <c:pt idx="857">
                  <c:v>1399-12-05</c:v>
                </c:pt>
                <c:pt idx="858">
                  <c:v>1399-12-06</c:v>
                </c:pt>
                <c:pt idx="859">
                  <c:v>1399-12-07</c:v>
                </c:pt>
                <c:pt idx="860">
                  <c:v>1399-12-09</c:v>
                </c:pt>
                <c:pt idx="861">
                  <c:v>1399-12-10</c:v>
                </c:pt>
                <c:pt idx="862">
                  <c:v>1399-12-11</c:v>
                </c:pt>
                <c:pt idx="863">
                  <c:v>1399-12-12</c:v>
                </c:pt>
                <c:pt idx="864">
                  <c:v>1399-12-13</c:v>
                </c:pt>
                <c:pt idx="865">
                  <c:v>1399-12-14</c:v>
                </c:pt>
                <c:pt idx="866">
                  <c:v>1399-12-16</c:v>
                </c:pt>
                <c:pt idx="867">
                  <c:v>1399-12-17</c:v>
                </c:pt>
                <c:pt idx="868">
                  <c:v>1399-12-18</c:v>
                </c:pt>
                <c:pt idx="869">
                  <c:v>1399-12-19</c:v>
                </c:pt>
                <c:pt idx="870">
                  <c:v>1399-12-20</c:v>
                </c:pt>
                <c:pt idx="871">
                  <c:v>1399-12-21</c:v>
                </c:pt>
                <c:pt idx="872">
                  <c:v>1399-12-23</c:v>
                </c:pt>
                <c:pt idx="873">
                  <c:v>1399-12-24</c:v>
                </c:pt>
                <c:pt idx="874">
                  <c:v>1399-12-25</c:v>
                </c:pt>
                <c:pt idx="875">
                  <c:v>1399-12-26</c:v>
                </c:pt>
                <c:pt idx="876">
                  <c:v>1399-12-27</c:v>
                </c:pt>
                <c:pt idx="877">
                  <c:v>1399-12-28</c:v>
                </c:pt>
                <c:pt idx="878">
                  <c:v>1400-01-07</c:v>
                </c:pt>
                <c:pt idx="879">
                  <c:v>1400-01-08</c:v>
                </c:pt>
                <c:pt idx="880">
                  <c:v>1400-01-10</c:v>
                </c:pt>
                <c:pt idx="881">
                  <c:v>1400-01-11</c:v>
                </c:pt>
                <c:pt idx="882">
                  <c:v>1400-01-12</c:v>
                </c:pt>
                <c:pt idx="883">
                  <c:v>1400-01-14</c:v>
                </c:pt>
                <c:pt idx="884">
                  <c:v>1400-01-15</c:v>
                </c:pt>
                <c:pt idx="885">
                  <c:v>1400-01-16</c:v>
                </c:pt>
                <c:pt idx="886">
                  <c:v>1400-01-17</c:v>
                </c:pt>
                <c:pt idx="887">
                  <c:v>1400-01-18</c:v>
                </c:pt>
                <c:pt idx="888">
                  <c:v>1400-01-19</c:v>
                </c:pt>
                <c:pt idx="889">
                  <c:v>1400-01-21</c:v>
                </c:pt>
                <c:pt idx="890">
                  <c:v>1400-01-22</c:v>
                </c:pt>
                <c:pt idx="891">
                  <c:v>1400-01-23</c:v>
                </c:pt>
                <c:pt idx="892">
                  <c:v>1400-01-24</c:v>
                </c:pt>
                <c:pt idx="893">
                  <c:v>1400-01-25</c:v>
                </c:pt>
                <c:pt idx="894">
                  <c:v>1400-01-26</c:v>
                </c:pt>
                <c:pt idx="895">
                  <c:v>1400-01-28</c:v>
                </c:pt>
                <c:pt idx="896">
                  <c:v>1400-01-29</c:v>
                </c:pt>
                <c:pt idx="897">
                  <c:v>1400-01-30</c:v>
                </c:pt>
                <c:pt idx="898">
                  <c:v>1400-01-31</c:v>
                </c:pt>
                <c:pt idx="899">
                  <c:v>1400-02-01</c:v>
                </c:pt>
                <c:pt idx="900">
                  <c:v>1400-02-02</c:v>
                </c:pt>
                <c:pt idx="901">
                  <c:v>1400-02-04</c:v>
                </c:pt>
                <c:pt idx="902">
                  <c:v>1400-02-05</c:v>
                </c:pt>
                <c:pt idx="903">
                  <c:v>1400-02-06</c:v>
                </c:pt>
                <c:pt idx="904">
                  <c:v>1400-02-07</c:v>
                </c:pt>
                <c:pt idx="905">
                  <c:v>1400-02-08</c:v>
                </c:pt>
                <c:pt idx="906">
                  <c:v>1400-02-09</c:v>
                </c:pt>
                <c:pt idx="907">
                  <c:v>1400-02-11</c:v>
                </c:pt>
                <c:pt idx="908">
                  <c:v>1400-02-12</c:v>
                </c:pt>
                <c:pt idx="909">
                  <c:v>1400-02-13</c:v>
                </c:pt>
                <c:pt idx="910">
                  <c:v>1400-02-15</c:v>
                </c:pt>
                <c:pt idx="911">
                  <c:v>1400-02-16</c:v>
                </c:pt>
                <c:pt idx="912">
                  <c:v>1400-02-18</c:v>
                </c:pt>
                <c:pt idx="913">
                  <c:v>1400-02-19</c:v>
                </c:pt>
                <c:pt idx="914">
                  <c:v>1400-02-20</c:v>
                </c:pt>
                <c:pt idx="915">
                  <c:v>1400-02-21</c:v>
                </c:pt>
                <c:pt idx="916">
                  <c:v>1400-02-22</c:v>
                </c:pt>
                <c:pt idx="917">
                  <c:v>1400-02-23</c:v>
                </c:pt>
                <c:pt idx="918">
                  <c:v>1400-02-25</c:v>
                </c:pt>
                <c:pt idx="919">
                  <c:v>1400-02-26</c:v>
                </c:pt>
                <c:pt idx="920">
                  <c:v>1400-02-27</c:v>
                </c:pt>
                <c:pt idx="921">
                  <c:v>1400-02-28</c:v>
                </c:pt>
                <c:pt idx="922">
                  <c:v>1400-02-29</c:v>
                </c:pt>
                <c:pt idx="923">
                  <c:v>1400-02-30</c:v>
                </c:pt>
                <c:pt idx="924">
                  <c:v>1400-03-01</c:v>
                </c:pt>
                <c:pt idx="925">
                  <c:v>1400-03-02</c:v>
                </c:pt>
                <c:pt idx="926">
                  <c:v>1400-03-03</c:v>
                </c:pt>
                <c:pt idx="927">
                  <c:v>1400-03-04</c:v>
                </c:pt>
                <c:pt idx="928">
                  <c:v>1400-03-05</c:v>
                </c:pt>
                <c:pt idx="929">
                  <c:v>1400-03-06</c:v>
                </c:pt>
                <c:pt idx="930">
                  <c:v>1400-03-08</c:v>
                </c:pt>
                <c:pt idx="931">
                  <c:v>1400-03-09</c:v>
                </c:pt>
                <c:pt idx="932">
                  <c:v>1400-03-10</c:v>
                </c:pt>
                <c:pt idx="933">
                  <c:v>1400-03-11</c:v>
                </c:pt>
                <c:pt idx="934">
                  <c:v>1400-03-12</c:v>
                </c:pt>
                <c:pt idx="935">
                  <c:v>1400-03-13</c:v>
                </c:pt>
                <c:pt idx="936">
                  <c:v>1400-03-17</c:v>
                </c:pt>
                <c:pt idx="937">
                  <c:v>1400-03-18</c:v>
                </c:pt>
                <c:pt idx="938">
                  <c:v>1400-03-19</c:v>
                </c:pt>
                <c:pt idx="939">
                  <c:v>1400-03-20</c:v>
                </c:pt>
                <c:pt idx="940">
                  <c:v>1400-03-22</c:v>
                </c:pt>
                <c:pt idx="941">
                  <c:v>1400-03-23</c:v>
                </c:pt>
                <c:pt idx="942">
                  <c:v>1400-03-24</c:v>
                </c:pt>
                <c:pt idx="943">
                  <c:v>1400-03-25</c:v>
                </c:pt>
                <c:pt idx="944">
                  <c:v>1400-03-26</c:v>
                </c:pt>
                <c:pt idx="945">
                  <c:v>1400-03-27</c:v>
                </c:pt>
                <c:pt idx="946">
                  <c:v>1400-03-29</c:v>
                </c:pt>
                <c:pt idx="947">
                  <c:v>1400-03-30</c:v>
                </c:pt>
                <c:pt idx="948">
                  <c:v>1400-03-31</c:v>
                </c:pt>
                <c:pt idx="949">
                  <c:v>1400-04-01</c:v>
                </c:pt>
                <c:pt idx="950">
                  <c:v>1400-04-02</c:v>
                </c:pt>
                <c:pt idx="951">
                  <c:v>1400-04-03</c:v>
                </c:pt>
                <c:pt idx="952">
                  <c:v>1400-04-05</c:v>
                </c:pt>
                <c:pt idx="953">
                  <c:v>1400-04-06</c:v>
                </c:pt>
                <c:pt idx="954">
                  <c:v>1400-04-07</c:v>
                </c:pt>
                <c:pt idx="955">
                  <c:v>1400-04-08</c:v>
                </c:pt>
                <c:pt idx="956">
                  <c:v>1400-04-09</c:v>
                </c:pt>
                <c:pt idx="957">
                  <c:v>1400-04-10</c:v>
                </c:pt>
                <c:pt idx="958">
                  <c:v>1400-04-12</c:v>
                </c:pt>
                <c:pt idx="959">
                  <c:v>1400-04-13</c:v>
                </c:pt>
                <c:pt idx="960">
                  <c:v>1400-04-14</c:v>
                </c:pt>
                <c:pt idx="961">
                  <c:v>1400-04-15</c:v>
                </c:pt>
                <c:pt idx="962">
                  <c:v>1400-04-16</c:v>
                </c:pt>
                <c:pt idx="963">
                  <c:v>1400-04-17</c:v>
                </c:pt>
                <c:pt idx="964">
                  <c:v>1400-04-19</c:v>
                </c:pt>
                <c:pt idx="965">
                  <c:v>1400-04-20</c:v>
                </c:pt>
                <c:pt idx="966">
                  <c:v>1400-04-21</c:v>
                </c:pt>
                <c:pt idx="967">
                  <c:v>1400-04-22</c:v>
                </c:pt>
                <c:pt idx="968">
                  <c:v>1400-04-23</c:v>
                </c:pt>
                <c:pt idx="969">
                  <c:v>1400-04-24</c:v>
                </c:pt>
                <c:pt idx="970">
                  <c:v>1400-04-26</c:v>
                </c:pt>
                <c:pt idx="971">
                  <c:v>1400-04-27</c:v>
                </c:pt>
                <c:pt idx="972">
                  <c:v>1400-04-28</c:v>
                </c:pt>
                <c:pt idx="973">
                  <c:v>1400-04-31</c:v>
                </c:pt>
                <c:pt idx="974">
                  <c:v>1400-05-04</c:v>
                </c:pt>
                <c:pt idx="975">
                  <c:v>1400-05-05</c:v>
                </c:pt>
                <c:pt idx="976">
                  <c:v>1400-05-06</c:v>
                </c:pt>
                <c:pt idx="977">
                  <c:v>1400-05-07</c:v>
                </c:pt>
                <c:pt idx="978">
                  <c:v>1400-05-09</c:v>
                </c:pt>
                <c:pt idx="979">
                  <c:v>1400-05-10</c:v>
                </c:pt>
                <c:pt idx="980">
                  <c:v>1400-05-11</c:v>
                </c:pt>
                <c:pt idx="981">
                  <c:v>1400-05-12</c:v>
                </c:pt>
                <c:pt idx="982">
                  <c:v>1400-05-13</c:v>
                </c:pt>
                <c:pt idx="983">
                  <c:v>1400-05-14</c:v>
                </c:pt>
                <c:pt idx="984">
                  <c:v>1400-05-16</c:v>
                </c:pt>
                <c:pt idx="985">
                  <c:v>1400-05-17</c:v>
                </c:pt>
                <c:pt idx="986">
                  <c:v>1400-05-18</c:v>
                </c:pt>
                <c:pt idx="987">
                  <c:v>1400-05-19</c:v>
                </c:pt>
                <c:pt idx="988">
                  <c:v>1400-05-20</c:v>
                </c:pt>
                <c:pt idx="989">
                  <c:v>1400-05-21</c:v>
                </c:pt>
                <c:pt idx="990">
                  <c:v>1400-05-23</c:v>
                </c:pt>
                <c:pt idx="991">
                  <c:v>1400-05-24</c:v>
                </c:pt>
                <c:pt idx="992">
                  <c:v>1400-05-28</c:v>
                </c:pt>
                <c:pt idx="993">
                  <c:v>1400-05-31</c:v>
                </c:pt>
                <c:pt idx="994">
                  <c:v>1400-06-01</c:v>
                </c:pt>
                <c:pt idx="995">
                  <c:v>1400-06-02</c:v>
                </c:pt>
                <c:pt idx="996">
                  <c:v>1400-06-03</c:v>
                </c:pt>
                <c:pt idx="997">
                  <c:v>1400-06-04</c:v>
                </c:pt>
                <c:pt idx="998">
                  <c:v>1400-06-06</c:v>
                </c:pt>
                <c:pt idx="999">
                  <c:v>1400-06-07</c:v>
                </c:pt>
                <c:pt idx="1000">
                  <c:v>1400-06-08</c:v>
                </c:pt>
                <c:pt idx="1001">
                  <c:v>1400-06-09</c:v>
                </c:pt>
                <c:pt idx="1002">
                  <c:v>1400-06-10</c:v>
                </c:pt>
                <c:pt idx="1003">
                  <c:v>1400-06-11</c:v>
                </c:pt>
                <c:pt idx="1004">
                  <c:v>1400-06-13</c:v>
                </c:pt>
                <c:pt idx="1005">
                  <c:v>1400-06-14</c:v>
                </c:pt>
                <c:pt idx="1006">
                  <c:v>1400-06-15</c:v>
                </c:pt>
                <c:pt idx="1007">
                  <c:v>1400-06-16</c:v>
                </c:pt>
                <c:pt idx="1008">
                  <c:v>1400-06-17</c:v>
                </c:pt>
                <c:pt idx="1009">
                  <c:v>1400-06-18</c:v>
                </c:pt>
                <c:pt idx="1010">
                  <c:v>1400-06-20</c:v>
                </c:pt>
                <c:pt idx="1011">
                  <c:v>1400-06-21</c:v>
                </c:pt>
                <c:pt idx="1012">
                  <c:v>1400-06-22</c:v>
                </c:pt>
                <c:pt idx="1013">
                  <c:v>1400-06-23</c:v>
                </c:pt>
                <c:pt idx="1014">
                  <c:v>1400-06-24</c:v>
                </c:pt>
                <c:pt idx="1015">
                  <c:v>1400-06-25</c:v>
                </c:pt>
                <c:pt idx="1016">
                  <c:v>1400-06-27</c:v>
                </c:pt>
                <c:pt idx="1017">
                  <c:v>1400-06-28</c:v>
                </c:pt>
                <c:pt idx="1018">
                  <c:v>1400-06-29</c:v>
                </c:pt>
                <c:pt idx="1019">
                  <c:v>1400-06-30</c:v>
                </c:pt>
                <c:pt idx="1020">
                  <c:v>1400-06-31</c:v>
                </c:pt>
                <c:pt idx="1021">
                  <c:v>1400-07-01</c:v>
                </c:pt>
                <c:pt idx="1022">
                  <c:v>1400-07-03</c:v>
                </c:pt>
                <c:pt idx="1023">
                  <c:v>1400-07-04</c:v>
                </c:pt>
                <c:pt idx="1024">
                  <c:v>1400-07-06</c:v>
                </c:pt>
                <c:pt idx="1025">
                  <c:v>1400-07-07</c:v>
                </c:pt>
                <c:pt idx="1026">
                  <c:v>1400-07-08</c:v>
                </c:pt>
                <c:pt idx="1027">
                  <c:v>1400-07-10</c:v>
                </c:pt>
                <c:pt idx="1028">
                  <c:v>1400-07-11</c:v>
                </c:pt>
                <c:pt idx="1029">
                  <c:v>1400-07-12</c:v>
                </c:pt>
                <c:pt idx="1030">
                  <c:v>1400-07-14</c:v>
                </c:pt>
                <c:pt idx="1031">
                  <c:v>1400-07-15</c:v>
                </c:pt>
                <c:pt idx="1032">
                  <c:v>1400-07-17</c:v>
                </c:pt>
                <c:pt idx="1033">
                  <c:v>1400-07-18</c:v>
                </c:pt>
                <c:pt idx="1034">
                  <c:v>1400-07-19</c:v>
                </c:pt>
                <c:pt idx="1035">
                  <c:v>1400-07-20</c:v>
                </c:pt>
                <c:pt idx="1036">
                  <c:v>1400-07-21</c:v>
                </c:pt>
                <c:pt idx="1037">
                  <c:v>1400-07-22</c:v>
                </c:pt>
                <c:pt idx="1038">
                  <c:v>1400-07-24</c:v>
                </c:pt>
                <c:pt idx="1039">
                  <c:v>1400-07-25</c:v>
                </c:pt>
                <c:pt idx="1040">
                  <c:v>1400-07-26</c:v>
                </c:pt>
                <c:pt idx="1041">
                  <c:v>1400-07-27</c:v>
                </c:pt>
                <c:pt idx="1042">
                  <c:v>1400-07-28</c:v>
                </c:pt>
                <c:pt idx="1043">
                  <c:v>1400-07-29</c:v>
                </c:pt>
                <c:pt idx="1044">
                  <c:v>1400-08-01</c:v>
                </c:pt>
                <c:pt idx="1045">
                  <c:v>1400-08-03</c:v>
                </c:pt>
                <c:pt idx="1046">
                  <c:v>1400-08-04</c:v>
                </c:pt>
                <c:pt idx="1047">
                  <c:v>1400-08-05</c:v>
                </c:pt>
                <c:pt idx="1048">
                  <c:v>1400-08-06</c:v>
                </c:pt>
                <c:pt idx="1049">
                  <c:v>1400-08-08</c:v>
                </c:pt>
                <c:pt idx="1050">
                  <c:v>1400-08-09</c:v>
                </c:pt>
                <c:pt idx="1051">
                  <c:v>1400-08-10</c:v>
                </c:pt>
                <c:pt idx="1052">
                  <c:v>1400-08-11</c:v>
                </c:pt>
                <c:pt idx="1053">
                  <c:v>1400-08-12</c:v>
                </c:pt>
                <c:pt idx="1054">
                  <c:v>1400-08-13</c:v>
                </c:pt>
                <c:pt idx="1055">
                  <c:v>1400-08-15</c:v>
                </c:pt>
                <c:pt idx="1056">
                  <c:v>1400-08-16</c:v>
                </c:pt>
                <c:pt idx="1057">
                  <c:v>1400-08-17</c:v>
                </c:pt>
                <c:pt idx="1058">
                  <c:v>1400-08-18</c:v>
                </c:pt>
                <c:pt idx="1059">
                  <c:v>1400-08-19</c:v>
                </c:pt>
                <c:pt idx="1060">
                  <c:v>1400-08-20</c:v>
                </c:pt>
                <c:pt idx="1061">
                  <c:v>1400-08-22</c:v>
                </c:pt>
                <c:pt idx="1062">
                  <c:v>1400-08-23</c:v>
                </c:pt>
                <c:pt idx="1063">
                  <c:v>1400-08-24</c:v>
                </c:pt>
                <c:pt idx="1064">
                  <c:v>1400-08-25</c:v>
                </c:pt>
                <c:pt idx="1065">
                  <c:v>1400-08-26</c:v>
                </c:pt>
                <c:pt idx="1066">
                  <c:v>1400-08-27</c:v>
                </c:pt>
                <c:pt idx="1067">
                  <c:v>1400-08-29</c:v>
                </c:pt>
                <c:pt idx="1068">
                  <c:v>1400-08-30</c:v>
                </c:pt>
                <c:pt idx="1069">
                  <c:v>1400-09-01</c:v>
                </c:pt>
                <c:pt idx="1070">
                  <c:v>1400-09-02</c:v>
                </c:pt>
                <c:pt idx="1071">
                  <c:v>1400-09-03</c:v>
                </c:pt>
                <c:pt idx="1072">
                  <c:v>1400-09-04</c:v>
                </c:pt>
                <c:pt idx="1073">
                  <c:v>1400-09-06</c:v>
                </c:pt>
                <c:pt idx="1074">
                  <c:v>1400-09-07</c:v>
                </c:pt>
                <c:pt idx="1075">
                  <c:v>1400-09-08</c:v>
                </c:pt>
                <c:pt idx="1076">
                  <c:v>1400-09-09</c:v>
                </c:pt>
                <c:pt idx="1077">
                  <c:v>1400-09-10</c:v>
                </c:pt>
                <c:pt idx="1078">
                  <c:v>1400-09-11</c:v>
                </c:pt>
                <c:pt idx="1079">
                  <c:v>1400-09-13</c:v>
                </c:pt>
                <c:pt idx="1080">
                  <c:v>1400-09-14</c:v>
                </c:pt>
                <c:pt idx="1081">
                  <c:v>1400-09-15</c:v>
                </c:pt>
                <c:pt idx="1082">
                  <c:v>1400-09-16</c:v>
                </c:pt>
                <c:pt idx="1083">
                  <c:v>1400-09-17</c:v>
                </c:pt>
                <c:pt idx="1084">
                  <c:v>1400-09-18</c:v>
                </c:pt>
                <c:pt idx="1085">
                  <c:v>1400-09-20</c:v>
                </c:pt>
                <c:pt idx="1086">
                  <c:v>1400-09-21</c:v>
                </c:pt>
                <c:pt idx="1087">
                  <c:v>1400-09-22</c:v>
                </c:pt>
                <c:pt idx="1088">
                  <c:v>1400-09-23</c:v>
                </c:pt>
                <c:pt idx="1089">
                  <c:v>1400-09-24</c:v>
                </c:pt>
                <c:pt idx="1090">
                  <c:v>1400-09-25</c:v>
                </c:pt>
                <c:pt idx="1091">
                  <c:v>1400-09-27</c:v>
                </c:pt>
                <c:pt idx="1092">
                  <c:v>1400-09-28</c:v>
                </c:pt>
                <c:pt idx="1093">
                  <c:v>1400-09-29</c:v>
                </c:pt>
                <c:pt idx="1094">
                  <c:v>1400-09-30</c:v>
                </c:pt>
                <c:pt idx="1095">
                  <c:v>1400-10-01</c:v>
                </c:pt>
                <c:pt idx="1096">
                  <c:v>1400-10-02</c:v>
                </c:pt>
                <c:pt idx="1097">
                  <c:v>1400-10-04</c:v>
                </c:pt>
                <c:pt idx="1098">
                  <c:v>1400-10-05</c:v>
                </c:pt>
                <c:pt idx="1099">
                  <c:v>1400-10-06</c:v>
                </c:pt>
                <c:pt idx="1100">
                  <c:v>1400-10-07</c:v>
                </c:pt>
                <c:pt idx="1101">
                  <c:v>1400-10-08</c:v>
                </c:pt>
                <c:pt idx="1102">
                  <c:v>1400-10-09</c:v>
                </c:pt>
                <c:pt idx="1103">
                  <c:v>1400-10-11</c:v>
                </c:pt>
                <c:pt idx="1104">
                  <c:v>1400-10-12</c:v>
                </c:pt>
                <c:pt idx="1105">
                  <c:v>1400-10-13</c:v>
                </c:pt>
                <c:pt idx="1106">
                  <c:v>1400-10-14</c:v>
                </c:pt>
                <c:pt idx="1107">
                  <c:v>1400-10-15</c:v>
                </c:pt>
                <c:pt idx="1108">
                  <c:v>1400-10-16</c:v>
                </c:pt>
                <c:pt idx="1109">
                  <c:v>1400-10-18</c:v>
                </c:pt>
                <c:pt idx="1110">
                  <c:v>1400-10-19</c:v>
                </c:pt>
                <c:pt idx="1111">
                  <c:v>1400-10-20</c:v>
                </c:pt>
                <c:pt idx="1112">
                  <c:v>1400-10-21</c:v>
                </c:pt>
                <c:pt idx="1113">
                  <c:v>1400-10-22</c:v>
                </c:pt>
                <c:pt idx="1114">
                  <c:v>1400-10-23</c:v>
                </c:pt>
                <c:pt idx="1115">
                  <c:v>1400-10-25</c:v>
                </c:pt>
                <c:pt idx="1116">
                  <c:v>1400-10-26</c:v>
                </c:pt>
                <c:pt idx="1117">
                  <c:v>1400-10-27</c:v>
                </c:pt>
                <c:pt idx="1118">
                  <c:v>1400-10-28</c:v>
                </c:pt>
                <c:pt idx="1119">
                  <c:v>1400-10-29</c:v>
                </c:pt>
                <c:pt idx="1120">
                  <c:v>1400-10-30</c:v>
                </c:pt>
                <c:pt idx="1121">
                  <c:v>1400-11-02</c:v>
                </c:pt>
                <c:pt idx="1122">
                  <c:v>1400-11-03</c:v>
                </c:pt>
                <c:pt idx="1123">
                  <c:v>1400-11-04</c:v>
                </c:pt>
                <c:pt idx="1124">
                  <c:v>1400-11-05</c:v>
                </c:pt>
                <c:pt idx="1125">
                  <c:v>1400-11-06</c:v>
                </c:pt>
                <c:pt idx="1126">
                  <c:v>1400-11-07</c:v>
                </c:pt>
                <c:pt idx="1127">
                  <c:v>1400-11-09</c:v>
                </c:pt>
                <c:pt idx="1128">
                  <c:v>1400-11-10</c:v>
                </c:pt>
                <c:pt idx="1129">
                  <c:v>1400-11-11</c:v>
                </c:pt>
                <c:pt idx="1130">
                  <c:v>1400-11-12</c:v>
                </c:pt>
                <c:pt idx="1131">
                  <c:v>1400-11-13</c:v>
                </c:pt>
                <c:pt idx="1132">
                  <c:v>1400-11-14</c:v>
                </c:pt>
                <c:pt idx="1133">
                  <c:v>1400-11-16</c:v>
                </c:pt>
                <c:pt idx="1134">
                  <c:v>1400-11-17</c:v>
                </c:pt>
                <c:pt idx="1135">
                  <c:v>1400-11-18</c:v>
                </c:pt>
                <c:pt idx="1136">
                  <c:v>1400-11-19</c:v>
                </c:pt>
                <c:pt idx="1137">
                  <c:v>1400-11-20</c:v>
                </c:pt>
                <c:pt idx="1138">
                  <c:v>1400-11-21</c:v>
                </c:pt>
                <c:pt idx="1139">
                  <c:v>1400-11-23</c:v>
                </c:pt>
                <c:pt idx="1140">
                  <c:v>1400-11-24</c:v>
                </c:pt>
                <c:pt idx="1141">
                  <c:v>1400-11-25</c:v>
                </c:pt>
                <c:pt idx="1142">
                  <c:v>1400-11-27</c:v>
                </c:pt>
                <c:pt idx="1143">
                  <c:v>1400-11-28</c:v>
                </c:pt>
                <c:pt idx="1144">
                  <c:v>1400-11-30</c:v>
                </c:pt>
                <c:pt idx="1145">
                  <c:v>1400-12-01</c:v>
                </c:pt>
                <c:pt idx="1146">
                  <c:v>1400-12-02</c:v>
                </c:pt>
                <c:pt idx="1147">
                  <c:v>1400-12-03</c:v>
                </c:pt>
                <c:pt idx="1148">
                  <c:v>1400-12-04</c:v>
                </c:pt>
                <c:pt idx="1149">
                  <c:v>1400-12-05</c:v>
                </c:pt>
                <c:pt idx="1150">
                  <c:v>1400-12-07</c:v>
                </c:pt>
                <c:pt idx="1151">
                  <c:v>1400-12-08</c:v>
                </c:pt>
                <c:pt idx="1152">
                  <c:v>1400-12-09</c:v>
                </c:pt>
                <c:pt idx="1153">
                  <c:v>1400-12-11</c:v>
                </c:pt>
                <c:pt idx="1154">
                  <c:v>1400-12-12</c:v>
                </c:pt>
                <c:pt idx="1155">
                  <c:v>1400-12-14</c:v>
                </c:pt>
                <c:pt idx="1156">
                  <c:v>1400-12-15</c:v>
                </c:pt>
                <c:pt idx="1157">
                  <c:v>1400-12-16</c:v>
                </c:pt>
                <c:pt idx="1158">
                  <c:v>1400-12-17</c:v>
                </c:pt>
                <c:pt idx="1159">
                  <c:v>1400-12-18</c:v>
                </c:pt>
                <c:pt idx="1160">
                  <c:v>1400-12-19</c:v>
                </c:pt>
                <c:pt idx="1161">
                  <c:v>1400-12-21</c:v>
                </c:pt>
                <c:pt idx="1162">
                  <c:v>1400-12-22</c:v>
                </c:pt>
                <c:pt idx="1163">
                  <c:v>1400-12-23</c:v>
                </c:pt>
                <c:pt idx="1164">
                  <c:v>1400-12-24</c:v>
                </c:pt>
                <c:pt idx="1165">
                  <c:v>1400-12-25</c:v>
                </c:pt>
                <c:pt idx="1166">
                  <c:v>1400-12-26</c:v>
                </c:pt>
                <c:pt idx="1167">
                  <c:v>1400-12-28</c:v>
                </c:pt>
                <c:pt idx="1168">
                  <c:v>1401-01-06</c:v>
                </c:pt>
                <c:pt idx="1169">
                  <c:v>1401-01-07</c:v>
                </c:pt>
                <c:pt idx="1170">
                  <c:v>1401-01-08</c:v>
                </c:pt>
                <c:pt idx="1171">
                  <c:v>1401-01-09</c:v>
                </c:pt>
                <c:pt idx="1172">
                  <c:v>1401-01-10</c:v>
                </c:pt>
                <c:pt idx="1173">
                  <c:v>1401-01-11</c:v>
                </c:pt>
                <c:pt idx="1174">
                  <c:v>1401-01-14</c:v>
                </c:pt>
                <c:pt idx="1175">
                  <c:v>1401-01-15</c:v>
                </c:pt>
                <c:pt idx="1176">
                  <c:v>1401-01-16</c:v>
                </c:pt>
                <c:pt idx="1177">
                  <c:v>1401-01-17</c:v>
                </c:pt>
                <c:pt idx="1178">
                  <c:v>1401-01-18</c:v>
                </c:pt>
                <c:pt idx="1179">
                  <c:v>1401-01-20</c:v>
                </c:pt>
                <c:pt idx="1180">
                  <c:v>1401-01-21</c:v>
                </c:pt>
                <c:pt idx="1181">
                  <c:v>1401-01-22</c:v>
                </c:pt>
                <c:pt idx="1182">
                  <c:v>1401-01-23</c:v>
                </c:pt>
                <c:pt idx="1183">
                  <c:v>1401-01-24</c:v>
                </c:pt>
                <c:pt idx="1184">
                  <c:v>1401-01-25</c:v>
                </c:pt>
                <c:pt idx="1185">
                  <c:v>1401-01-27</c:v>
                </c:pt>
                <c:pt idx="1186">
                  <c:v>1401-01-28</c:v>
                </c:pt>
                <c:pt idx="1187">
                  <c:v>1401-01-29</c:v>
                </c:pt>
                <c:pt idx="1188">
                  <c:v>1401-01-30</c:v>
                </c:pt>
                <c:pt idx="1189">
                  <c:v>1401-01-31</c:v>
                </c:pt>
                <c:pt idx="1190">
                  <c:v>1401-02-01</c:v>
                </c:pt>
                <c:pt idx="1191">
                  <c:v>1401-02-04</c:v>
                </c:pt>
                <c:pt idx="1192">
                  <c:v>1401-02-05</c:v>
                </c:pt>
                <c:pt idx="1193">
                  <c:v>1401-02-06</c:v>
                </c:pt>
                <c:pt idx="1194">
                  <c:v>1401-02-07</c:v>
                </c:pt>
                <c:pt idx="1195">
                  <c:v>1401-02-08</c:v>
                </c:pt>
                <c:pt idx="1196">
                  <c:v>1401-02-10</c:v>
                </c:pt>
                <c:pt idx="1197">
                  <c:v>1401-02-11</c:v>
                </c:pt>
                <c:pt idx="1198">
                  <c:v>1401-02-12</c:v>
                </c:pt>
                <c:pt idx="1199">
                  <c:v>1401-02-15</c:v>
                </c:pt>
                <c:pt idx="1200">
                  <c:v>1401-02-17</c:v>
                </c:pt>
                <c:pt idx="1201">
                  <c:v>1401-02-18</c:v>
                </c:pt>
                <c:pt idx="1202">
                  <c:v>1401-02-19</c:v>
                </c:pt>
                <c:pt idx="1203">
                  <c:v>1401-02-20</c:v>
                </c:pt>
                <c:pt idx="1204">
                  <c:v>1401-02-21</c:v>
                </c:pt>
                <c:pt idx="1205">
                  <c:v>1401-02-22</c:v>
                </c:pt>
                <c:pt idx="1206">
                  <c:v>1401-02-24</c:v>
                </c:pt>
                <c:pt idx="1207">
                  <c:v>1401-02-25</c:v>
                </c:pt>
                <c:pt idx="1208">
                  <c:v>1401-02-26</c:v>
                </c:pt>
                <c:pt idx="1209">
                  <c:v>1401-02-27</c:v>
                </c:pt>
                <c:pt idx="1210">
                  <c:v>1401-02-28</c:v>
                </c:pt>
                <c:pt idx="1211">
                  <c:v>1401-02-29</c:v>
                </c:pt>
                <c:pt idx="1212">
                  <c:v>1401-02-31</c:v>
                </c:pt>
                <c:pt idx="1213">
                  <c:v>1401-03-01</c:v>
                </c:pt>
                <c:pt idx="1214">
                  <c:v>1401-03-02</c:v>
                </c:pt>
                <c:pt idx="1215">
                  <c:v>1401-03-03</c:v>
                </c:pt>
                <c:pt idx="1216">
                  <c:v>1401-03-04</c:v>
                </c:pt>
                <c:pt idx="1217">
                  <c:v>1401-03-05</c:v>
                </c:pt>
                <c:pt idx="1218">
                  <c:v>1401-03-07</c:v>
                </c:pt>
                <c:pt idx="1219">
                  <c:v>1401-03-08</c:v>
                </c:pt>
                <c:pt idx="1220">
                  <c:v>1401-03-09</c:v>
                </c:pt>
                <c:pt idx="1221">
                  <c:v>1401-03-10</c:v>
                </c:pt>
                <c:pt idx="1222">
                  <c:v>1401-03-11</c:v>
                </c:pt>
                <c:pt idx="1223">
                  <c:v>1401-03-12</c:v>
                </c:pt>
                <c:pt idx="1224">
                  <c:v>1401-03-16</c:v>
                </c:pt>
                <c:pt idx="1225">
                  <c:v>1401-03-17</c:v>
                </c:pt>
                <c:pt idx="1226">
                  <c:v>1401-03-18</c:v>
                </c:pt>
                <c:pt idx="1227">
                  <c:v>1401-03-19</c:v>
                </c:pt>
                <c:pt idx="1228">
                  <c:v>1401-03-21</c:v>
                </c:pt>
                <c:pt idx="1229">
                  <c:v>1401-03-22</c:v>
                </c:pt>
                <c:pt idx="1230">
                  <c:v>1401-03-23</c:v>
                </c:pt>
                <c:pt idx="1231">
                  <c:v>1401-03-24</c:v>
                </c:pt>
                <c:pt idx="1232">
                  <c:v>1401-03-25</c:v>
                </c:pt>
                <c:pt idx="1233">
                  <c:v>1401-03-26</c:v>
                </c:pt>
                <c:pt idx="1234">
                  <c:v>1401-03-28</c:v>
                </c:pt>
                <c:pt idx="1235">
                  <c:v>1401-03-29</c:v>
                </c:pt>
                <c:pt idx="1236">
                  <c:v>1401-03-30</c:v>
                </c:pt>
                <c:pt idx="1237">
                  <c:v>1401-04-01</c:v>
                </c:pt>
                <c:pt idx="1238">
                  <c:v>1401-04-02</c:v>
                </c:pt>
                <c:pt idx="1239">
                  <c:v>1401-04-04</c:v>
                </c:pt>
                <c:pt idx="1240">
                  <c:v>1401-04-05</c:v>
                </c:pt>
                <c:pt idx="1241">
                  <c:v>1401-04-06</c:v>
                </c:pt>
                <c:pt idx="1242">
                  <c:v>1401-04-07</c:v>
                </c:pt>
                <c:pt idx="1243">
                  <c:v>1401-04-08</c:v>
                </c:pt>
                <c:pt idx="1244">
                  <c:v>1401-04-09</c:v>
                </c:pt>
                <c:pt idx="1245">
                  <c:v>1401-04-11</c:v>
                </c:pt>
                <c:pt idx="1246">
                  <c:v>1401-04-12</c:v>
                </c:pt>
                <c:pt idx="1247">
                  <c:v>1401-04-13</c:v>
                </c:pt>
                <c:pt idx="1248">
                  <c:v>1401-04-14</c:v>
                </c:pt>
                <c:pt idx="1249">
                  <c:v>1401-04-15</c:v>
                </c:pt>
                <c:pt idx="1250">
                  <c:v>1401-04-16</c:v>
                </c:pt>
                <c:pt idx="1251">
                  <c:v>1401-04-25</c:v>
                </c:pt>
                <c:pt idx="1252">
                  <c:v>1401-04-26</c:v>
                </c:pt>
                <c:pt idx="1253">
                  <c:v>1401-04-28</c:v>
                </c:pt>
                <c:pt idx="1254">
                  <c:v>1401-04-29</c:v>
                </c:pt>
                <c:pt idx="1255">
                  <c:v>1401-04-30</c:v>
                </c:pt>
                <c:pt idx="1256">
                  <c:v>1401-05-01</c:v>
                </c:pt>
                <c:pt idx="1257">
                  <c:v>1401-05-02</c:v>
                </c:pt>
                <c:pt idx="1258">
                  <c:v>1401-05-03</c:v>
                </c:pt>
                <c:pt idx="1259">
                  <c:v>1401-05-04</c:v>
                </c:pt>
                <c:pt idx="1260">
                  <c:v>1401-05-05</c:v>
                </c:pt>
                <c:pt idx="1261">
                  <c:v>1401-05-06</c:v>
                </c:pt>
                <c:pt idx="1262">
                  <c:v>1401-05-08</c:v>
                </c:pt>
                <c:pt idx="1263">
                  <c:v>1401-05-09</c:v>
                </c:pt>
                <c:pt idx="1264">
                  <c:v>1401-05-10</c:v>
                </c:pt>
                <c:pt idx="1265">
                  <c:v>1401-05-11</c:v>
                </c:pt>
                <c:pt idx="1266">
                  <c:v>1401-05-12</c:v>
                </c:pt>
                <c:pt idx="1267">
                  <c:v>1401-05-13</c:v>
                </c:pt>
                <c:pt idx="1268">
                  <c:v>1401-05-15</c:v>
                </c:pt>
                <c:pt idx="1269">
                  <c:v>1401-05-19</c:v>
                </c:pt>
                <c:pt idx="1270">
                  <c:v>1401-05-20</c:v>
                </c:pt>
                <c:pt idx="1271">
                  <c:v>1401-05-22</c:v>
                </c:pt>
                <c:pt idx="1272">
                  <c:v>1401-05-23</c:v>
                </c:pt>
                <c:pt idx="1273">
                  <c:v>1401-05-24</c:v>
                </c:pt>
                <c:pt idx="1274">
                  <c:v>1401-05-25</c:v>
                </c:pt>
                <c:pt idx="1275">
                  <c:v>1401-05-26</c:v>
                </c:pt>
                <c:pt idx="1276">
                  <c:v>1401-05-27</c:v>
                </c:pt>
                <c:pt idx="1277">
                  <c:v>1401-05-29</c:v>
                </c:pt>
                <c:pt idx="1278">
                  <c:v>1401-05-30</c:v>
                </c:pt>
                <c:pt idx="1279">
                  <c:v>1401-05-31</c:v>
                </c:pt>
                <c:pt idx="1280">
                  <c:v>1401-06-01</c:v>
                </c:pt>
                <c:pt idx="1281">
                  <c:v>1401-06-02</c:v>
                </c:pt>
                <c:pt idx="1282">
                  <c:v>1401-06-03</c:v>
                </c:pt>
                <c:pt idx="1283">
                  <c:v>1401-06-05</c:v>
                </c:pt>
                <c:pt idx="1284">
                  <c:v>1401-06-06</c:v>
                </c:pt>
                <c:pt idx="1285">
                  <c:v>1401-06-07</c:v>
                </c:pt>
                <c:pt idx="1286">
                  <c:v>1401-06-08</c:v>
                </c:pt>
                <c:pt idx="1287">
                  <c:v>1401-06-09</c:v>
                </c:pt>
                <c:pt idx="1288">
                  <c:v>1401-06-10</c:v>
                </c:pt>
                <c:pt idx="1289">
                  <c:v>1401-06-12</c:v>
                </c:pt>
                <c:pt idx="1290">
                  <c:v>1401-06-13</c:v>
                </c:pt>
                <c:pt idx="1291">
                  <c:v>1401-06-14</c:v>
                </c:pt>
                <c:pt idx="1292">
                  <c:v>1401-06-15</c:v>
                </c:pt>
                <c:pt idx="1293">
                  <c:v>1401-06-16</c:v>
                </c:pt>
                <c:pt idx="1294">
                  <c:v>1401-06-17</c:v>
                </c:pt>
                <c:pt idx="1295">
                  <c:v>1401-06-19</c:v>
                </c:pt>
                <c:pt idx="1296">
                  <c:v>1401-06-20</c:v>
                </c:pt>
                <c:pt idx="1297">
                  <c:v>1401-06-21</c:v>
                </c:pt>
                <c:pt idx="1298">
                  <c:v>1401-06-22</c:v>
                </c:pt>
                <c:pt idx="1299">
                  <c:v>1401-06-23</c:v>
                </c:pt>
                <c:pt idx="1300">
                  <c:v>1401-06-24</c:v>
                </c:pt>
                <c:pt idx="1301">
                  <c:v>1401-06-27</c:v>
                </c:pt>
                <c:pt idx="1302">
                  <c:v>1401-06-28</c:v>
                </c:pt>
                <c:pt idx="1303">
                  <c:v>1401-06-29</c:v>
                </c:pt>
                <c:pt idx="1304">
                  <c:v>1401-06-30</c:v>
                </c:pt>
                <c:pt idx="1305">
                  <c:v>1401-06-31</c:v>
                </c:pt>
                <c:pt idx="1306">
                  <c:v>1401-07-02</c:v>
                </c:pt>
                <c:pt idx="1307">
                  <c:v>1401-07-04</c:v>
                </c:pt>
                <c:pt idx="1308">
                  <c:v>1401-07-06</c:v>
                </c:pt>
                <c:pt idx="1309">
                  <c:v>1401-07-07</c:v>
                </c:pt>
                <c:pt idx="1310">
                  <c:v>1401-07-09</c:v>
                </c:pt>
                <c:pt idx="1311">
                  <c:v>1401-07-10</c:v>
                </c:pt>
                <c:pt idx="1312">
                  <c:v>1401-07-11</c:v>
                </c:pt>
                <c:pt idx="1313">
                  <c:v>1401-07-12</c:v>
                </c:pt>
                <c:pt idx="1314">
                  <c:v>1401-07-14</c:v>
                </c:pt>
                <c:pt idx="1315">
                  <c:v>1401-07-16</c:v>
                </c:pt>
                <c:pt idx="1316">
                  <c:v>1401-07-17</c:v>
                </c:pt>
                <c:pt idx="1317">
                  <c:v>1401-07-18</c:v>
                </c:pt>
                <c:pt idx="1318">
                  <c:v>1401-07-19</c:v>
                </c:pt>
                <c:pt idx="1319">
                  <c:v>1401-07-20</c:v>
                </c:pt>
                <c:pt idx="1320">
                  <c:v>1401-07-21</c:v>
                </c:pt>
                <c:pt idx="1321">
                  <c:v>1401-07-23</c:v>
                </c:pt>
                <c:pt idx="1322">
                  <c:v>1401-07-24</c:v>
                </c:pt>
                <c:pt idx="1323">
                  <c:v>1401-07-25</c:v>
                </c:pt>
                <c:pt idx="1324">
                  <c:v>1401-07-26</c:v>
                </c:pt>
                <c:pt idx="1325">
                  <c:v>1401-07-27</c:v>
                </c:pt>
                <c:pt idx="1326">
                  <c:v>1401-07-28</c:v>
                </c:pt>
                <c:pt idx="1327">
                  <c:v>1401-07-30</c:v>
                </c:pt>
                <c:pt idx="1328">
                  <c:v>1401-08-01</c:v>
                </c:pt>
                <c:pt idx="1329">
                  <c:v>1401-08-02</c:v>
                </c:pt>
                <c:pt idx="1330">
                  <c:v>1401-08-03</c:v>
                </c:pt>
                <c:pt idx="1331">
                  <c:v>1401-08-04</c:v>
                </c:pt>
                <c:pt idx="1332">
                  <c:v>1401-08-05</c:v>
                </c:pt>
                <c:pt idx="1333">
                  <c:v>1401-08-07</c:v>
                </c:pt>
                <c:pt idx="1334">
                  <c:v>1401-08-08</c:v>
                </c:pt>
                <c:pt idx="1335">
                  <c:v>1401-08-09</c:v>
                </c:pt>
                <c:pt idx="1336">
                  <c:v>1401-08-10</c:v>
                </c:pt>
                <c:pt idx="1337">
                  <c:v>1401-08-11</c:v>
                </c:pt>
                <c:pt idx="1338">
                  <c:v>1401-08-12</c:v>
                </c:pt>
                <c:pt idx="1339">
                  <c:v>1401-08-14</c:v>
                </c:pt>
                <c:pt idx="1340">
                  <c:v>1401-08-15</c:v>
                </c:pt>
                <c:pt idx="1341">
                  <c:v>1401-08-16</c:v>
                </c:pt>
                <c:pt idx="1342">
                  <c:v>1401-08-17</c:v>
                </c:pt>
                <c:pt idx="1343">
                  <c:v>1401-08-18</c:v>
                </c:pt>
                <c:pt idx="1344">
                  <c:v>1401-08-19</c:v>
                </c:pt>
                <c:pt idx="1345">
                  <c:v>1401-08-21</c:v>
                </c:pt>
                <c:pt idx="1346">
                  <c:v>1401-08-22</c:v>
                </c:pt>
                <c:pt idx="1347">
                  <c:v>1401-08-23</c:v>
                </c:pt>
                <c:pt idx="1348">
                  <c:v>1401-08-24</c:v>
                </c:pt>
                <c:pt idx="1349">
                  <c:v>1401-08-25</c:v>
                </c:pt>
                <c:pt idx="1350">
                  <c:v>1401-08-26</c:v>
                </c:pt>
                <c:pt idx="1351">
                  <c:v>1401-08-28</c:v>
                </c:pt>
                <c:pt idx="1352">
                  <c:v>1401-08-29</c:v>
                </c:pt>
                <c:pt idx="1353">
                  <c:v>1401-08-30</c:v>
                </c:pt>
                <c:pt idx="1354">
                  <c:v>1401-09-01</c:v>
                </c:pt>
                <c:pt idx="1355">
                  <c:v>1401-09-02</c:v>
                </c:pt>
                <c:pt idx="1356">
                  <c:v>1401-09-03</c:v>
                </c:pt>
                <c:pt idx="1357">
                  <c:v>1401-09-05</c:v>
                </c:pt>
                <c:pt idx="1358">
                  <c:v>1401-09-06</c:v>
                </c:pt>
                <c:pt idx="1359">
                  <c:v>1401-09-07</c:v>
                </c:pt>
                <c:pt idx="1360">
                  <c:v>1401-09-08</c:v>
                </c:pt>
                <c:pt idx="1361">
                  <c:v>1401-09-09</c:v>
                </c:pt>
                <c:pt idx="1362">
                  <c:v>1401-09-10</c:v>
                </c:pt>
                <c:pt idx="1363">
                  <c:v>1401-09-12</c:v>
                </c:pt>
                <c:pt idx="1364">
                  <c:v>1401-09-13</c:v>
                </c:pt>
                <c:pt idx="1365">
                  <c:v>1401-09-14</c:v>
                </c:pt>
                <c:pt idx="1366">
                  <c:v>1401-09-15</c:v>
                </c:pt>
                <c:pt idx="1367">
                  <c:v>1401-09-16</c:v>
                </c:pt>
                <c:pt idx="1368">
                  <c:v>1401-09-17</c:v>
                </c:pt>
                <c:pt idx="1369">
                  <c:v>1401-09-19</c:v>
                </c:pt>
                <c:pt idx="1370">
                  <c:v>1401-09-20</c:v>
                </c:pt>
                <c:pt idx="1371">
                  <c:v>1401-09-21</c:v>
                </c:pt>
                <c:pt idx="1372">
                  <c:v>1401-09-22</c:v>
                </c:pt>
                <c:pt idx="1373">
                  <c:v>1401-09-23</c:v>
                </c:pt>
                <c:pt idx="1374">
                  <c:v>1401-09-24</c:v>
                </c:pt>
                <c:pt idx="1375">
                  <c:v>1401-09-26</c:v>
                </c:pt>
                <c:pt idx="1376">
                  <c:v>1401-09-27</c:v>
                </c:pt>
                <c:pt idx="1377">
                  <c:v>1401-09-28</c:v>
                </c:pt>
                <c:pt idx="1378">
                  <c:v>1401-09-29</c:v>
                </c:pt>
                <c:pt idx="1379">
                  <c:v>1401-09-30</c:v>
                </c:pt>
                <c:pt idx="1380">
                  <c:v>1401-10-01</c:v>
                </c:pt>
                <c:pt idx="1381">
                  <c:v>1401-10-03</c:v>
                </c:pt>
                <c:pt idx="1382">
                  <c:v>1401-10-04</c:v>
                </c:pt>
                <c:pt idx="1383">
                  <c:v>1401-10-05</c:v>
                </c:pt>
                <c:pt idx="1384">
                  <c:v>1401-10-07</c:v>
                </c:pt>
                <c:pt idx="1385">
                  <c:v>1401-10-08</c:v>
                </c:pt>
                <c:pt idx="1386">
                  <c:v>1401-10-10</c:v>
                </c:pt>
                <c:pt idx="1387">
                  <c:v>1401-10-11</c:v>
                </c:pt>
                <c:pt idx="1388">
                  <c:v>1401-10-12</c:v>
                </c:pt>
                <c:pt idx="1389">
                  <c:v>1401-10-13</c:v>
                </c:pt>
                <c:pt idx="1390">
                  <c:v>1401-10-14</c:v>
                </c:pt>
                <c:pt idx="1391">
                  <c:v>1401-10-15</c:v>
                </c:pt>
                <c:pt idx="1392">
                  <c:v>1401-10-17</c:v>
                </c:pt>
                <c:pt idx="1393">
                  <c:v>1401-10-18</c:v>
                </c:pt>
                <c:pt idx="1394">
                  <c:v>1401-10-19</c:v>
                </c:pt>
                <c:pt idx="1395">
                  <c:v>1401-10-20</c:v>
                </c:pt>
                <c:pt idx="1396">
                  <c:v>1401-10-21</c:v>
                </c:pt>
                <c:pt idx="1397">
                  <c:v>1401-10-22</c:v>
                </c:pt>
                <c:pt idx="1398">
                  <c:v>1401-10-24</c:v>
                </c:pt>
                <c:pt idx="1399">
                  <c:v>1401-10-26</c:v>
                </c:pt>
                <c:pt idx="1400">
                  <c:v>1401-10-27</c:v>
                </c:pt>
                <c:pt idx="1401">
                  <c:v>1401-10-28</c:v>
                </c:pt>
                <c:pt idx="1402">
                  <c:v>1401-10-29</c:v>
                </c:pt>
                <c:pt idx="1403">
                  <c:v>1401-11-01</c:v>
                </c:pt>
                <c:pt idx="1404">
                  <c:v>1401-11-02</c:v>
                </c:pt>
                <c:pt idx="1405">
                  <c:v>1401-11-03</c:v>
                </c:pt>
                <c:pt idx="1406">
                  <c:v>1401-11-04</c:v>
                </c:pt>
                <c:pt idx="1407">
                  <c:v>1401-11-05</c:v>
                </c:pt>
                <c:pt idx="1408">
                  <c:v>1401-11-06</c:v>
                </c:pt>
                <c:pt idx="1409">
                  <c:v>1401-11-08</c:v>
                </c:pt>
                <c:pt idx="1410">
                  <c:v>1401-11-09</c:v>
                </c:pt>
                <c:pt idx="1411">
                  <c:v>1401-11-10</c:v>
                </c:pt>
                <c:pt idx="1412">
                  <c:v>1401-11-11</c:v>
                </c:pt>
                <c:pt idx="1413">
                  <c:v>1401-11-12</c:v>
                </c:pt>
                <c:pt idx="1414">
                  <c:v>1401-11-13</c:v>
                </c:pt>
                <c:pt idx="1415">
                  <c:v>1401-11-16</c:v>
                </c:pt>
                <c:pt idx="1416">
                  <c:v>1401-11-17</c:v>
                </c:pt>
                <c:pt idx="1417">
                  <c:v>1401-11-18</c:v>
                </c:pt>
                <c:pt idx="1418">
                  <c:v>1401-11-19</c:v>
                </c:pt>
                <c:pt idx="1419">
                  <c:v>1401-11-20</c:v>
                </c:pt>
                <c:pt idx="1420">
                  <c:v>1401-11-23</c:v>
                </c:pt>
                <c:pt idx="1421">
                  <c:v>1401-11-24</c:v>
                </c:pt>
                <c:pt idx="1422">
                  <c:v>1401-11-25</c:v>
                </c:pt>
                <c:pt idx="1423">
                  <c:v>1401-11-26</c:v>
                </c:pt>
                <c:pt idx="1424">
                  <c:v>1401-11-27</c:v>
                </c:pt>
                <c:pt idx="1425">
                  <c:v>1401-11-30</c:v>
                </c:pt>
                <c:pt idx="1426">
                  <c:v>1401-12-01</c:v>
                </c:pt>
                <c:pt idx="1427">
                  <c:v>1401-12-02</c:v>
                </c:pt>
                <c:pt idx="1428">
                  <c:v>1401-12-03</c:v>
                </c:pt>
                <c:pt idx="1429">
                  <c:v>1401-12-04</c:v>
                </c:pt>
                <c:pt idx="1430">
                  <c:v>1401-12-06</c:v>
                </c:pt>
                <c:pt idx="1431">
                  <c:v>1401-12-07</c:v>
                </c:pt>
                <c:pt idx="1432">
                  <c:v>1401-12-08</c:v>
                </c:pt>
                <c:pt idx="1433">
                  <c:v>1401-12-09</c:v>
                </c:pt>
                <c:pt idx="1434">
                  <c:v>1401-12-10</c:v>
                </c:pt>
                <c:pt idx="1435">
                  <c:v>1401-12-11</c:v>
                </c:pt>
                <c:pt idx="1436">
                  <c:v>1401-12-13</c:v>
                </c:pt>
                <c:pt idx="1437">
                  <c:v>1401-12-14</c:v>
                </c:pt>
                <c:pt idx="1438">
                  <c:v>1401-12-15</c:v>
                </c:pt>
                <c:pt idx="1439">
                  <c:v>1401-12-16</c:v>
                </c:pt>
                <c:pt idx="1440">
                  <c:v>1401-12-21</c:v>
                </c:pt>
                <c:pt idx="1441">
                  <c:v>1401-12-22</c:v>
                </c:pt>
                <c:pt idx="1442">
                  <c:v>1401-12-25</c:v>
                </c:pt>
                <c:pt idx="1443">
                  <c:v>1401-12-27</c:v>
                </c:pt>
                <c:pt idx="1444">
                  <c:v>1401-12-28</c:v>
                </c:pt>
                <c:pt idx="1445">
                  <c:v>1402-01-05</c:v>
                </c:pt>
                <c:pt idx="1446">
                  <c:v>1402-01-06</c:v>
                </c:pt>
                <c:pt idx="1447">
                  <c:v>1402-01-07</c:v>
                </c:pt>
                <c:pt idx="1448">
                  <c:v>1402-01-08</c:v>
                </c:pt>
                <c:pt idx="1449">
                  <c:v>1402-01-09</c:v>
                </c:pt>
                <c:pt idx="1450">
                  <c:v>1402-01-10</c:v>
                </c:pt>
                <c:pt idx="1451">
                  <c:v>1402-01-14</c:v>
                </c:pt>
                <c:pt idx="1452">
                  <c:v>1402-01-15</c:v>
                </c:pt>
                <c:pt idx="1453">
                  <c:v>1402-01-16</c:v>
                </c:pt>
                <c:pt idx="1454">
                  <c:v>1402-01-17</c:v>
                </c:pt>
                <c:pt idx="1455">
                  <c:v>1402-01-19</c:v>
                </c:pt>
                <c:pt idx="1456">
                  <c:v>1402-01-20</c:v>
                </c:pt>
                <c:pt idx="1457">
                  <c:v>1402-01-21</c:v>
                </c:pt>
                <c:pt idx="1458">
                  <c:v>1402-01-22</c:v>
                </c:pt>
                <c:pt idx="1459">
                  <c:v>1402-01-24</c:v>
                </c:pt>
                <c:pt idx="1460">
                  <c:v>1402-01-26</c:v>
                </c:pt>
                <c:pt idx="1461">
                  <c:v>1402-01-27</c:v>
                </c:pt>
                <c:pt idx="1462">
                  <c:v>1402-01-28</c:v>
                </c:pt>
                <c:pt idx="1463">
                  <c:v>1402-01-29</c:v>
                </c:pt>
                <c:pt idx="1464">
                  <c:v>1402-01-30</c:v>
                </c:pt>
                <c:pt idx="1465">
                  <c:v>1402-01-31</c:v>
                </c:pt>
                <c:pt idx="1466">
                  <c:v>1402-02-04</c:v>
                </c:pt>
                <c:pt idx="1467">
                  <c:v>1402-02-05</c:v>
                </c:pt>
                <c:pt idx="1468">
                  <c:v>1402-02-06</c:v>
                </c:pt>
                <c:pt idx="1469">
                  <c:v>1402-02-07</c:v>
                </c:pt>
                <c:pt idx="1470">
                  <c:v>1402-02-09</c:v>
                </c:pt>
                <c:pt idx="1471">
                  <c:v>1402-02-10</c:v>
                </c:pt>
                <c:pt idx="1472">
                  <c:v>1402-02-11</c:v>
                </c:pt>
                <c:pt idx="1473">
                  <c:v>1402-02-12</c:v>
                </c:pt>
                <c:pt idx="1474">
                  <c:v>1402-02-13</c:v>
                </c:pt>
                <c:pt idx="1475">
                  <c:v>1402-02-14</c:v>
                </c:pt>
                <c:pt idx="1476">
                  <c:v>1402-02-16</c:v>
                </c:pt>
                <c:pt idx="1477">
                  <c:v>1402-02-17</c:v>
                </c:pt>
                <c:pt idx="1478">
                  <c:v>1402-02-18</c:v>
                </c:pt>
                <c:pt idx="1479">
                  <c:v>1402-02-19</c:v>
                </c:pt>
                <c:pt idx="1480">
                  <c:v>1402-02-20</c:v>
                </c:pt>
                <c:pt idx="1481">
                  <c:v>1402-02-21</c:v>
                </c:pt>
                <c:pt idx="1482">
                  <c:v>1402-02-23</c:v>
                </c:pt>
                <c:pt idx="1483">
                  <c:v>1402-02-24</c:v>
                </c:pt>
                <c:pt idx="1484">
                  <c:v>1402-02-25</c:v>
                </c:pt>
                <c:pt idx="1485">
                  <c:v>1402-02-27</c:v>
                </c:pt>
                <c:pt idx="1486">
                  <c:v>1402-02-28</c:v>
                </c:pt>
                <c:pt idx="1487">
                  <c:v>1402-02-30</c:v>
                </c:pt>
                <c:pt idx="1488">
                  <c:v>1402-02-31</c:v>
                </c:pt>
                <c:pt idx="1489">
                  <c:v>1402-03-01</c:v>
                </c:pt>
                <c:pt idx="1490">
                  <c:v>1402-03-02</c:v>
                </c:pt>
                <c:pt idx="1491">
                  <c:v>1402-03-03</c:v>
                </c:pt>
                <c:pt idx="1492">
                  <c:v>1402-03-04</c:v>
                </c:pt>
                <c:pt idx="1493">
                  <c:v>1402-03-06</c:v>
                </c:pt>
                <c:pt idx="1494">
                  <c:v>1402-03-07</c:v>
                </c:pt>
                <c:pt idx="1495">
                  <c:v>1402-03-08</c:v>
                </c:pt>
                <c:pt idx="1496">
                  <c:v>1402-03-09</c:v>
                </c:pt>
                <c:pt idx="1497">
                  <c:v>1402-03-10</c:v>
                </c:pt>
                <c:pt idx="1498">
                  <c:v>1402-03-11</c:v>
                </c:pt>
                <c:pt idx="1499">
                  <c:v>1402-03-13</c:v>
                </c:pt>
                <c:pt idx="1500">
                  <c:v>1402-03-16</c:v>
                </c:pt>
                <c:pt idx="1501">
                  <c:v>1402-03-17</c:v>
                </c:pt>
                <c:pt idx="1502">
                  <c:v>1402-03-18</c:v>
                </c:pt>
                <c:pt idx="1503">
                  <c:v>1402-03-20</c:v>
                </c:pt>
                <c:pt idx="1504">
                  <c:v>1402-03-21</c:v>
                </c:pt>
                <c:pt idx="1505">
                  <c:v>1402-03-22</c:v>
                </c:pt>
                <c:pt idx="1506">
                  <c:v>1402-03-23</c:v>
                </c:pt>
                <c:pt idx="1507">
                  <c:v>1402-03-24</c:v>
                </c:pt>
                <c:pt idx="1508">
                  <c:v>1402-03-25</c:v>
                </c:pt>
                <c:pt idx="1509">
                  <c:v>1402-03-27</c:v>
                </c:pt>
                <c:pt idx="1510">
                  <c:v>1402-03-28</c:v>
                </c:pt>
                <c:pt idx="1511">
                  <c:v>1402-03-29</c:v>
                </c:pt>
                <c:pt idx="1512">
                  <c:v>1402-03-30</c:v>
                </c:pt>
                <c:pt idx="1513">
                  <c:v>1402-03-31</c:v>
                </c:pt>
                <c:pt idx="1514">
                  <c:v>1402-04-04</c:v>
                </c:pt>
                <c:pt idx="1515">
                  <c:v>1402-04-05</c:v>
                </c:pt>
                <c:pt idx="1516">
                  <c:v>1402-04-06</c:v>
                </c:pt>
                <c:pt idx="1517">
                  <c:v>1402-04-07</c:v>
                </c:pt>
                <c:pt idx="1518">
                  <c:v>1402-04-10</c:v>
                </c:pt>
                <c:pt idx="1519">
                  <c:v>1402-04-11</c:v>
                </c:pt>
                <c:pt idx="1520">
                  <c:v>1402-04-12</c:v>
                </c:pt>
                <c:pt idx="1521">
                  <c:v>1402-04-14</c:v>
                </c:pt>
                <c:pt idx="1522">
                  <c:v>1402-04-17</c:v>
                </c:pt>
                <c:pt idx="1523">
                  <c:v>1402-04-18</c:v>
                </c:pt>
                <c:pt idx="1524">
                  <c:v>1402-04-19</c:v>
                </c:pt>
                <c:pt idx="1525">
                  <c:v>1402-04-20</c:v>
                </c:pt>
                <c:pt idx="1526">
                  <c:v>1402-04-21</c:v>
                </c:pt>
                <c:pt idx="1527">
                  <c:v>1402-04-22</c:v>
                </c:pt>
                <c:pt idx="1528">
                  <c:v>1402-04-24</c:v>
                </c:pt>
                <c:pt idx="1529">
                  <c:v>1402-04-25</c:v>
                </c:pt>
                <c:pt idx="1530">
                  <c:v>1402-04-26</c:v>
                </c:pt>
                <c:pt idx="1531">
                  <c:v>1402-04-27</c:v>
                </c:pt>
                <c:pt idx="1532">
                  <c:v>1402-04-28</c:v>
                </c:pt>
                <c:pt idx="1533">
                  <c:v>1402-04-29</c:v>
                </c:pt>
                <c:pt idx="1534">
                  <c:v>1402-04-31</c:v>
                </c:pt>
                <c:pt idx="1535">
                  <c:v>1402-05-01</c:v>
                </c:pt>
                <c:pt idx="1536">
                  <c:v>1402-05-02</c:v>
                </c:pt>
                <c:pt idx="1537">
                  <c:v>1402-05-03</c:v>
                </c:pt>
                <c:pt idx="1538">
                  <c:v>1402-05-04</c:v>
                </c:pt>
                <c:pt idx="1539">
                  <c:v>1402-05-07</c:v>
                </c:pt>
                <c:pt idx="1540">
                  <c:v>1402-05-08</c:v>
                </c:pt>
                <c:pt idx="1541">
                  <c:v>1402-05-09</c:v>
                </c:pt>
                <c:pt idx="1542">
                  <c:v>1402-05-10</c:v>
                </c:pt>
                <c:pt idx="1543">
                  <c:v>1402-05-12</c:v>
                </c:pt>
                <c:pt idx="1544">
                  <c:v>1402-05-14</c:v>
                </c:pt>
                <c:pt idx="1545">
                  <c:v>1402-05-15</c:v>
                </c:pt>
                <c:pt idx="1546">
                  <c:v>1402-05-16</c:v>
                </c:pt>
                <c:pt idx="1547">
                  <c:v>1402-05-17</c:v>
                </c:pt>
                <c:pt idx="1548">
                  <c:v>1402-05-18</c:v>
                </c:pt>
                <c:pt idx="1549">
                  <c:v>1402-05-19</c:v>
                </c:pt>
                <c:pt idx="1550">
                  <c:v>1402-05-21</c:v>
                </c:pt>
                <c:pt idx="1551">
                  <c:v>1402-05-22</c:v>
                </c:pt>
                <c:pt idx="1552">
                  <c:v>1402-05-23</c:v>
                </c:pt>
                <c:pt idx="1553">
                  <c:v>1402-05-24</c:v>
                </c:pt>
                <c:pt idx="1554">
                  <c:v>1402-05-29</c:v>
                </c:pt>
                <c:pt idx="1555">
                  <c:v>1402-05-30</c:v>
                </c:pt>
                <c:pt idx="1556">
                  <c:v>1402-05-31</c:v>
                </c:pt>
                <c:pt idx="1557">
                  <c:v>1402-06-01</c:v>
                </c:pt>
                <c:pt idx="1558">
                  <c:v>1402-06-02</c:v>
                </c:pt>
                <c:pt idx="1559">
                  <c:v>1402-06-04</c:v>
                </c:pt>
                <c:pt idx="1560">
                  <c:v>1402-06-05</c:v>
                </c:pt>
                <c:pt idx="1561">
                  <c:v>1402-06-06</c:v>
                </c:pt>
                <c:pt idx="1562">
                  <c:v>1402-06-07</c:v>
                </c:pt>
                <c:pt idx="1563">
                  <c:v>1402-06-08</c:v>
                </c:pt>
                <c:pt idx="1564">
                  <c:v>1402-06-09</c:v>
                </c:pt>
                <c:pt idx="1565">
                  <c:v>1402-06-11</c:v>
                </c:pt>
                <c:pt idx="1566">
                  <c:v>1402-06-12</c:v>
                </c:pt>
                <c:pt idx="1567">
                  <c:v>1402-06-13</c:v>
                </c:pt>
                <c:pt idx="1568">
                  <c:v>1402-06-14</c:v>
                </c:pt>
                <c:pt idx="1569">
                  <c:v>1402-06-16</c:v>
                </c:pt>
                <c:pt idx="1570">
                  <c:v>1402-06-18</c:v>
                </c:pt>
                <c:pt idx="1571">
                  <c:v>1402-06-19</c:v>
                </c:pt>
                <c:pt idx="1572">
                  <c:v>1402-06-20</c:v>
                </c:pt>
                <c:pt idx="1573">
                  <c:v>1402-06-21</c:v>
                </c:pt>
                <c:pt idx="1574">
                  <c:v>1402-06-22</c:v>
                </c:pt>
                <c:pt idx="1575">
                  <c:v>1402-06-23</c:v>
                </c:pt>
                <c:pt idx="1576">
                  <c:v>1402-06-26</c:v>
                </c:pt>
                <c:pt idx="1577">
                  <c:v>1402-06-27</c:v>
                </c:pt>
                <c:pt idx="1578">
                  <c:v>1402-06-28</c:v>
                </c:pt>
                <c:pt idx="1579">
                  <c:v>1402-06-29</c:v>
                </c:pt>
                <c:pt idx="1580">
                  <c:v>1402-06-30</c:v>
                </c:pt>
                <c:pt idx="1581">
                  <c:v>1402-07-01</c:v>
                </c:pt>
                <c:pt idx="1582">
                  <c:v>1402-07-03</c:v>
                </c:pt>
                <c:pt idx="1583">
                  <c:v>1402-07-05</c:v>
                </c:pt>
                <c:pt idx="1584">
                  <c:v>1402-07-06</c:v>
                </c:pt>
                <c:pt idx="1585">
                  <c:v>1402-07-08</c:v>
                </c:pt>
                <c:pt idx="1586">
                  <c:v>1402-07-09</c:v>
                </c:pt>
                <c:pt idx="1587">
                  <c:v>1402-07-10</c:v>
                </c:pt>
                <c:pt idx="1588">
                  <c:v>1402-07-12</c:v>
                </c:pt>
                <c:pt idx="1589">
                  <c:v>1402-07-13</c:v>
                </c:pt>
                <c:pt idx="1590">
                  <c:v>1402-07-15</c:v>
                </c:pt>
                <c:pt idx="1591">
                  <c:v>1402-07-16</c:v>
                </c:pt>
                <c:pt idx="1592">
                  <c:v>1402-07-17</c:v>
                </c:pt>
                <c:pt idx="1593">
                  <c:v>1402-07-18</c:v>
                </c:pt>
                <c:pt idx="1594">
                  <c:v>1402-07-19</c:v>
                </c:pt>
                <c:pt idx="1595">
                  <c:v>1402-07-20</c:v>
                </c:pt>
                <c:pt idx="1596">
                  <c:v>1402-07-22</c:v>
                </c:pt>
                <c:pt idx="1597">
                  <c:v>1402-07-23</c:v>
                </c:pt>
                <c:pt idx="1598">
                  <c:v>1402-07-24</c:v>
                </c:pt>
                <c:pt idx="1599">
                  <c:v>1402-07-25</c:v>
                </c:pt>
                <c:pt idx="1600">
                  <c:v>1402-07-26</c:v>
                </c:pt>
                <c:pt idx="1601">
                  <c:v>1402-07-27</c:v>
                </c:pt>
                <c:pt idx="1602">
                  <c:v>1402-07-29</c:v>
                </c:pt>
                <c:pt idx="1603">
                  <c:v>1402-07-30</c:v>
                </c:pt>
                <c:pt idx="1604">
                  <c:v>1402-08-01</c:v>
                </c:pt>
                <c:pt idx="1605">
                  <c:v>1402-08-02</c:v>
                </c:pt>
                <c:pt idx="1606">
                  <c:v>1402-08-03</c:v>
                </c:pt>
                <c:pt idx="1607">
                  <c:v>1402-08-04</c:v>
                </c:pt>
                <c:pt idx="1608">
                  <c:v>1402-08-06</c:v>
                </c:pt>
                <c:pt idx="1609">
                  <c:v>1402-08-07</c:v>
                </c:pt>
                <c:pt idx="1610">
                  <c:v>1402-08-08</c:v>
                </c:pt>
                <c:pt idx="1611">
                  <c:v>1402-08-09</c:v>
                </c:pt>
                <c:pt idx="1612">
                  <c:v>1402-08-10</c:v>
                </c:pt>
                <c:pt idx="1613">
                  <c:v>1402-08-11</c:v>
                </c:pt>
                <c:pt idx="1614">
                  <c:v>1402-08-13</c:v>
                </c:pt>
                <c:pt idx="1615">
                  <c:v>1402-08-14</c:v>
                </c:pt>
                <c:pt idx="1616">
                  <c:v>1402-08-15</c:v>
                </c:pt>
                <c:pt idx="1617">
                  <c:v>1402-08-16</c:v>
                </c:pt>
                <c:pt idx="1618">
                  <c:v>1402-08-17</c:v>
                </c:pt>
                <c:pt idx="1619">
                  <c:v>1402-08-18</c:v>
                </c:pt>
                <c:pt idx="1620">
                  <c:v>1402-08-20</c:v>
                </c:pt>
                <c:pt idx="1621">
                  <c:v>1402-08-21</c:v>
                </c:pt>
                <c:pt idx="1622">
                  <c:v>1402-08-22</c:v>
                </c:pt>
                <c:pt idx="1623">
                  <c:v>1402-08-23</c:v>
                </c:pt>
                <c:pt idx="1624">
                  <c:v>1402-08-24</c:v>
                </c:pt>
                <c:pt idx="1625">
                  <c:v>1402-08-25</c:v>
                </c:pt>
                <c:pt idx="1626">
                  <c:v>1402-08-27</c:v>
                </c:pt>
                <c:pt idx="1627">
                  <c:v>1402-08-28</c:v>
                </c:pt>
                <c:pt idx="1628">
                  <c:v>1402-08-29</c:v>
                </c:pt>
                <c:pt idx="1629">
                  <c:v>1402-08-30</c:v>
                </c:pt>
                <c:pt idx="1630">
                  <c:v>1402-09-01</c:v>
                </c:pt>
                <c:pt idx="1631">
                  <c:v>1402-09-02</c:v>
                </c:pt>
                <c:pt idx="1632">
                  <c:v>1402-09-04</c:v>
                </c:pt>
                <c:pt idx="1633">
                  <c:v>1402-09-07</c:v>
                </c:pt>
                <c:pt idx="1634">
                  <c:v>1402-09-08</c:v>
                </c:pt>
                <c:pt idx="1635">
                  <c:v>1402-09-09</c:v>
                </c:pt>
                <c:pt idx="1636">
                  <c:v>1402-09-11</c:v>
                </c:pt>
                <c:pt idx="1637">
                  <c:v>1402-09-12</c:v>
                </c:pt>
                <c:pt idx="1638">
                  <c:v>1402-09-13</c:v>
                </c:pt>
                <c:pt idx="1639">
                  <c:v>1402-09-14</c:v>
                </c:pt>
                <c:pt idx="1640">
                  <c:v>1402-09-15</c:v>
                </c:pt>
                <c:pt idx="1641">
                  <c:v>1402-09-16</c:v>
                </c:pt>
                <c:pt idx="1642">
                  <c:v>1402-09-18</c:v>
                </c:pt>
                <c:pt idx="1643">
                  <c:v>1402-09-19</c:v>
                </c:pt>
                <c:pt idx="1644">
                  <c:v>1402-09-20</c:v>
                </c:pt>
                <c:pt idx="1645">
                  <c:v>1402-09-21</c:v>
                </c:pt>
                <c:pt idx="1646">
                  <c:v>1402-09-23</c:v>
                </c:pt>
                <c:pt idx="1647">
                  <c:v>1402-09-25</c:v>
                </c:pt>
                <c:pt idx="1648">
                  <c:v>1402-09-27</c:v>
                </c:pt>
                <c:pt idx="1649">
                  <c:v>1402-09-28</c:v>
                </c:pt>
                <c:pt idx="1650">
                  <c:v>1402-09-29</c:v>
                </c:pt>
                <c:pt idx="1651">
                  <c:v>1402-09-30</c:v>
                </c:pt>
                <c:pt idx="1652">
                  <c:v>1402-10-02</c:v>
                </c:pt>
                <c:pt idx="1653">
                  <c:v>1402-10-03</c:v>
                </c:pt>
                <c:pt idx="1654">
                  <c:v>1402-10-04</c:v>
                </c:pt>
                <c:pt idx="1655">
                  <c:v>1402-10-05</c:v>
                </c:pt>
                <c:pt idx="1656">
                  <c:v>1402-10-06</c:v>
                </c:pt>
                <c:pt idx="1657">
                  <c:v>1402-10-07</c:v>
                </c:pt>
                <c:pt idx="1658">
                  <c:v>1402-10-09</c:v>
                </c:pt>
                <c:pt idx="1659">
                  <c:v>1402-10-10</c:v>
                </c:pt>
                <c:pt idx="1660">
                  <c:v>1402-10-11</c:v>
                </c:pt>
                <c:pt idx="1661">
                  <c:v>1402-10-12</c:v>
                </c:pt>
                <c:pt idx="1662">
                  <c:v>1402-10-13</c:v>
                </c:pt>
                <c:pt idx="1663">
                  <c:v>1402-10-14</c:v>
                </c:pt>
                <c:pt idx="1664">
                  <c:v>1402-10-16</c:v>
                </c:pt>
                <c:pt idx="1665">
                  <c:v>1402-10-17</c:v>
                </c:pt>
                <c:pt idx="1666">
                  <c:v>1402-10-18</c:v>
                </c:pt>
                <c:pt idx="1667">
                  <c:v>1402-10-19</c:v>
                </c:pt>
                <c:pt idx="1668">
                  <c:v>1402-10-20</c:v>
                </c:pt>
                <c:pt idx="1669">
                  <c:v>1402-10-21</c:v>
                </c:pt>
                <c:pt idx="1670">
                  <c:v>1402-10-23</c:v>
                </c:pt>
                <c:pt idx="1671">
                  <c:v>1402-10-24</c:v>
                </c:pt>
                <c:pt idx="1672">
                  <c:v>1402-10-25</c:v>
                </c:pt>
                <c:pt idx="1673">
                  <c:v>1402-10-26</c:v>
                </c:pt>
                <c:pt idx="1674">
                  <c:v>1402-10-27</c:v>
                </c:pt>
                <c:pt idx="1675">
                  <c:v>1402-10-28</c:v>
                </c:pt>
                <c:pt idx="1676">
                  <c:v>1402-10-30</c:v>
                </c:pt>
                <c:pt idx="1677">
                  <c:v>1402-11-01</c:v>
                </c:pt>
                <c:pt idx="1678">
                  <c:v>1402-11-02</c:v>
                </c:pt>
                <c:pt idx="1679">
                  <c:v>1402-11-03</c:v>
                </c:pt>
                <c:pt idx="1680">
                  <c:v>1402-11-04</c:v>
                </c:pt>
                <c:pt idx="1681">
                  <c:v>1402-11-05</c:v>
                </c:pt>
                <c:pt idx="1682">
                  <c:v>1402-11-07</c:v>
                </c:pt>
                <c:pt idx="1683">
                  <c:v>1402-11-08</c:v>
                </c:pt>
                <c:pt idx="1684">
                  <c:v>1402-11-09</c:v>
                </c:pt>
                <c:pt idx="1685">
                  <c:v>1402-11-10</c:v>
                </c:pt>
                <c:pt idx="1686">
                  <c:v>1402-11-11</c:v>
                </c:pt>
                <c:pt idx="1687">
                  <c:v>1402-11-11</c:v>
                </c:pt>
                <c:pt idx="1688">
                  <c:v>1402-11-12</c:v>
                </c:pt>
                <c:pt idx="1689">
                  <c:v>1402-11-14</c:v>
                </c:pt>
                <c:pt idx="1690">
                  <c:v>1402-11-15</c:v>
                </c:pt>
                <c:pt idx="1691">
                  <c:v>1402-11-16</c:v>
                </c:pt>
                <c:pt idx="1692">
                  <c:v>1402-11-17</c:v>
                </c:pt>
                <c:pt idx="1693">
                  <c:v>1402-11-18</c:v>
                </c:pt>
                <c:pt idx="1694">
                  <c:v>1402-11-19</c:v>
                </c:pt>
                <c:pt idx="1695">
                  <c:v>1402-11-21</c:v>
                </c:pt>
                <c:pt idx="1696">
                  <c:v>1402-11-23</c:v>
                </c:pt>
                <c:pt idx="1697">
                  <c:v>1402-11-24</c:v>
                </c:pt>
                <c:pt idx="1698">
                  <c:v>1402-11-25</c:v>
                </c:pt>
                <c:pt idx="1699">
                  <c:v>1402-11-26</c:v>
                </c:pt>
                <c:pt idx="1700">
                  <c:v>1402-11-28</c:v>
                </c:pt>
                <c:pt idx="1701">
                  <c:v>1402-11-29</c:v>
                </c:pt>
                <c:pt idx="1702">
                  <c:v>1402-11-30</c:v>
                </c:pt>
                <c:pt idx="1703">
                  <c:v>1402-12-01</c:v>
                </c:pt>
                <c:pt idx="1704">
                  <c:v>1402-12-02</c:v>
                </c:pt>
                <c:pt idx="1705">
                  <c:v>1402-12-03</c:v>
                </c:pt>
                <c:pt idx="1706">
                  <c:v>1402-12-05</c:v>
                </c:pt>
                <c:pt idx="1707">
                  <c:v>1402-12-07</c:v>
                </c:pt>
                <c:pt idx="1708">
                  <c:v>1402-12-08</c:v>
                </c:pt>
                <c:pt idx="1709">
                  <c:v>1402-12-09</c:v>
                </c:pt>
                <c:pt idx="1710">
                  <c:v>1402-12-10</c:v>
                </c:pt>
                <c:pt idx="1711">
                  <c:v>1402-12-12</c:v>
                </c:pt>
                <c:pt idx="1712">
                  <c:v>1402-12-13</c:v>
                </c:pt>
                <c:pt idx="1713">
                  <c:v>1402-12-14</c:v>
                </c:pt>
                <c:pt idx="1714">
                  <c:v>1402-12-15</c:v>
                </c:pt>
                <c:pt idx="1715">
                  <c:v>1402-12-16</c:v>
                </c:pt>
                <c:pt idx="1716">
                  <c:v>1402-12-17</c:v>
                </c:pt>
                <c:pt idx="1717">
                  <c:v>1402-12-19</c:v>
                </c:pt>
                <c:pt idx="1718">
                  <c:v>1402-12-20</c:v>
                </c:pt>
                <c:pt idx="1719">
                  <c:v>1402-12-21</c:v>
                </c:pt>
                <c:pt idx="1720">
                  <c:v>1402-12-22</c:v>
                </c:pt>
                <c:pt idx="1721">
                  <c:v>1402-12-23</c:v>
                </c:pt>
                <c:pt idx="1722">
                  <c:v>1402-12-24</c:v>
                </c:pt>
                <c:pt idx="1723">
                  <c:v>1402-12-26</c:v>
                </c:pt>
                <c:pt idx="1724">
                  <c:v>1402-12-27</c:v>
                </c:pt>
                <c:pt idx="1725">
                  <c:v>1402-12-28</c:v>
                </c:pt>
                <c:pt idx="1726">
                  <c:v>1403-01-02</c:v>
                </c:pt>
                <c:pt idx="1727">
                  <c:v>1403-01-05</c:v>
                </c:pt>
                <c:pt idx="1728">
                  <c:v>1403-01-06</c:v>
                </c:pt>
                <c:pt idx="1729">
                  <c:v>1403-01-07</c:v>
                </c:pt>
                <c:pt idx="1730">
                  <c:v>1403-01-08</c:v>
                </c:pt>
                <c:pt idx="1731">
                  <c:v>1403-01-09</c:v>
                </c:pt>
                <c:pt idx="1732">
                  <c:v>1403-01-11</c:v>
                </c:pt>
                <c:pt idx="1733">
                  <c:v>1403-01-14</c:v>
                </c:pt>
                <c:pt idx="1734">
                  <c:v>1403-01-15</c:v>
                </c:pt>
                <c:pt idx="1735">
                  <c:v>1403-01-16</c:v>
                </c:pt>
                <c:pt idx="1736">
                  <c:v>1403-01-18</c:v>
                </c:pt>
                <c:pt idx="1737">
                  <c:v>1403-01-19</c:v>
                </c:pt>
                <c:pt idx="1738">
                  <c:v>1403-01-20</c:v>
                </c:pt>
                <c:pt idx="1739">
                  <c:v>1403-01-21</c:v>
                </c:pt>
                <c:pt idx="1740">
                  <c:v>1403-01-23</c:v>
                </c:pt>
                <c:pt idx="1741">
                  <c:v>1403-01-25</c:v>
                </c:pt>
                <c:pt idx="1742">
                  <c:v>1403-01-26</c:v>
                </c:pt>
                <c:pt idx="1743">
                  <c:v>1403-01-27</c:v>
                </c:pt>
                <c:pt idx="1744">
                  <c:v>1403-01-28</c:v>
                </c:pt>
                <c:pt idx="1745">
                  <c:v>1403-01-29</c:v>
                </c:pt>
                <c:pt idx="1746">
                  <c:v>1403-01-30</c:v>
                </c:pt>
                <c:pt idx="1747">
                  <c:v>1403-02-01</c:v>
                </c:pt>
                <c:pt idx="1748">
                  <c:v>1403-02-02</c:v>
                </c:pt>
                <c:pt idx="1749">
                  <c:v>1403-02-03</c:v>
                </c:pt>
                <c:pt idx="1750">
                  <c:v>1403-02-04</c:v>
                </c:pt>
                <c:pt idx="1751">
                  <c:v>1403-02-05</c:v>
                </c:pt>
                <c:pt idx="1752">
                  <c:v>1403-02-06</c:v>
                </c:pt>
                <c:pt idx="1753">
                  <c:v>1403-02-08</c:v>
                </c:pt>
                <c:pt idx="1754">
                  <c:v>1403-02-09</c:v>
                </c:pt>
                <c:pt idx="1755">
                  <c:v>1403-02-10</c:v>
                </c:pt>
                <c:pt idx="1756">
                  <c:v>1403-02-11</c:v>
                </c:pt>
                <c:pt idx="1757">
                  <c:v>1403-02-12</c:v>
                </c:pt>
                <c:pt idx="1758">
                  <c:v>1403-02-13</c:v>
                </c:pt>
                <c:pt idx="1759">
                  <c:v>1403-02-16</c:v>
                </c:pt>
                <c:pt idx="1760">
                  <c:v>1403-02-17</c:v>
                </c:pt>
                <c:pt idx="1761">
                  <c:v>1403-02-18</c:v>
                </c:pt>
                <c:pt idx="1762">
                  <c:v>1403-02-19</c:v>
                </c:pt>
                <c:pt idx="1763">
                  <c:v>1403-02-20</c:v>
                </c:pt>
                <c:pt idx="1764">
                  <c:v>1403-02-22</c:v>
                </c:pt>
                <c:pt idx="1765">
                  <c:v>1403-02-23</c:v>
                </c:pt>
                <c:pt idx="1766">
                  <c:v>1403-02-24</c:v>
                </c:pt>
                <c:pt idx="1767">
                  <c:v>1403-02-25</c:v>
                </c:pt>
                <c:pt idx="1768">
                  <c:v>1403-02-26</c:v>
                </c:pt>
                <c:pt idx="1769">
                  <c:v>1403-02-27</c:v>
                </c:pt>
                <c:pt idx="1770">
                  <c:v>1403-02-29</c:v>
                </c:pt>
                <c:pt idx="1771">
                  <c:v>1403-02-30</c:v>
                </c:pt>
                <c:pt idx="1772">
                  <c:v>1403-03-01</c:v>
                </c:pt>
                <c:pt idx="1773">
                  <c:v>1403-03-03</c:v>
                </c:pt>
                <c:pt idx="1774">
                  <c:v>1403-03-05</c:v>
                </c:pt>
                <c:pt idx="1775">
                  <c:v>1403-03-06</c:v>
                </c:pt>
                <c:pt idx="1776">
                  <c:v>1403-03-07</c:v>
                </c:pt>
                <c:pt idx="1777">
                  <c:v>1403-03-08</c:v>
                </c:pt>
                <c:pt idx="1778">
                  <c:v>1403-03-09</c:v>
                </c:pt>
                <c:pt idx="1779">
                  <c:v>1403-03-10</c:v>
                </c:pt>
                <c:pt idx="1780">
                  <c:v>1403-03-12</c:v>
                </c:pt>
                <c:pt idx="1781">
                  <c:v>1403-03-13</c:v>
                </c:pt>
                <c:pt idx="1782">
                  <c:v>1403-03-16</c:v>
                </c:pt>
                <c:pt idx="1783">
                  <c:v>1403-03-17</c:v>
                </c:pt>
                <c:pt idx="1784">
                  <c:v>1403-03-19</c:v>
                </c:pt>
                <c:pt idx="1785">
                  <c:v>1403-03-20</c:v>
                </c:pt>
                <c:pt idx="1786">
                  <c:v>1403-03-21</c:v>
                </c:pt>
                <c:pt idx="1787">
                  <c:v>1403-03-22</c:v>
                </c:pt>
                <c:pt idx="1788">
                  <c:v>1403-03-23</c:v>
                </c:pt>
                <c:pt idx="1789">
                  <c:v>1403-03-24</c:v>
                </c:pt>
                <c:pt idx="1790">
                  <c:v>1403-03-26</c:v>
                </c:pt>
                <c:pt idx="1791">
                  <c:v>1403-03-27</c:v>
                </c:pt>
                <c:pt idx="1792">
                  <c:v>1403-03-29</c:v>
                </c:pt>
                <c:pt idx="1793">
                  <c:v>1403-03-30</c:v>
                </c:pt>
                <c:pt idx="1794">
                  <c:v>1403-03-31</c:v>
                </c:pt>
                <c:pt idx="1795">
                  <c:v>1403-04-02</c:v>
                </c:pt>
                <c:pt idx="1796">
                  <c:v>1403-04-03</c:v>
                </c:pt>
                <c:pt idx="1797">
                  <c:v>1403-04-04</c:v>
                </c:pt>
                <c:pt idx="1798">
                  <c:v>1403-04-06</c:v>
                </c:pt>
                <c:pt idx="1799">
                  <c:v>1403-04-07</c:v>
                </c:pt>
                <c:pt idx="1800">
                  <c:v>1403-04-09</c:v>
                </c:pt>
                <c:pt idx="1801">
                  <c:v>1403-04-10</c:v>
                </c:pt>
                <c:pt idx="1802">
                  <c:v>1403-04-11</c:v>
                </c:pt>
                <c:pt idx="1803">
                  <c:v>1403-04-12</c:v>
                </c:pt>
                <c:pt idx="1804">
                  <c:v>1403-04-13</c:v>
                </c:pt>
                <c:pt idx="1805">
                  <c:v>1403-04-14</c:v>
                </c:pt>
                <c:pt idx="1806">
                  <c:v>1403-04-16</c:v>
                </c:pt>
                <c:pt idx="1807">
                  <c:v>1403-04-17</c:v>
                </c:pt>
                <c:pt idx="1808">
                  <c:v>1403-04-18</c:v>
                </c:pt>
                <c:pt idx="1809">
                  <c:v>1403-04-19</c:v>
                </c:pt>
                <c:pt idx="1810">
                  <c:v>1403-04-20</c:v>
                </c:pt>
                <c:pt idx="1811">
                  <c:v>1403-04-21</c:v>
                </c:pt>
                <c:pt idx="1812">
                  <c:v>1403-04-23</c:v>
                </c:pt>
                <c:pt idx="1813">
                  <c:v>1403-04-24</c:v>
                </c:pt>
                <c:pt idx="1814">
                  <c:v>1403-04-27</c:v>
                </c:pt>
                <c:pt idx="1815">
                  <c:v>1403-04-28</c:v>
                </c:pt>
                <c:pt idx="1816">
                  <c:v>1403-04-30</c:v>
                </c:pt>
                <c:pt idx="1817">
                  <c:v>1403-04-31</c:v>
                </c:pt>
                <c:pt idx="1818">
                  <c:v>1403-05-01</c:v>
                </c:pt>
                <c:pt idx="1819">
                  <c:v>1403-05-02</c:v>
                </c:pt>
                <c:pt idx="1820">
                  <c:v>1403-05-03</c:v>
                </c:pt>
                <c:pt idx="1821">
                  <c:v>1403-05-04</c:v>
                </c:pt>
                <c:pt idx="1822">
                  <c:v>1403-05-06</c:v>
                </c:pt>
                <c:pt idx="1823">
                  <c:v>1403-05-08</c:v>
                </c:pt>
                <c:pt idx="1824">
                  <c:v>1403-05-09</c:v>
                </c:pt>
                <c:pt idx="1825">
                  <c:v>1403-05-10</c:v>
                </c:pt>
                <c:pt idx="1826">
                  <c:v>1403-05-11</c:v>
                </c:pt>
                <c:pt idx="1827">
                  <c:v>1403-05-13</c:v>
                </c:pt>
                <c:pt idx="1828">
                  <c:v>1403-05-14</c:v>
                </c:pt>
                <c:pt idx="1829">
                  <c:v>1403-05-15</c:v>
                </c:pt>
                <c:pt idx="1830">
                  <c:v>1403-05-16</c:v>
                </c:pt>
                <c:pt idx="1831">
                  <c:v>1403-05-18</c:v>
                </c:pt>
                <c:pt idx="1832">
                  <c:v>1403-05-20</c:v>
                </c:pt>
                <c:pt idx="1833">
                  <c:v>1403-05-21</c:v>
                </c:pt>
                <c:pt idx="1834">
                  <c:v>1403-05-22</c:v>
                </c:pt>
                <c:pt idx="1835">
                  <c:v>1403-05-23</c:v>
                </c:pt>
                <c:pt idx="1836">
                  <c:v>1403-05-24</c:v>
                </c:pt>
                <c:pt idx="1837">
                  <c:v>1403-05-25</c:v>
                </c:pt>
                <c:pt idx="1838">
                  <c:v>1403-05-27</c:v>
                </c:pt>
                <c:pt idx="1839">
                  <c:v>1403-05-28</c:v>
                </c:pt>
                <c:pt idx="1840">
                  <c:v>1403-05-29</c:v>
                </c:pt>
                <c:pt idx="1841">
                  <c:v>1403-05-30</c:v>
                </c:pt>
                <c:pt idx="1842">
                  <c:v>1403-05-31</c:v>
                </c:pt>
                <c:pt idx="1843">
                  <c:v>1403-06-01</c:v>
                </c:pt>
                <c:pt idx="1844">
                  <c:v>1403-06-03</c:v>
                </c:pt>
                <c:pt idx="1845">
                  <c:v>1403-06-05</c:v>
                </c:pt>
                <c:pt idx="1846">
                  <c:v>1403-06-06</c:v>
                </c:pt>
                <c:pt idx="1847">
                  <c:v>1403-06-07</c:v>
                </c:pt>
                <c:pt idx="1848">
                  <c:v>1403-06-08</c:v>
                </c:pt>
                <c:pt idx="1849">
                  <c:v>1403-06-10</c:v>
                </c:pt>
                <c:pt idx="1850">
                  <c:v>1403-06-11</c:v>
                </c:pt>
                <c:pt idx="1851">
                  <c:v>1403-06-13</c:v>
                </c:pt>
                <c:pt idx="1852">
                  <c:v>1403-06-15</c:v>
                </c:pt>
                <c:pt idx="1853">
                  <c:v>1403-06-17</c:v>
                </c:pt>
                <c:pt idx="1854">
                  <c:v>1403-06-18</c:v>
                </c:pt>
                <c:pt idx="1855">
                  <c:v>1403-06-19</c:v>
                </c:pt>
                <c:pt idx="1856">
                  <c:v>1403-06-20</c:v>
                </c:pt>
                <c:pt idx="1857">
                  <c:v>1403-06-21</c:v>
                </c:pt>
                <c:pt idx="1858">
                  <c:v>1403-06-22</c:v>
                </c:pt>
                <c:pt idx="1859">
                  <c:v>1403-06-24</c:v>
                </c:pt>
                <c:pt idx="1860">
                  <c:v>1403-06-25</c:v>
                </c:pt>
                <c:pt idx="1861">
                  <c:v>1403-06-26</c:v>
                </c:pt>
                <c:pt idx="1862">
                  <c:v>1403-06-28</c:v>
                </c:pt>
                <c:pt idx="1863">
                  <c:v>1403-06-29</c:v>
                </c:pt>
                <c:pt idx="1864">
                  <c:v>1403-07-01</c:v>
                </c:pt>
                <c:pt idx="1865">
                  <c:v>1403-07-02</c:v>
                </c:pt>
                <c:pt idx="1866">
                  <c:v>1403-07-03</c:v>
                </c:pt>
                <c:pt idx="1867">
                  <c:v>1403-07-04</c:v>
                </c:pt>
                <c:pt idx="1868">
                  <c:v>1403-07-05</c:v>
                </c:pt>
                <c:pt idx="1869">
                  <c:v>1403-07-07</c:v>
                </c:pt>
                <c:pt idx="1870">
                  <c:v>1403-07-08</c:v>
                </c:pt>
                <c:pt idx="1871">
                  <c:v>1403-07-09</c:v>
                </c:pt>
                <c:pt idx="1872">
                  <c:v>1403-07-10</c:v>
                </c:pt>
                <c:pt idx="1873">
                  <c:v>1403-07-11</c:v>
                </c:pt>
                <c:pt idx="1874">
                  <c:v>1403-07-12</c:v>
                </c:pt>
                <c:pt idx="1875">
                  <c:v>1403-07-14</c:v>
                </c:pt>
                <c:pt idx="1876">
                  <c:v>1403-07-15</c:v>
                </c:pt>
                <c:pt idx="1877">
                  <c:v>1403-07-16</c:v>
                </c:pt>
                <c:pt idx="1878">
                  <c:v>1403-07-17</c:v>
                </c:pt>
                <c:pt idx="1879">
                  <c:v>1403-07-18</c:v>
                </c:pt>
                <c:pt idx="1880">
                  <c:v>1403-07-19</c:v>
                </c:pt>
                <c:pt idx="1881">
                  <c:v>1403-07-18</c:v>
                </c:pt>
                <c:pt idx="1882">
                  <c:v>1403-07-19</c:v>
                </c:pt>
                <c:pt idx="1883">
                  <c:v>1403-07-21</c:v>
                </c:pt>
                <c:pt idx="1884">
                  <c:v>1403-07-22</c:v>
                </c:pt>
                <c:pt idx="1885">
                  <c:v>1403-07-23</c:v>
                </c:pt>
                <c:pt idx="1886">
                  <c:v>1403-07-24</c:v>
                </c:pt>
                <c:pt idx="1887">
                  <c:v>1403-07-25</c:v>
                </c:pt>
                <c:pt idx="1888">
                  <c:v>1403-07-26</c:v>
                </c:pt>
                <c:pt idx="1889">
                  <c:v>1403-07-28</c:v>
                </c:pt>
                <c:pt idx="1890">
                  <c:v>1403-07-29</c:v>
                </c:pt>
                <c:pt idx="1891">
                  <c:v>1403-07-30</c:v>
                </c:pt>
                <c:pt idx="1892">
                  <c:v>1403-08-01</c:v>
                </c:pt>
                <c:pt idx="1893">
                  <c:v>1403-08-02</c:v>
                </c:pt>
                <c:pt idx="1894">
                  <c:v>1403-08-03</c:v>
                </c:pt>
                <c:pt idx="1895">
                  <c:v>1403-08-05</c:v>
                </c:pt>
                <c:pt idx="1896">
                  <c:v>1403-08-06</c:v>
                </c:pt>
                <c:pt idx="1897">
                  <c:v>1403-08-07</c:v>
                </c:pt>
                <c:pt idx="1898">
                  <c:v>1403-08-08</c:v>
                </c:pt>
                <c:pt idx="1899">
                  <c:v>1403-08-09</c:v>
                </c:pt>
                <c:pt idx="1900">
                  <c:v>1403-08-10</c:v>
                </c:pt>
                <c:pt idx="1901">
                  <c:v>1403-08-12</c:v>
                </c:pt>
                <c:pt idx="1902">
                  <c:v>1403-08-13</c:v>
                </c:pt>
                <c:pt idx="1903">
                  <c:v>1403-08-14</c:v>
                </c:pt>
                <c:pt idx="1904">
                  <c:v>1403-08-15</c:v>
                </c:pt>
                <c:pt idx="1905">
                  <c:v>1403-08-15</c:v>
                </c:pt>
                <c:pt idx="1906">
                  <c:v>1403-08-16</c:v>
                </c:pt>
                <c:pt idx="1907">
                  <c:v>1403-08-17</c:v>
                </c:pt>
                <c:pt idx="1908">
                  <c:v>1403-08-19</c:v>
                </c:pt>
                <c:pt idx="1909">
                  <c:v>1403-08-20</c:v>
                </c:pt>
                <c:pt idx="1910">
                  <c:v>1403-08-21</c:v>
                </c:pt>
                <c:pt idx="1911">
                  <c:v>1403-08-22</c:v>
                </c:pt>
                <c:pt idx="1912">
                  <c:v>1403-08-23</c:v>
                </c:pt>
                <c:pt idx="1913">
                  <c:v>1403-08-24</c:v>
                </c:pt>
                <c:pt idx="1914">
                  <c:v>1403-08-26</c:v>
                </c:pt>
                <c:pt idx="1915">
                  <c:v>1403-08-27</c:v>
                </c:pt>
                <c:pt idx="1916">
                  <c:v>1403-08-28</c:v>
                </c:pt>
                <c:pt idx="1917">
                  <c:v>1403-08-29</c:v>
                </c:pt>
                <c:pt idx="1918">
                  <c:v>1403-08-30</c:v>
                </c:pt>
                <c:pt idx="1919">
                  <c:v>1403-09-01</c:v>
                </c:pt>
                <c:pt idx="1920">
                  <c:v>1403-09-03</c:v>
                </c:pt>
                <c:pt idx="1921">
                  <c:v>1403-09-04</c:v>
                </c:pt>
                <c:pt idx="1922">
                  <c:v>1403-09-05</c:v>
                </c:pt>
                <c:pt idx="1923">
                  <c:v>1403-09-06</c:v>
                </c:pt>
                <c:pt idx="1924">
                  <c:v>1403-09-07</c:v>
                </c:pt>
                <c:pt idx="1925">
                  <c:v>1403-09-08</c:v>
                </c:pt>
                <c:pt idx="1926">
                  <c:v>1403-09-10</c:v>
                </c:pt>
                <c:pt idx="1927">
                  <c:v>1403-09-11</c:v>
                </c:pt>
                <c:pt idx="1928">
                  <c:v>1403-09-12</c:v>
                </c:pt>
                <c:pt idx="1929">
                  <c:v>1403-09-13</c:v>
                </c:pt>
                <c:pt idx="1930">
                  <c:v>1403-09-14</c:v>
                </c:pt>
                <c:pt idx="1931">
                  <c:v>1403-09-15</c:v>
                </c:pt>
                <c:pt idx="1932">
                  <c:v>1403-09-17</c:v>
                </c:pt>
                <c:pt idx="1933">
                  <c:v>1403-09-18</c:v>
                </c:pt>
                <c:pt idx="1934">
                  <c:v>1403-09-19</c:v>
                </c:pt>
                <c:pt idx="1935">
                  <c:v>1403-09-20</c:v>
                </c:pt>
                <c:pt idx="1936">
                  <c:v>1403-09-21</c:v>
                </c:pt>
                <c:pt idx="1937">
                  <c:v>1403-09-22</c:v>
                </c:pt>
                <c:pt idx="1938">
                  <c:v>1403-09-24</c:v>
                </c:pt>
                <c:pt idx="1939">
                  <c:v>1403-09-25</c:v>
                </c:pt>
                <c:pt idx="1940">
                  <c:v>1403-09-26</c:v>
                </c:pt>
                <c:pt idx="1941">
                  <c:v>1403-09-27</c:v>
                </c:pt>
                <c:pt idx="1942">
                  <c:v>1403-09-28</c:v>
                </c:pt>
                <c:pt idx="1943">
                  <c:v>1403-09-29</c:v>
                </c:pt>
                <c:pt idx="1944">
                  <c:v>1403-10-01</c:v>
                </c:pt>
                <c:pt idx="1945">
                  <c:v>1403-10-02</c:v>
                </c:pt>
                <c:pt idx="1946">
                  <c:v>1403-10-03</c:v>
                </c:pt>
                <c:pt idx="1947">
                  <c:v>1403-10-04</c:v>
                </c:pt>
                <c:pt idx="1948">
                  <c:v>1403-10-05</c:v>
                </c:pt>
                <c:pt idx="1949">
                  <c:v>1403-10-06</c:v>
                </c:pt>
                <c:pt idx="1950">
                  <c:v>1403-10-08</c:v>
                </c:pt>
                <c:pt idx="1951">
                  <c:v>1403-10-09</c:v>
                </c:pt>
                <c:pt idx="1952">
                  <c:v>1403-10-10</c:v>
                </c:pt>
                <c:pt idx="1953">
                  <c:v>1403-10-11</c:v>
                </c:pt>
                <c:pt idx="1954">
                  <c:v>1403-10-12</c:v>
                </c:pt>
                <c:pt idx="1955">
                  <c:v>1403-10-13</c:v>
                </c:pt>
                <c:pt idx="1956">
                  <c:v>1403-10-15</c:v>
                </c:pt>
                <c:pt idx="1957">
                  <c:v>1403-10-16</c:v>
                </c:pt>
                <c:pt idx="1958">
                  <c:v>1403-10-17</c:v>
                </c:pt>
                <c:pt idx="1959">
                  <c:v>1403-10-18</c:v>
                </c:pt>
                <c:pt idx="1960">
                  <c:v>1403-10-19</c:v>
                </c:pt>
                <c:pt idx="1961">
                  <c:v>1403-10-20</c:v>
                </c:pt>
                <c:pt idx="1962">
                  <c:v>1403-10-22</c:v>
                </c:pt>
                <c:pt idx="1963">
                  <c:v>1403-10-23</c:v>
                </c:pt>
                <c:pt idx="1964">
                  <c:v>1403-10-24</c:v>
                </c:pt>
                <c:pt idx="1965">
                  <c:v>1403-10-26</c:v>
                </c:pt>
                <c:pt idx="1966">
                  <c:v>1403-10-27</c:v>
                </c:pt>
                <c:pt idx="1967">
                  <c:v>1403-10-29</c:v>
                </c:pt>
                <c:pt idx="1968">
                  <c:v>1403-10-30</c:v>
                </c:pt>
                <c:pt idx="1969">
                  <c:v>1403-11-01</c:v>
                </c:pt>
                <c:pt idx="1970">
                  <c:v>1403-11-02</c:v>
                </c:pt>
                <c:pt idx="1971">
                  <c:v>1403-11-03</c:v>
                </c:pt>
                <c:pt idx="1972">
                  <c:v>1403-11-04</c:v>
                </c:pt>
                <c:pt idx="1973">
                  <c:v>1403-11-06</c:v>
                </c:pt>
                <c:pt idx="1974">
                  <c:v>1403-11-07</c:v>
                </c:pt>
                <c:pt idx="1975">
                  <c:v>1403-11-08</c:v>
                </c:pt>
                <c:pt idx="1976">
                  <c:v>1403-11-10</c:v>
                </c:pt>
                <c:pt idx="1977">
                  <c:v>1403-11-11</c:v>
                </c:pt>
                <c:pt idx="1978">
                  <c:v>1403-11-13</c:v>
                </c:pt>
                <c:pt idx="1979">
                  <c:v>1403-11-14</c:v>
                </c:pt>
                <c:pt idx="1980">
                  <c:v>1403-11-15</c:v>
                </c:pt>
                <c:pt idx="1981">
                  <c:v>1403-11-16</c:v>
                </c:pt>
                <c:pt idx="1982">
                  <c:v>1403-11-17</c:v>
                </c:pt>
                <c:pt idx="1983">
                  <c:v>1403-11-18</c:v>
                </c:pt>
                <c:pt idx="1984">
                  <c:v>1403-11-21</c:v>
                </c:pt>
                <c:pt idx="1985">
                  <c:v>1403-11-23</c:v>
                </c:pt>
                <c:pt idx="1986">
                  <c:v>1403-11-24</c:v>
                </c:pt>
                <c:pt idx="1987">
                  <c:v>1403-11-25</c:v>
                </c:pt>
                <c:pt idx="1988">
                  <c:v>1403-11-27</c:v>
                </c:pt>
                <c:pt idx="1989">
                  <c:v>1403-11-28</c:v>
                </c:pt>
                <c:pt idx="1990">
                  <c:v>1403-11-29</c:v>
                </c:pt>
                <c:pt idx="1991">
                  <c:v>1403-11-30</c:v>
                </c:pt>
                <c:pt idx="1992">
                  <c:v>1403-12-01</c:v>
                </c:pt>
                <c:pt idx="1993">
                  <c:v>1403-12-02</c:v>
                </c:pt>
                <c:pt idx="1994">
                  <c:v>1403-12-04</c:v>
                </c:pt>
                <c:pt idx="1995">
                  <c:v>1403-12-05</c:v>
                </c:pt>
                <c:pt idx="1996">
                  <c:v>1403-12-06</c:v>
                </c:pt>
                <c:pt idx="1997">
                  <c:v>1403-12-07</c:v>
                </c:pt>
                <c:pt idx="1998">
                  <c:v>1403-12-08</c:v>
                </c:pt>
                <c:pt idx="1999">
                  <c:v>1403-12-09</c:v>
                </c:pt>
                <c:pt idx="2000">
                  <c:v>1403-12-11</c:v>
                </c:pt>
                <c:pt idx="2001">
                  <c:v>1403-12-12</c:v>
                </c:pt>
                <c:pt idx="2002">
                  <c:v>1403-12-13</c:v>
                </c:pt>
                <c:pt idx="2003">
                  <c:v>1403-12-14</c:v>
                </c:pt>
                <c:pt idx="2004">
                  <c:v>1403-12-15</c:v>
                </c:pt>
                <c:pt idx="2005">
                  <c:v>1403-12-18</c:v>
                </c:pt>
                <c:pt idx="2006">
                  <c:v>1403-12-19</c:v>
                </c:pt>
                <c:pt idx="2007">
                  <c:v>1403-12-20</c:v>
                </c:pt>
                <c:pt idx="2008">
                  <c:v>1403-12-21</c:v>
                </c:pt>
                <c:pt idx="2009">
                  <c:v>1403-12-22</c:v>
                </c:pt>
              </c:strCache>
              <c:extLst/>
            </c:strRef>
          </c:cat>
          <c:val>
            <c:numRef>
              <c:f>'  ارز-دلار نیمایی      '!$E$2:$E$2099</c:f>
              <c:numCache>
                <c:formatCode>0%</c:formatCode>
                <c:ptCount val="2098"/>
                <c:pt idx="0">
                  <c:v>3.1923251871149194E-2</c:v>
                </c:pt>
                <c:pt idx="1">
                  <c:v>4.9589666591250303E-2</c:v>
                </c:pt>
                <c:pt idx="2">
                  <c:v>3.5310039370078705E-2</c:v>
                </c:pt>
                <c:pt idx="3">
                  <c:v>3.4016393442622972E-2</c:v>
                </c:pt>
                <c:pt idx="4">
                  <c:v>3.9777411376751948E-2</c:v>
                </c:pt>
                <c:pt idx="5">
                  <c:v>3.6739215163388073E-2</c:v>
                </c:pt>
                <c:pt idx="6">
                  <c:v>3.7319710305492304E-2</c:v>
                </c:pt>
                <c:pt idx="7">
                  <c:v>4.2976188038738039E-2</c:v>
                </c:pt>
                <c:pt idx="8">
                  <c:v>5.2085452695829204E-2</c:v>
                </c:pt>
                <c:pt idx="9">
                  <c:v>0.1481428890196157</c:v>
                </c:pt>
                <c:pt idx="10">
                  <c:v>0.1832707904612032</c:v>
                </c:pt>
                <c:pt idx="11">
                  <c:v>0.19821428571428568</c:v>
                </c:pt>
                <c:pt idx="12">
                  <c:v>0</c:v>
                </c:pt>
                <c:pt idx="13">
                  <c:v>0.1657142857142857</c:v>
                </c:pt>
                <c:pt idx="14">
                  <c:v>0.24857142857142867</c:v>
                </c:pt>
                <c:pt idx="15">
                  <c:v>0.29000000000000004</c:v>
                </c:pt>
                <c:pt idx="16">
                  <c:v>0.33142857142857141</c:v>
                </c:pt>
                <c:pt idx="17">
                  <c:v>0.32714285714285718</c:v>
                </c:pt>
                <c:pt idx="18">
                  <c:v>0.34119047619047627</c:v>
                </c:pt>
                <c:pt idx="19">
                  <c:v>0.33023809523809522</c:v>
                </c:pt>
                <c:pt idx="20">
                  <c:v>0.3164285714285715</c:v>
                </c:pt>
                <c:pt idx="21">
                  <c:v>0.29761904761904767</c:v>
                </c:pt>
                <c:pt idx="22">
                  <c:v>0.29119047619047622</c:v>
                </c:pt>
                <c:pt idx="23">
                  <c:v>0.34166666666666656</c:v>
                </c:pt>
                <c:pt idx="24">
                  <c:v>0.33404761904761915</c:v>
                </c:pt>
                <c:pt idx="25">
                  <c:v>0.39380952380952383</c:v>
                </c:pt>
                <c:pt idx="26">
                  <c:v>0.35785714285714287</c:v>
                </c:pt>
                <c:pt idx="27">
                  <c:v>0.4202380952380953</c:v>
                </c:pt>
                <c:pt idx="28">
                  <c:v>0.41999999999999993</c:v>
                </c:pt>
                <c:pt idx="29">
                  <c:v>0.45642857142857141</c:v>
                </c:pt>
                <c:pt idx="30">
                  <c:v>0.51976190476190487</c:v>
                </c:pt>
                <c:pt idx="31">
                  <c:v>0.51190476190476186</c:v>
                </c:pt>
                <c:pt idx="32">
                  <c:v>0.41023809523809529</c:v>
                </c:pt>
                <c:pt idx="33">
                  <c:v>0.52142857142857135</c:v>
                </c:pt>
                <c:pt idx="34">
                  <c:v>0.56452380952380943</c:v>
                </c:pt>
                <c:pt idx="35">
                  <c:v>0.58404761904761915</c:v>
                </c:pt>
                <c:pt idx="36">
                  <c:v>0.57071428571428573</c:v>
                </c:pt>
                <c:pt idx="37">
                  <c:v>0.536904761904762</c:v>
                </c:pt>
                <c:pt idx="38">
                  <c:v>0.50714285714285712</c:v>
                </c:pt>
                <c:pt idx="39">
                  <c:v>0.52714285714285714</c:v>
                </c:pt>
                <c:pt idx="40">
                  <c:v>0.46476190476190471</c:v>
                </c:pt>
                <c:pt idx="41">
                  <c:v>0.49380952380952392</c:v>
                </c:pt>
                <c:pt idx="42">
                  <c:v>0.46142857142857152</c:v>
                </c:pt>
                <c:pt idx="43">
                  <c:v>0.47642857142857142</c:v>
                </c:pt>
                <c:pt idx="44">
                  <c:v>0.50785714285714278</c:v>
                </c:pt>
                <c:pt idx="45">
                  <c:v>0.52071428571428569</c:v>
                </c:pt>
                <c:pt idx="46">
                  <c:v>0.51523809523809527</c:v>
                </c:pt>
                <c:pt idx="47">
                  <c:v>0.51047619047619053</c:v>
                </c:pt>
                <c:pt idx="48">
                  <c:v>0.52309523809523806</c:v>
                </c:pt>
                <c:pt idx="49">
                  <c:v>0.5149999999999999</c:v>
                </c:pt>
                <c:pt idx="50">
                  <c:v>0.51261904761904753</c:v>
                </c:pt>
                <c:pt idx="51">
                  <c:v>0.49809523809523815</c:v>
                </c:pt>
                <c:pt idx="52">
                  <c:v>0.53285714285714292</c:v>
                </c:pt>
                <c:pt idx="53">
                  <c:v>0.539047619047619</c:v>
                </c:pt>
                <c:pt idx="54">
                  <c:v>0.52142857142857135</c:v>
                </c:pt>
                <c:pt idx="55">
                  <c:v>0.53309523809523807</c:v>
                </c:pt>
                <c:pt idx="56">
                  <c:v>0.52976190476190466</c:v>
                </c:pt>
                <c:pt idx="57">
                  <c:v>0.55261904761904757</c:v>
                </c:pt>
                <c:pt idx="58">
                  <c:v>0.54976190476190467</c:v>
                </c:pt>
                <c:pt idx="59">
                  <c:v>0.54833333333333334</c:v>
                </c:pt>
                <c:pt idx="60">
                  <c:v>0.60357142857142865</c:v>
                </c:pt>
                <c:pt idx="61">
                  <c:v>0.56571428571428561</c:v>
                </c:pt>
                <c:pt idx="62">
                  <c:v>0.61452380952380947</c:v>
                </c:pt>
                <c:pt idx="63">
                  <c:v>0.67500000000000004</c:v>
                </c:pt>
                <c:pt idx="64">
                  <c:v>0.66857142857142859</c:v>
                </c:pt>
                <c:pt idx="65">
                  <c:v>0.61166666666666658</c:v>
                </c:pt>
                <c:pt idx="66">
                  <c:v>0.65047619047619043</c:v>
                </c:pt>
                <c:pt idx="67">
                  <c:v>0.67404761904761901</c:v>
                </c:pt>
                <c:pt idx="68">
                  <c:v>0.67952380952380942</c:v>
                </c:pt>
                <c:pt idx="69">
                  <c:v>0.72071428571428564</c:v>
                </c:pt>
                <c:pt idx="70">
                  <c:v>0.76190476190476186</c:v>
                </c:pt>
                <c:pt idx="71">
                  <c:v>0.78357142857142859</c:v>
                </c:pt>
                <c:pt idx="72">
                  <c:v>0.78714285714285714</c:v>
                </c:pt>
                <c:pt idx="73">
                  <c:v>1.0726190476190478</c:v>
                </c:pt>
                <c:pt idx="74">
                  <c:v>0.94166666666666665</c:v>
                </c:pt>
                <c:pt idx="75">
                  <c:v>0.87880952380952371</c:v>
                </c:pt>
                <c:pt idx="76">
                  <c:v>0.89857142857142858</c:v>
                </c:pt>
                <c:pt idx="77">
                  <c:v>0.95904761904761915</c:v>
                </c:pt>
                <c:pt idx="78">
                  <c:v>0.89880952380952372</c:v>
                </c:pt>
                <c:pt idx="79">
                  <c:v>0.99</c:v>
                </c:pt>
                <c:pt idx="80">
                  <c:v>0.98357142857142854</c:v>
                </c:pt>
                <c:pt idx="81">
                  <c:v>0.94285714285714284</c:v>
                </c:pt>
                <c:pt idx="82">
                  <c:v>0.90809523809523807</c:v>
                </c:pt>
                <c:pt idx="83">
                  <c:v>0.8683333333333334</c:v>
                </c:pt>
                <c:pt idx="84">
                  <c:v>0.90928571428571425</c:v>
                </c:pt>
                <c:pt idx="85">
                  <c:v>0.90142857142857147</c:v>
                </c:pt>
                <c:pt idx="86">
                  <c:v>0.89190476190476198</c:v>
                </c:pt>
                <c:pt idx="87">
                  <c:v>0.85357142857142865</c:v>
                </c:pt>
                <c:pt idx="88">
                  <c:v>0.85416666666666674</c:v>
                </c:pt>
                <c:pt idx="89">
                  <c:v>0.85476190476190483</c:v>
                </c:pt>
                <c:pt idx="90">
                  <c:v>0.89547619047619054</c:v>
                </c:pt>
                <c:pt idx="91">
                  <c:v>0.9223809523809523</c:v>
                </c:pt>
                <c:pt idx="92">
                  <c:v>0.88547619047619053</c:v>
                </c:pt>
                <c:pt idx="93">
                  <c:v>0.95119047619047614</c:v>
                </c:pt>
                <c:pt idx="94">
                  <c:v>0.93666666666666676</c:v>
                </c:pt>
                <c:pt idx="95">
                  <c:v>0.95142857142857151</c:v>
                </c:pt>
                <c:pt idx="96">
                  <c:v>1.0595238095238093</c:v>
                </c:pt>
                <c:pt idx="97">
                  <c:v>1.1183333333333332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.35836294980008887</c:v>
                </c:pt>
                <c:pt idx="203">
                  <c:v>0.32000000000000006</c:v>
                </c:pt>
                <c:pt idx="204">
                  <c:v>0.34076539101497505</c:v>
                </c:pt>
                <c:pt idx="205">
                  <c:v>0.40901539483885263</c:v>
                </c:pt>
                <c:pt idx="206">
                  <c:v>0.40312534149273294</c:v>
                </c:pt>
                <c:pt idx="207">
                  <c:v>0.41430782839451563</c:v>
                </c:pt>
                <c:pt idx="208">
                  <c:v>0.4120964175143742</c:v>
                </c:pt>
                <c:pt idx="209">
                  <c:v>0.40638815207780721</c:v>
                </c:pt>
                <c:pt idx="210">
                  <c:v>0.35698569856985696</c:v>
                </c:pt>
                <c:pt idx="211">
                  <c:v>0.35123558484349249</c:v>
                </c:pt>
                <c:pt idx="212">
                  <c:v>0.31627553237722728</c:v>
                </c:pt>
                <c:pt idx="213">
                  <c:v>0.22175141242937846</c:v>
                </c:pt>
                <c:pt idx="214">
                  <c:v>0.23563968668407309</c:v>
                </c:pt>
                <c:pt idx="215">
                  <c:v>0.31888477455891961</c:v>
                </c:pt>
                <c:pt idx="216">
                  <c:v>0.24618403837767122</c:v>
                </c:pt>
                <c:pt idx="217">
                  <c:v>0.23567779106424602</c:v>
                </c:pt>
                <c:pt idx="218">
                  <c:v>0.2340471790412002</c:v>
                </c:pt>
                <c:pt idx="219">
                  <c:v>0.2222102076124568</c:v>
                </c:pt>
                <c:pt idx="220">
                  <c:v>0.24764380890477744</c:v>
                </c:pt>
                <c:pt idx="221">
                  <c:v>0.26189941625505164</c:v>
                </c:pt>
                <c:pt idx="222">
                  <c:v>0.2334247828074989</c:v>
                </c:pt>
                <c:pt idx="223">
                  <c:v>0.23673982624599899</c:v>
                </c:pt>
                <c:pt idx="224">
                  <c:v>0.10065744729086368</c:v>
                </c:pt>
                <c:pt idx="225">
                  <c:v>0.11465669014084501</c:v>
                </c:pt>
                <c:pt idx="226">
                  <c:v>0.2423388085315028</c:v>
                </c:pt>
                <c:pt idx="227">
                  <c:v>0.19784267931524324</c:v>
                </c:pt>
                <c:pt idx="228">
                  <c:v>7.2588564090943386E-2</c:v>
                </c:pt>
                <c:pt idx="229">
                  <c:v>6.2965180939344778E-2</c:v>
                </c:pt>
                <c:pt idx="230">
                  <c:v>-7.04123126168964E-2</c:v>
                </c:pt>
                <c:pt idx="231">
                  <c:v>0.18999307727196779</c:v>
                </c:pt>
                <c:pt idx="232">
                  <c:v>9.5995611629182687E-2</c:v>
                </c:pt>
                <c:pt idx="233">
                  <c:v>3.6421791167973616E-2</c:v>
                </c:pt>
                <c:pt idx="234">
                  <c:v>0.11577551922227136</c:v>
                </c:pt>
                <c:pt idx="235">
                  <c:v>0.17045112530515327</c:v>
                </c:pt>
                <c:pt idx="236">
                  <c:v>0.17302052785923761</c:v>
                </c:pt>
                <c:pt idx="237">
                  <c:v>-7.9315867455742928E-2</c:v>
                </c:pt>
                <c:pt idx="238">
                  <c:v>-0.11785613346922341</c:v>
                </c:pt>
                <c:pt idx="239">
                  <c:v>0.17672935224898279</c:v>
                </c:pt>
                <c:pt idx="240">
                  <c:v>9.4779523568170321E-2</c:v>
                </c:pt>
                <c:pt idx="241">
                  <c:v>0.19061118040594183</c:v>
                </c:pt>
                <c:pt idx="242">
                  <c:v>0.29084059045148547</c:v>
                </c:pt>
                <c:pt idx="243">
                  <c:v>0.13731464990021669</c:v>
                </c:pt>
                <c:pt idx="244">
                  <c:v>0.1362417115512542</c:v>
                </c:pt>
                <c:pt idx="245">
                  <c:v>0.21846992515938291</c:v>
                </c:pt>
                <c:pt idx="246">
                  <c:v>0.33806867918865513</c:v>
                </c:pt>
                <c:pt idx="247">
                  <c:v>0.31526552676987674</c:v>
                </c:pt>
                <c:pt idx="248">
                  <c:v>0.36299859691320902</c:v>
                </c:pt>
                <c:pt idx="249">
                  <c:v>0.34286947407361734</c:v>
                </c:pt>
                <c:pt idx="250">
                  <c:v>0.33889428659446907</c:v>
                </c:pt>
                <c:pt idx="251">
                  <c:v>0.43378191422462575</c:v>
                </c:pt>
                <c:pt idx="252">
                  <c:v>0.32511159604280149</c:v>
                </c:pt>
                <c:pt idx="253">
                  <c:v>0.2305975781839662</c:v>
                </c:pt>
                <c:pt idx="254">
                  <c:v>0.3799669772094536</c:v>
                </c:pt>
                <c:pt idx="255">
                  <c:v>0.44795362550597173</c:v>
                </c:pt>
                <c:pt idx="256">
                  <c:v>0.42996303327005703</c:v>
                </c:pt>
                <c:pt idx="257">
                  <c:v>0.41955640412105288</c:v>
                </c:pt>
                <c:pt idx="258">
                  <c:v>0.45427717547611013</c:v>
                </c:pt>
                <c:pt idx="259">
                  <c:v>0.45554042404327899</c:v>
                </c:pt>
                <c:pt idx="260">
                  <c:v>0.43899245588877123</c:v>
                </c:pt>
                <c:pt idx="261">
                  <c:v>0.44715979160899</c:v>
                </c:pt>
                <c:pt idx="262">
                  <c:v>0.4537604352546265</c:v>
                </c:pt>
                <c:pt idx="263">
                  <c:v>0.47872220340896265</c:v>
                </c:pt>
                <c:pt idx="264">
                  <c:v>0.48163029557268788</c:v>
                </c:pt>
                <c:pt idx="265">
                  <c:v>0.48705894183751708</c:v>
                </c:pt>
                <c:pt idx="266">
                  <c:v>0.49303168551965504</c:v>
                </c:pt>
                <c:pt idx="267">
                  <c:v>0.48293684065624642</c:v>
                </c:pt>
                <c:pt idx="268">
                  <c:v>0.15026771717665266</c:v>
                </c:pt>
                <c:pt idx="269">
                  <c:v>0.33136452760765889</c:v>
                </c:pt>
                <c:pt idx="270">
                  <c:v>0.12887596899224807</c:v>
                </c:pt>
                <c:pt idx="271">
                  <c:v>0.40600694028957762</c:v>
                </c:pt>
                <c:pt idx="272">
                  <c:v>0.3890028483349548</c:v>
                </c:pt>
                <c:pt idx="273">
                  <c:v>0.36452584338125882</c:v>
                </c:pt>
                <c:pt idx="274">
                  <c:v>0.18871180590802972</c:v>
                </c:pt>
                <c:pt idx="275">
                  <c:v>0.23518940435845415</c:v>
                </c:pt>
                <c:pt idx="276">
                  <c:v>0.266817452985463</c:v>
                </c:pt>
                <c:pt idx="277">
                  <c:v>0.51849806736609616</c:v>
                </c:pt>
                <c:pt idx="278">
                  <c:v>0.4213700395911979</c:v>
                </c:pt>
                <c:pt idx="279">
                  <c:v>0.50248084045749963</c:v>
                </c:pt>
                <c:pt idx="280">
                  <c:v>0.49370426989369021</c:v>
                </c:pt>
                <c:pt idx="281">
                  <c:v>0.51428471354683536</c:v>
                </c:pt>
                <c:pt idx="282">
                  <c:v>0.51502762560011206</c:v>
                </c:pt>
                <c:pt idx="283">
                  <c:v>0.45003190070181542</c:v>
                </c:pt>
                <c:pt idx="284">
                  <c:v>0.57336914236973602</c:v>
                </c:pt>
                <c:pt idx="285">
                  <c:v>0.54052320520456321</c:v>
                </c:pt>
                <c:pt idx="286">
                  <c:v>0.53086476593883458</c:v>
                </c:pt>
                <c:pt idx="287">
                  <c:v>0.5105740181268883</c:v>
                </c:pt>
                <c:pt idx="288">
                  <c:v>0.50223628355847905</c:v>
                </c:pt>
                <c:pt idx="289">
                  <c:v>0.53847913616398246</c:v>
                </c:pt>
                <c:pt idx="290">
                  <c:v>0.49300405845089035</c:v>
                </c:pt>
                <c:pt idx="291">
                  <c:v>0.41717969307637404</c:v>
                </c:pt>
                <c:pt idx="292">
                  <c:v>0.42313297109225845</c:v>
                </c:pt>
                <c:pt idx="293">
                  <c:v>0.47829311875568936</c:v>
                </c:pt>
                <c:pt idx="294">
                  <c:v>0.45767411697619553</c:v>
                </c:pt>
                <c:pt idx="295">
                  <c:v>0.41509027912281837</c:v>
                </c:pt>
                <c:pt idx="296">
                  <c:v>0.47577341752099023</c:v>
                </c:pt>
                <c:pt idx="297">
                  <c:v>0.44252802897351917</c:v>
                </c:pt>
                <c:pt idx="298">
                  <c:v>0.17862385321100915</c:v>
                </c:pt>
                <c:pt idx="299">
                  <c:v>0.44540517444932926</c:v>
                </c:pt>
                <c:pt idx="300">
                  <c:v>0.46164058055087631</c:v>
                </c:pt>
                <c:pt idx="301">
                  <c:v>0.39668710336667745</c:v>
                </c:pt>
                <c:pt idx="302">
                  <c:v>0.44951506559553556</c:v>
                </c:pt>
                <c:pt idx="303">
                  <c:v>0.45074512628877583</c:v>
                </c:pt>
                <c:pt idx="304">
                  <c:v>0.44289519034936542</c:v>
                </c:pt>
                <c:pt idx="305">
                  <c:v>0.43788092409827151</c:v>
                </c:pt>
                <c:pt idx="306">
                  <c:v>0.43327486318538733</c:v>
                </c:pt>
                <c:pt idx="307">
                  <c:v>0.43004339743040809</c:v>
                </c:pt>
                <c:pt idx="308">
                  <c:v>0.45741411124651687</c:v>
                </c:pt>
                <c:pt idx="309">
                  <c:v>0.45684610752379617</c:v>
                </c:pt>
                <c:pt idx="310">
                  <c:v>0.43517762907349988</c:v>
                </c:pt>
                <c:pt idx="311">
                  <c:v>0.44710465600060512</c:v>
                </c:pt>
                <c:pt idx="312">
                  <c:v>0.47438538107584893</c:v>
                </c:pt>
                <c:pt idx="313">
                  <c:v>0.52402762602458597</c:v>
                </c:pt>
                <c:pt idx="314">
                  <c:v>0.47708008123940449</c:v>
                </c:pt>
                <c:pt idx="315">
                  <c:v>0.46034730897788112</c:v>
                </c:pt>
                <c:pt idx="316">
                  <c:v>0.44393456064416115</c:v>
                </c:pt>
                <c:pt idx="317">
                  <c:v>0.46954426700248253</c:v>
                </c:pt>
                <c:pt idx="318">
                  <c:v>0.45368765996118166</c:v>
                </c:pt>
                <c:pt idx="319">
                  <c:v>0.43840748173001765</c:v>
                </c:pt>
                <c:pt idx="320">
                  <c:v>0.45395192878886581</c:v>
                </c:pt>
                <c:pt idx="321">
                  <c:v>0.47963353262505914</c:v>
                </c:pt>
                <c:pt idx="322">
                  <c:v>0.48444731460553214</c:v>
                </c:pt>
                <c:pt idx="323">
                  <c:v>0.48588842107530117</c:v>
                </c:pt>
                <c:pt idx="324">
                  <c:v>0.49129467771728308</c:v>
                </c:pt>
                <c:pt idx="325">
                  <c:v>0.5238905689949076</c:v>
                </c:pt>
                <c:pt idx="326">
                  <c:v>0.52449797466172532</c:v>
                </c:pt>
                <c:pt idx="327">
                  <c:v>0.4893244940461996</c:v>
                </c:pt>
                <c:pt idx="328">
                  <c:v>0.49818246811105471</c:v>
                </c:pt>
                <c:pt idx="329">
                  <c:v>0.48530960898632647</c:v>
                </c:pt>
                <c:pt idx="330">
                  <c:v>0.51574720816428954</c:v>
                </c:pt>
                <c:pt idx="331">
                  <c:v>0.52530800980665981</c:v>
                </c:pt>
                <c:pt idx="332">
                  <c:v>0.50443655269109922</c:v>
                </c:pt>
                <c:pt idx="333">
                  <c:v>0.51501023655565237</c:v>
                </c:pt>
                <c:pt idx="334">
                  <c:v>0.53188967124155617</c:v>
                </c:pt>
                <c:pt idx="335">
                  <c:v>0.55673197841872546</c:v>
                </c:pt>
                <c:pt idx="336">
                  <c:v>0.51447616346212288</c:v>
                </c:pt>
                <c:pt idx="337">
                  <c:v>0.48798943679853735</c:v>
                </c:pt>
                <c:pt idx="338">
                  <c:v>0.47679198893102792</c:v>
                </c:pt>
                <c:pt idx="339">
                  <c:v>0.31882770870337485</c:v>
                </c:pt>
                <c:pt idx="340">
                  <c:v>0.46386445224663686</c:v>
                </c:pt>
                <c:pt idx="341">
                  <c:v>0.44839111603346327</c:v>
                </c:pt>
                <c:pt idx="342">
                  <c:v>0.42761828136344904</c:v>
                </c:pt>
                <c:pt idx="343">
                  <c:v>0.42433351014714837</c:v>
                </c:pt>
                <c:pt idx="344">
                  <c:v>0.29330210596612027</c:v>
                </c:pt>
                <c:pt idx="345">
                  <c:v>0.26967267622284607</c:v>
                </c:pt>
                <c:pt idx="346">
                  <c:v>0.26694942192594473</c:v>
                </c:pt>
                <c:pt idx="347">
                  <c:v>0.28069295646227488</c:v>
                </c:pt>
                <c:pt idx="348">
                  <c:v>0.27817207747607497</c:v>
                </c:pt>
                <c:pt idx="349">
                  <c:v>0.26886113986789195</c:v>
                </c:pt>
                <c:pt idx="350">
                  <c:v>0.24109234178329175</c:v>
                </c:pt>
                <c:pt idx="351">
                  <c:v>0.19189511323003572</c:v>
                </c:pt>
                <c:pt idx="352">
                  <c:v>0.20690423758280363</c:v>
                </c:pt>
                <c:pt idx="353">
                  <c:v>0.2107727500178711</c:v>
                </c:pt>
                <c:pt idx="354">
                  <c:v>0.2007509795385285</c:v>
                </c:pt>
                <c:pt idx="355">
                  <c:v>0.21773893640758657</c:v>
                </c:pt>
                <c:pt idx="356">
                  <c:v>0.22161768685897743</c:v>
                </c:pt>
                <c:pt idx="357">
                  <c:v>0.17391987721779967</c:v>
                </c:pt>
                <c:pt idx="358">
                  <c:v>0.18988068771305766</c:v>
                </c:pt>
                <c:pt idx="359">
                  <c:v>0.20249680435167994</c:v>
                </c:pt>
                <c:pt idx="360">
                  <c:v>0.18056191086299989</c:v>
                </c:pt>
                <c:pt idx="361">
                  <c:v>9.6280476953194416E-2</c:v>
                </c:pt>
                <c:pt idx="362">
                  <c:v>0.25846343237647584</c:v>
                </c:pt>
                <c:pt idx="363">
                  <c:v>0.21686604071427928</c:v>
                </c:pt>
                <c:pt idx="364">
                  <c:v>0.17917113254733841</c:v>
                </c:pt>
                <c:pt idx="365">
                  <c:v>0.170555108608206</c:v>
                </c:pt>
                <c:pt idx="366">
                  <c:v>0.18613302661610631</c:v>
                </c:pt>
                <c:pt idx="367">
                  <c:v>0.1630299614410835</c:v>
                </c:pt>
                <c:pt idx="368">
                  <c:v>0.16823479722139845</c:v>
                </c:pt>
                <c:pt idx="369">
                  <c:v>0.16449906850669693</c:v>
                </c:pt>
                <c:pt idx="370">
                  <c:v>0.15363615548549592</c:v>
                </c:pt>
                <c:pt idx="371">
                  <c:v>0.1368128827079691</c:v>
                </c:pt>
                <c:pt idx="372">
                  <c:v>0.13860167405219115</c:v>
                </c:pt>
                <c:pt idx="373">
                  <c:v>0.13574092733025744</c:v>
                </c:pt>
                <c:pt idx="374">
                  <c:v>0.15758675064487604</c:v>
                </c:pt>
                <c:pt idx="375">
                  <c:v>0.12764401687942128</c:v>
                </c:pt>
                <c:pt idx="376">
                  <c:v>0.11056892149772146</c:v>
                </c:pt>
                <c:pt idx="377">
                  <c:v>0.11004701375587667</c:v>
                </c:pt>
                <c:pt idx="378">
                  <c:v>0.13349684653118432</c:v>
                </c:pt>
                <c:pt idx="379">
                  <c:v>0.12414096647535877</c:v>
                </c:pt>
                <c:pt idx="380">
                  <c:v>0.10924180274557083</c:v>
                </c:pt>
                <c:pt idx="381">
                  <c:v>0.10054582512868349</c:v>
                </c:pt>
                <c:pt idx="382">
                  <c:v>0.10056893232381658</c:v>
                </c:pt>
                <c:pt idx="383">
                  <c:v>9.6316939326693163E-2</c:v>
                </c:pt>
                <c:pt idx="384">
                  <c:v>8.6511307047232977E-2</c:v>
                </c:pt>
                <c:pt idx="385">
                  <c:v>8.0632472573547886E-2</c:v>
                </c:pt>
                <c:pt idx="386">
                  <c:v>4.3463263194204904E-2</c:v>
                </c:pt>
                <c:pt idx="387">
                  <c:v>1.8835909916703697E-2</c:v>
                </c:pt>
                <c:pt idx="388">
                  <c:v>-2.4622104226437735E-2</c:v>
                </c:pt>
                <c:pt idx="389">
                  <c:v>-1.6413072297915665E-2</c:v>
                </c:pt>
                <c:pt idx="390">
                  <c:v>-1.9022810234614607E-3</c:v>
                </c:pt>
                <c:pt idx="391">
                  <c:v>1.8029658660140502E-2</c:v>
                </c:pt>
                <c:pt idx="392">
                  <c:v>2.1318960486113481E-2</c:v>
                </c:pt>
                <c:pt idx="393">
                  <c:v>6.1763563382105424E-2</c:v>
                </c:pt>
                <c:pt idx="394">
                  <c:v>6.4751342618870833E-2</c:v>
                </c:pt>
                <c:pt idx="395">
                  <c:v>4.5942705096673198E-2</c:v>
                </c:pt>
                <c:pt idx="396">
                  <c:v>5.5848022140156939E-2</c:v>
                </c:pt>
                <c:pt idx="397">
                  <c:v>6.5527765110323877E-2</c:v>
                </c:pt>
                <c:pt idx="398">
                  <c:v>4.7440112728980743E-2</c:v>
                </c:pt>
                <c:pt idx="399">
                  <c:v>5.4916963590044388E-2</c:v>
                </c:pt>
                <c:pt idx="400">
                  <c:v>3.1881804043545792E-2</c:v>
                </c:pt>
                <c:pt idx="401">
                  <c:v>4.1712259815293029E-2</c:v>
                </c:pt>
                <c:pt idx="402">
                  <c:v>4.5951745433610691E-2</c:v>
                </c:pt>
                <c:pt idx="403">
                  <c:v>4.5593132474013975E-2</c:v>
                </c:pt>
                <c:pt idx="404">
                  <c:v>3.9386734729554895E-2</c:v>
                </c:pt>
                <c:pt idx="405">
                  <c:v>4.1913868918824537E-2</c:v>
                </c:pt>
                <c:pt idx="406">
                  <c:v>3.902230220226599E-2</c:v>
                </c:pt>
                <c:pt idx="407">
                  <c:v>2.9126719919338795E-2</c:v>
                </c:pt>
                <c:pt idx="408">
                  <c:v>3.1504598062869427E-2</c:v>
                </c:pt>
                <c:pt idx="409">
                  <c:v>2.2584253950496347E-2</c:v>
                </c:pt>
                <c:pt idx="410">
                  <c:v>3.0098507410083242E-2</c:v>
                </c:pt>
                <c:pt idx="411">
                  <c:v>3.7178873464177364E-2</c:v>
                </c:pt>
                <c:pt idx="412">
                  <c:v>3.2674892760684138E-2</c:v>
                </c:pt>
                <c:pt idx="413">
                  <c:v>2.089786658522752E-2</c:v>
                </c:pt>
                <c:pt idx="414">
                  <c:v>4.4550403871472799E-2</c:v>
                </c:pt>
                <c:pt idx="415">
                  <c:v>4.1662955772073795E-2</c:v>
                </c:pt>
                <c:pt idx="416">
                  <c:v>3.6143077101077781E-2</c:v>
                </c:pt>
                <c:pt idx="417">
                  <c:v>2.7339633168899979E-2</c:v>
                </c:pt>
                <c:pt idx="418">
                  <c:v>2.5582033289384132E-2</c:v>
                </c:pt>
                <c:pt idx="419">
                  <c:v>2.8880542026849643E-2</c:v>
                </c:pt>
                <c:pt idx="420">
                  <c:v>1.8529625021259655E-3</c:v>
                </c:pt>
                <c:pt idx="421">
                  <c:v>-2.614766692724424E-3</c:v>
                </c:pt>
                <c:pt idx="422">
                  <c:v>7.2427909487606801E-3</c:v>
                </c:pt>
                <c:pt idx="423">
                  <c:v>8.8090648700258622E-3</c:v>
                </c:pt>
                <c:pt idx="424">
                  <c:v>2.5161494330758538E-2</c:v>
                </c:pt>
                <c:pt idx="425">
                  <c:v>2.8101439342015144E-2</c:v>
                </c:pt>
                <c:pt idx="426">
                  <c:v>3.8682808358958765E-2</c:v>
                </c:pt>
                <c:pt idx="427">
                  <c:v>5.2534392022897336E-2</c:v>
                </c:pt>
                <c:pt idx="428">
                  <c:v>5.2035989240330149E-2</c:v>
                </c:pt>
                <c:pt idx="429">
                  <c:v>5.6729699666295819E-2</c:v>
                </c:pt>
                <c:pt idx="430">
                  <c:v>-3.0459359144618059E-2</c:v>
                </c:pt>
                <c:pt idx="431">
                  <c:v>5.4890691499036137E-2</c:v>
                </c:pt>
                <c:pt idx="432">
                  <c:v>6.2862589473105412E-2</c:v>
                </c:pt>
                <c:pt idx="433">
                  <c:v>4.4770669003797892E-2</c:v>
                </c:pt>
                <c:pt idx="434">
                  <c:v>4.6851181839886902E-2</c:v>
                </c:pt>
                <c:pt idx="435">
                  <c:v>1.0961478233636024E-2</c:v>
                </c:pt>
                <c:pt idx="436">
                  <c:v>3.4819157374567977E-2</c:v>
                </c:pt>
                <c:pt idx="437">
                  <c:v>3.7778789258079204E-2</c:v>
                </c:pt>
                <c:pt idx="438">
                  <c:v>3.5375323554788674E-2</c:v>
                </c:pt>
                <c:pt idx="439">
                  <c:v>4.1846752986778979E-2</c:v>
                </c:pt>
                <c:pt idx="440">
                  <c:v>3.9822004268265099E-2</c:v>
                </c:pt>
                <c:pt idx="441">
                  <c:v>3.7610417994718093E-2</c:v>
                </c:pt>
                <c:pt idx="442">
                  <c:v>4.1873278236914668E-2</c:v>
                </c:pt>
                <c:pt idx="443">
                  <c:v>3.6264699437586811E-2</c:v>
                </c:pt>
                <c:pt idx="444">
                  <c:v>5.9872968428918316E-2</c:v>
                </c:pt>
                <c:pt idx="445">
                  <c:v>3.042242780234039E-2</c:v>
                </c:pt>
                <c:pt idx="446">
                  <c:v>-1.0508486294030228E-2</c:v>
                </c:pt>
                <c:pt idx="447">
                  <c:v>3.5206046688244674E-2</c:v>
                </c:pt>
                <c:pt idx="448">
                  <c:v>5.9156174880499623E-2</c:v>
                </c:pt>
                <c:pt idx="449">
                  <c:v>5.4304855460434842E-2</c:v>
                </c:pt>
                <c:pt idx="450">
                  <c:v>3.3282575592777919E-2</c:v>
                </c:pt>
                <c:pt idx="451">
                  <c:v>2.4422123149093089E-2</c:v>
                </c:pt>
                <c:pt idx="452">
                  <c:v>2.1875000000000089E-2</c:v>
                </c:pt>
                <c:pt idx="453">
                  <c:v>5.0192125171622637E-2</c:v>
                </c:pt>
                <c:pt idx="454">
                  <c:v>5.2855176999732079E-2</c:v>
                </c:pt>
                <c:pt idx="455">
                  <c:v>6.0958802056172212E-2</c:v>
                </c:pt>
                <c:pt idx="456">
                  <c:v>6.2579845019069547E-2</c:v>
                </c:pt>
                <c:pt idx="457">
                  <c:v>6.0236930687545431E-2</c:v>
                </c:pt>
                <c:pt idx="458">
                  <c:v>5.8801689330301166E-2</c:v>
                </c:pt>
                <c:pt idx="459">
                  <c:v>7.1549422867240642E-2</c:v>
                </c:pt>
                <c:pt idx="460">
                  <c:v>6.362043275763507E-2</c:v>
                </c:pt>
                <c:pt idx="461">
                  <c:v>6.637986906249127E-2</c:v>
                </c:pt>
                <c:pt idx="462">
                  <c:v>6.5006915629322259E-2</c:v>
                </c:pt>
                <c:pt idx="463">
                  <c:v>6.0582101630591412E-2</c:v>
                </c:pt>
                <c:pt idx="464">
                  <c:v>7.1865529768291081E-2</c:v>
                </c:pt>
                <c:pt idx="465">
                  <c:v>4.8945880526967356E-2</c:v>
                </c:pt>
                <c:pt idx="466">
                  <c:v>4.6244761807420431E-2</c:v>
                </c:pt>
                <c:pt idx="467">
                  <c:v>4.7795486705891177E-2</c:v>
                </c:pt>
                <c:pt idx="468">
                  <c:v>4.2374063909949244E-2</c:v>
                </c:pt>
                <c:pt idx="469">
                  <c:v>3.7502095869739405E-2</c:v>
                </c:pt>
                <c:pt idx="470">
                  <c:v>3.6719273431102595E-2</c:v>
                </c:pt>
                <c:pt idx="471">
                  <c:v>4.7270950586776106E-2</c:v>
                </c:pt>
                <c:pt idx="472">
                  <c:v>4.8760991207034365E-2</c:v>
                </c:pt>
                <c:pt idx="473">
                  <c:v>6.4722314284361593E-2</c:v>
                </c:pt>
                <c:pt idx="474">
                  <c:v>5.8185135376599861E-2</c:v>
                </c:pt>
                <c:pt idx="475">
                  <c:v>6.6220167908687788E-2</c:v>
                </c:pt>
                <c:pt idx="476">
                  <c:v>6.1359555526308451E-2</c:v>
                </c:pt>
                <c:pt idx="477">
                  <c:v>6.8241989127260094E-2</c:v>
                </c:pt>
                <c:pt idx="478">
                  <c:v>6.5469151791579749E-2</c:v>
                </c:pt>
                <c:pt idx="479">
                  <c:v>6.1724237917520242E-2</c:v>
                </c:pt>
                <c:pt idx="480">
                  <c:v>7.222818009068499E-2</c:v>
                </c:pt>
                <c:pt idx="481">
                  <c:v>6.1206312683818487E-2</c:v>
                </c:pt>
                <c:pt idx="482">
                  <c:v>6.4514329285302541E-2</c:v>
                </c:pt>
                <c:pt idx="483">
                  <c:v>7.790101349134182E-2</c:v>
                </c:pt>
                <c:pt idx="484">
                  <c:v>4.4355723248365786E-2</c:v>
                </c:pt>
                <c:pt idx="485">
                  <c:v>0.11174415780920177</c:v>
                </c:pt>
                <c:pt idx="486">
                  <c:v>0.13215458802152491</c:v>
                </c:pt>
                <c:pt idx="487">
                  <c:v>0.11007818237596334</c:v>
                </c:pt>
                <c:pt idx="488">
                  <c:v>0.10781957408753007</c:v>
                </c:pt>
                <c:pt idx="489">
                  <c:v>9.8240059595865459E-2</c:v>
                </c:pt>
                <c:pt idx="490">
                  <c:v>0.10009605789586584</c:v>
                </c:pt>
                <c:pt idx="491">
                  <c:v>9.8278170151871791E-2</c:v>
                </c:pt>
                <c:pt idx="492">
                  <c:v>0.11366744280592833</c:v>
                </c:pt>
                <c:pt idx="493">
                  <c:v>0.13506658211794553</c:v>
                </c:pt>
                <c:pt idx="494">
                  <c:v>0.13231622746185856</c:v>
                </c:pt>
                <c:pt idx="495">
                  <c:v>0.14256759869178692</c:v>
                </c:pt>
                <c:pt idx="496">
                  <c:v>0.11096354927532381</c:v>
                </c:pt>
                <c:pt idx="497">
                  <c:v>0.13658876618850213</c:v>
                </c:pt>
                <c:pt idx="498">
                  <c:v>0.1499596537558685</c:v>
                </c:pt>
                <c:pt idx="499">
                  <c:v>0.1357605060346081</c:v>
                </c:pt>
                <c:pt idx="500">
                  <c:v>0.15859223832645752</c:v>
                </c:pt>
                <c:pt idx="501">
                  <c:v>0.16770403331831685</c:v>
                </c:pt>
                <c:pt idx="502">
                  <c:v>0.1471122024127256</c:v>
                </c:pt>
                <c:pt idx="503">
                  <c:v>0.18620146087084022</c:v>
                </c:pt>
                <c:pt idx="504">
                  <c:v>0.23953941411573187</c:v>
                </c:pt>
                <c:pt idx="505">
                  <c:v>0.26105288080646183</c:v>
                </c:pt>
                <c:pt idx="506">
                  <c:v>0.1527904849039341</c:v>
                </c:pt>
                <c:pt idx="507">
                  <c:v>0.14588977217213661</c:v>
                </c:pt>
                <c:pt idx="508">
                  <c:v>0.16295258245633315</c:v>
                </c:pt>
                <c:pt idx="509">
                  <c:v>0.12686171884117825</c:v>
                </c:pt>
                <c:pt idx="510">
                  <c:v>0.13228749542929008</c:v>
                </c:pt>
                <c:pt idx="511">
                  <c:v>0.13614573346116976</c:v>
                </c:pt>
                <c:pt idx="512">
                  <c:v>0.1365498286630431</c:v>
                </c:pt>
                <c:pt idx="513">
                  <c:v>0.14095329358319142</c:v>
                </c:pt>
                <c:pt idx="514">
                  <c:v>0.14504154536364355</c:v>
                </c:pt>
                <c:pt idx="515">
                  <c:v>0.15247408774669879</c:v>
                </c:pt>
                <c:pt idx="516">
                  <c:v>0.13572971224216768</c:v>
                </c:pt>
                <c:pt idx="517">
                  <c:v>0.13921830047014239</c:v>
                </c:pt>
                <c:pt idx="518">
                  <c:v>0.12951544919357638</c:v>
                </c:pt>
                <c:pt idx="519">
                  <c:v>0.11982740021574978</c:v>
                </c:pt>
                <c:pt idx="520">
                  <c:v>0.17555384406288232</c:v>
                </c:pt>
                <c:pt idx="521">
                  <c:v>0.11035895150855612</c:v>
                </c:pt>
                <c:pt idx="522">
                  <c:v>0.12407339895491565</c:v>
                </c:pt>
                <c:pt idx="523">
                  <c:v>0.10051669046162215</c:v>
                </c:pt>
                <c:pt idx="524">
                  <c:v>0.10020630460067759</c:v>
                </c:pt>
                <c:pt idx="525">
                  <c:v>9.4239820189780943E-2</c:v>
                </c:pt>
                <c:pt idx="526">
                  <c:v>0.15427245332686779</c:v>
                </c:pt>
                <c:pt idx="527">
                  <c:v>0.14046645334610974</c:v>
                </c:pt>
                <c:pt idx="528">
                  <c:v>0.13317866217950347</c:v>
                </c:pt>
                <c:pt idx="529">
                  <c:v>-3.7266187050359667E-2</c:v>
                </c:pt>
                <c:pt idx="530">
                  <c:v>0.13386080238547038</c:v>
                </c:pt>
                <c:pt idx="531">
                  <c:v>0.12377808594447903</c:v>
                </c:pt>
                <c:pt idx="532">
                  <c:v>0.10478205670757501</c:v>
                </c:pt>
                <c:pt idx="533">
                  <c:v>0.11280708785633276</c:v>
                </c:pt>
                <c:pt idx="534">
                  <c:v>9.3492794033661397E-2</c:v>
                </c:pt>
                <c:pt idx="535">
                  <c:v>8.7516518073699867E-2</c:v>
                </c:pt>
                <c:pt idx="536">
                  <c:v>0.10573070011895025</c:v>
                </c:pt>
                <c:pt idx="537">
                  <c:v>9.9159269017133456E-2</c:v>
                </c:pt>
                <c:pt idx="538">
                  <c:v>0.1131582987870412</c:v>
                </c:pt>
                <c:pt idx="539">
                  <c:v>9.3493712411153673E-2</c:v>
                </c:pt>
                <c:pt idx="540">
                  <c:v>8.9606096545459035E-2</c:v>
                </c:pt>
                <c:pt idx="541">
                  <c:v>7.5366120944442505E-2</c:v>
                </c:pt>
                <c:pt idx="542">
                  <c:v>6.4065799528360001E-2</c:v>
                </c:pt>
                <c:pt idx="543">
                  <c:v>7.5749300762954608E-2</c:v>
                </c:pt>
                <c:pt idx="544">
                  <c:v>9.7798646459496652E-2</c:v>
                </c:pt>
                <c:pt idx="545">
                  <c:v>0.11112032438079922</c:v>
                </c:pt>
                <c:pt idx="546">
                  <c:v>0.10491181803197636</c:v>
                </c:pt>
                <c:pt idx="547">
                  <c:v>9.7112731976063627E-2</c:v>
                </c:pt>
                <c:pt idx="548">
                  <c:v>9.7891369630500158E-2</c:v>
                </c:pt>
                <c:pt idx="549">
                  <c:v>0.1010763229377285</c:v>
                </c:pt>
                <c:pt idx="550">
                  <c:v>9.6171618781231816E-2</c:v>
                </c:pt>
                <c:pt idx="551">
                  <c:v>0.14562209615730159</c:v>
                </c:pt>
                <c:pt idx="552">
                  <c:v>7.853293821925611E-2</c:v>
                </c:pt>
                <c:pt idx="553">
                  <c:v>8.3122614311713861E-2</c:v>
                </c:pt>
                <c:pt idx="554">
                  <c:v>7.2355832215138083E-2</c:v>
                </c:pt>
                <c:pt idx="555">
                  <c:v>7.8138718173836663E-2</c:v>
                </c:pt>
                <c:pt idx="556">
                  <c:v>6.7886686807016483E-2</c:v>
                </c:pt>
                <c:pt idx="557">
                  <c:v>5.8866567556838945E-2</c:v>
                </c:pt>
                <c:pt idx="558">
                  <c:v>8.2674210039744844E-2</c:v>
                </c:pt>
                <c:pt idx="559">
                  <c:v>9.6412059028437413E-2</c:v>
                </c:pt>
                <c:pt idx="560">
                  <c:v>9.8551552361461514E-2</c:v>
                </c:pt>
                <c:pt idx="561">
                  <c:v>4.7013536825136093E-2</c:v>
                </c:pt>
                <c:pt idx="562">
                  <c:v>8.4016313847349089E-2</c:v>
                </c:pt>
                <c:pt idx="563">
                  <c:v>0.10841360790619969</c:v>
                </c:pt>
                <c:pt idx="564">
                  <c:v>0.11202481086415106</c:v>
                </c:pt>
                <c:pt idx="565">
                  <c:v>0.1059459291098237</c:v>
                </c:pt>
                <c:pt idx="566">
                  <c:v>0.1313702358286708</c:v>
                </c:pt>
                <c:pt idx="567">
                  <c:v>0.14900907214889236</c:v>
                </c:pt>
                <c:pt idx="568">
                  <c:v>0.10873927014346707</c:v>
                </c:pt>
                <c:pt idx="569">
                  <c:v>0.10320205122089376</c:v>
                </c:pt>
                <c:pt idx="570">
                  <c:v>0.16731430111632717</c:v>
                </c:pt>
                <c:pt idx="571">
                  <c:v>0.15220629783736572</c:v>
                </c:pt>
                <c:pt idx="572">
                  <c:v>9.6763744515445005E-2</c:v>
                </c:pt>
                <c:pt idx="573">
                  <c:v>0.12622557218146269</c:v>
                </c:pt>
                <c:pt idx="574">
                  <c:v>0.15730847412194815</c:v>
                </c:pt>
                <c:pt idx="575">
                  <c:v>0.11566219480254936</c:v>
                </c:pt>
                <c:pt idx="576">
                  <c:v>0.1134923795387901</c:v>
                </c:pt>
                <c:pt idx="577">
                  <c:v>0.10105957249957775</c:v>
                </c:pt>
                <c:pt idx="578">
                  <c:v>8.2587352006930459E-2</c:v>
                </c:pt>
                <c:pt idx="579">
                  <c:v>9.7507273160413854E-2</c:v>
                </c:pt>
                <c:pt idx="580">
                  <c:v>0.11666383280722115</c:v>
                </c:pt>
                <c:pt idx="581">
                  <c:v>0.12525091845623604</c:v>
                </c:pt>
                <c:pt idx="582">
                  <c:v>9.964236262800541E-2</c:v>
                </c:pt>
                <c:pt idx="583">
                  <c:v>7.291160889636128E-2</c:v>
                </c:pt>
                <c:pt idx="584">
                  <c:v>0.10134813403964049</c:v>
                </c:pt>
                <c:pt idx="585">
                  <c:v>0.14115142944615333</c:v>
                </c:pt>
                <c:pt idx="586">
                  <c:v>0.15623278869102264</c:v>
                </c:pt>
                <c:pt idx="587">
                  <c:v>9.5752424507562051E-2</c:v>
                </c:pt>
                <c:pt idx="588">
                  <c:v>9.295570079883797E-2</c:v>
                </c:pt>
                <c:pt idx="589">
                  <c:v>9.7706993228556582E-2</c:v>
                </c:pt>
                <c:pt idx="590">
                  <c:v>0.10009858655678139</c:v>
                </c:pt>
                <c:pt idx="591">
                  <c:v>0.10129840125681544</c:v>
                </c:pt>
                <c:pt idx="592">
                  <c:v>0.10251709705353385</c:v>
                </c:pt>
                <c:pt idx="593">
                  <c:v>6.7155731950195641E-2</c:v>
                </c:pt>
                <c:pt idx="594">
                  <c:v>0.14800090124793774</c:v>
                </c:pt>
                <c:pt idx="595">
                  <c:v>0.16551612237071134</c:v>
                </c:pt>
                <c:pt idx="596">
                  <c:v>0.12337118691368087</c:v>
                </c:pt>
                <c:pt idx="597">
                  <c:v>0.15221172688640827</c:v>
                </c:pt>
                <c:pt idx="598">
                  <c:v>0.14344946816303805</c:v>
                </c:pt>
                <c:pt idx="599">
                  <c:v>0.15668294997146104</c:v>
                </c:pt>
                <c:pt idx="600">
                  <c:v>0.14390683894812484</c:v>
                </c:pt>
                <c:pt idx="601">
                  <c:v>0.15181003994418152</c:v>
                </c:pt>
                <c:pt idx="602">
                  <c:v>0.13136939210652288</c:v>
                </c:pt>
                <c:pt idx="603">
                  <c:v>0.157030919887025</c:v>
                </c:pt>
                <c:pt idx="604">
                  <c:v>0.10997422111988087</c:v>
                </c:pt>
                <c:pt idx="605">
                  <c:v>7.6958909137105902E-2</c:v>
                </c:pt>
                <c:pt idx="606">
                  <c:v>0.11542482799967835</c:v>
                </c:pt>
                <c:pt idx="607">
                  <c:v>0.13538022293394092</c:v>
                </c:pt>
                <c:pt idx="608">
                  <c:v>0.14106509224222963</c:v>
                </c:pt>
                <c:pt idx="609">
                  <c:v>9.5370658225701677E-2</c:v>
                </c:pt>
                <c:pt idx="610">
                  <c:v>0.10795007791390865</c:v>
                </c:pt>
                <c:pt idx="611">
                  <c:v>0.12236754121698867</c:v>
                </c:pt>
                <c:pt idx="612">
                  <c:v>0.12827634091303586</c:v>
                </c:pt>
                <c:pt idx="613">
                  <c:v>0.11761957810759327</c:v>
                </c:pt>
                <c:pt idx="614">
                  <c:v>0.11597531218601986</c:v>
                </c:pt>
                <c:pt idx="615">
                  <c:v>0.12956714407773728</c:v>
                </c:pt>
                <c:pt idx="616">
                  <c:v>0.12905034602263887</c:v>
                </c:pt>
                <c:pt idx="617">
                  <c:v>0.12824982054680345</c:v>
                </c:pt>
                <c:pt idx="618">
                  <c:v>0.12831746444863756</c:v>
                </c:pt>
                <c:pt idx="619">
                  <c:v>0.12898673440587083</c:v>
                </c:pt>
                <c:pt idx="620">
                  <c:v>0.13761268599978282</c:v>
                </c:pt>
                <c:pt idx="621">
                  <c:v>0.13740917027087729</c:v>
                </c:pt>
                <c:pt idx="622">
                  <c:v>0.14836290709334254</c:v>
                </c:pt>
                <c:pt idx="623">
                  <c:v>0.17935939176776583</c:v>
                </c:pt>
                <c:pt idx="624">
                  <c:v>0.20198436691847621</c:v>
                </c:pt>
                <c:pt idx="625">
                  <c:v>0.2104948444587047</c:v>
                </c:pt>
                <c:pt idx="626">
                  <c:v>0.201413679342753</c:v>
                </c:pt>
                <c:pt idx="627">
                  <c:v>0.20732388716170713</c:v>
                </c:pt>
                <c:pt idx="628">
                  <c:v>0.12676056338028174</c:v>
                </c:pt>
                <c:pt idx="629">
                  <c:v>0.22939991770794976</c:v>
                </c:pt>
                <c:pt idx="630">
                  <c:v>0.20137319750365834</c:v>
                </c:pt>
                <c:pt idx="631">
                  <c:v>0.16028902359818153</c:v>
                </c:pt>
                <c:pt idx="632">
                  <c:v>0.15345403175830108</c:v>
                </c:pt>
                <c:pt idx="633">
                  <c:v>0.12515523306090337</c:v>
                </c:pt>
                <c:pt idx="634">
                  <c:v>0.12455229168156312</c:v>
                </c:pt>
                <c:pt idx="635">
                  <c:v>0.12171590113338704</c:v>
                </c:pt>
                <c:pt idx="636">
                  <c:v>0.12590473315703488</c:v>
                </c:pt>
                <c:pt idx="637">
                  <c:v>9.9015067090099773E-2</c:v>
                </c:pt>
                <c:pt idx="638">
                  <c:v>0.11923988011883413</c:v>
                </c:pt>
                <c:pt idx="639">
                  <c:v>0.10592283116244783</c:v>
                </c:pt>
                <c:pt idx="640">
                  <c:v>8.7402256692391989E-2</c:v>
                </c:pt>
                <c:pt idx="641">
                  <c:v>9.4750073752934094E-2</c:v>
                </c:pt>
                <c:pt idx="642">
                  <c:v>8.520345567937837E-2</c:v>
                </c:pt>
                <c:pt idx="643">
                  <c:v>7.9933165822736463E-2</c:v>
                </c:pt>
                <c:pt idx="644">
                  <c:v>8.1127655907939245E-2</c:v>
                </c:pt>
                <c:pt idx="645">
                  <c:v>7.9519731682278216E-2</c:v>
                </c:pt>
                <c:pt idx="646">
                  <c:v>9.5544152017071449E-2</c:v>
                </c:pt>
                <c:pt idx="647">
                  <c:v>0.12881172692295473</c:v>
                </c:pt>
                <c:pt idx="648">
                  <c:v>0.12984715629255383</c:v>
                </c:pt>
                <c:pt idx="649">
                  <c:v>0.14689415122729299</c:v>
                </c:pt>
                <c:pt idx="650">
                  <c:v>0.12805435859258174</c:v>
                </c:pt>
                <c:pt idx="651">
                  <c:v>0.15186822779285358</c:v>
                </c:pt>
                <c:pt idx="652">
                  <c:v>0.15673617589954358</c:v>
                </c:pt>
                <c:pt idx="653">
                  <c:v>0.18273143438453721</c:v>
                </c:pt>
                <c:pt idx="654">
                  <c:v>0.18838289669121133</c:v>
                </c:pt>
                <c:pt idx="655">
                  <c:v>0.17318923775769979</c:v>
                </c:pt>
                <c:pt idx="656">
                  <c:v>0.23710624329272134</c:v>
                </c:pt>
                <c:pt idx="657">
                  <c:v>0.2031790556334736</c:v>
                </c:pt>
                <c:pt idx="658">
                  <c:v>0.16347133462998986</c:v>
                </c:pt>
                <c:pt idx="659">
                  <c:v>0.15758689120858183</c:v>
                </c:pt>
                <c:pt idx="660">
                  <c:v>0.1811077342926255</c:v>
                </c:pt>
                <c:pt idx="661">
                  <c:v>0.16347025828771033</c:v>
                </c:pt>
                <c:pt idx="662">
                  <c:v>0.14221791872402623</c:v>
                </c:pt>
                <c:pt idx="663">
                  <c:v>0.15044301529753978</c:v>
                </c:pt>
                <c:pt idx="664">
                  <c:v>0.15183818837100471</c:v>
                </c:pt>
                <c:pt idx="665">
                  <c:v>0.24549134636595071</c:v>
                </c:pt>
                <c:pt idx="666">
                  <c:v>0.29153316985567423</c:v>
                </c:pt>
                <c:pt idx="667">
                  <c:v>0.28912748510412367</c:v>
                </c:pt>
                <c:pt idx="668">
                  <c:v>0.29085859425071803</c:v>
                </c:pt>
                <c:pt idx="669">
                  <c:v>0.31615764014037739</c:v>
                </c:pt>
                <c:pt idx="670">
                  <c:v>0.25330939840923072</c:v>
                </c:pt>
                <c:pt idx="671">
                  <c:v>0.31600435492651058</c:v>
                </c:pt>
                <c:pt idx="672">
                  <c:v>0.28928983866726132</c:v>
                </c:pt>
                <c:pt idx="673">
                  <c:v>0.32037459576518668</c:v>
                </c:pt>
                <c:pt idx="674">
                  <c:v>0.30318950848224779</c:v>
                </c:pt>
                <c:pt idx="675">
                  <c:v>0.31973008266649794</c:v>
                </c:pt>
                <c:pt idx="676">
                  <c:v>0.33799757907112782</c:v>
                </c:pt>
                <c:pt idx="677">
                  <c:v>0.21440758393513915</c:v>
                </c:pt>
                <c:pt idx="678">
                  <c:v>0.1118225320380124</c:v>
                </c:pt>
                <c:pt idx="679">
                  <c:v>0.30386625592745142</c:v>
                </c:pt>
                <c:pt idx="680">
                  <c:v>0.1299572370965425</c:v>
                </c:pt>
                <c:pt idx="681">
                  <c:v>0.1490818303518473</c:v>
                </c:pt>
                <c:pt idx="682">
                  <c:v>0.12196092959475369</c:v>
                </c:pt>
                <c:pt idx="683">
                  <c:v>0.10612887583700648</c:v>
                </c:pt>
                <c:pt idx="684">
                  <c:v>0.13324808612573769</c:v>
                </c:pt>
                <c:pt idx="685">
                  <c:v>0.12645472686592596</c:v>
                </c:pt>
                <c:pt idx="686">
                  <c:v>0.13974248449623183</c:v>
                </c:pt>
                <c:pt idx="687">
                  <c:v>0.12806656467713706</c:v>
                </c:pt>
                <c:pt idx="688">
                  <c:v>0.14115497918140973</c:v>
                </c:pt>
                <c:pt idx="689">
                  <c:v>0.17379648941064962</c:v>
                </c:pt>
                <c:pt idx="690">
                  <c:v>0.20119554989760347</c:v>
                </c:pt>
                <c:pt idx="691">
                  <c:v>0.19647052395782105</c:v>
                </c:pt>
                <c:pt idx="692">
                  <c:v>0.22539159109645501</c:v>
                </c:pt>
                <c:pt idx="693">
                  <c:v>0.23882698331277896</c:v>
                </c:pt>
                <c:pt idx="694">
                  <c:v>0.24632906728508108</c:v>
                </c:pt>
                <c:pt idx="695">
                  <c:v>0.19216406787744766</c:v>
                </c:pt>
                <c:pt idx="696">
                  <c:v>0.13797029166214902</c:v>
                </c:pt>
                <c:pt idx="697">
                  <c:v>0.16883466935488212</c:v>
                </c:pt>
                <c:pt idx="698">
                  <c:v>0.16054508676674129</c:v>
                </c:pt>
                <c:pt idx="699">
                  <c:v>0.17261661020734831</c:v>
                </c:pt>
                <c:pt idx="700">
                  <c:v>0.17226164845971881</c:v>
                </c:pt>
                <c:pt idx="701">
                  <c:v>0.16382997943556754</c:v>
                </c:pt>
                <c:pt idx="702">
                  <c:v>0.17392054635493204</c:v>
                </c:pt>
                <c:pt idx="703">
                  <c:v>0.20111239811468806</c:v>
                </c:pt>
                <c:pt idx="704">
                  <c:v>0.13208596431803366</c:v>
                </c:pt>
                <c:pt idx="705">
                  <c:v>0.14499427553746336</c:v>
                </c:pt>
                <c:pt idx="706">
                  <c:v>0.16148946493645933</c:v>
                </c:pt>
                <c:pt idx="707">
                  <c:v>0.15818249212330882</c:v>
                </c:pt>
                <c:pt idx="708">
                  <c:v>0.15611870760718083</c:v>
                </c:pt>
                <c:pt idx="709">
                  <c:v>0.14119343276914176</c:v>
                </c:pt>
                <c:pt idx="710">
                  <c:v>0.15552562949414339</c:v>
                </c:pt>
                <c:pt idx="711">
                  <c:v>0.14912455232789501</c:v>
                </c:pt>
                <c:pt idx="712">
                  <c:v>0.15242560901552027</c:v>
                </c:pt>
                <c:pt idx="713">
                  <c:v>0.14068819860925696</c:v>
                </c:pt>
                <c:pt idx="714">
                  <c:v>9.9111838600637325E-2</c:v>
                </c:pt>
                <c:pt idx="715">
                  <c:v>7.8966591057629376E-2</c:v>
                </c:pt>
                <c:pt idx="716">
                  <c:v>9.261854706844197E-2</c:v>
                </c:pt>
                <c:pt idx="717">
                  <c:v>9.3738658304661548E-2</c:v>
                </c:pt>
                <c:pt idx="718">
                  <c:v>8.0312280383035839E-2</c:v>
                </c:pt>
                <c:pt idx="719">
                  <c:v>8.6532951289398197E-2</c:v>
                </c:pt>
                <c:pt idx="720">
                  <c:v>9.0038763961494794E-2</c:v>
                </c:pt>
                <c:pt idx="721">
                  <c:v>9.1859897135304402E-2</c:v>
                </c:pt>
                <c:pt idx="722">
                  <c:v>0.10263027578851136</c:v>
                </c:pt>
                <c:pt idx="723">
                  <c:v>0.11203890404459727</c:v>
                </c:pt>
                <c:pt idx="724">
                  <c:v>0.11989822559360497</c:v>
                </c:pt>
                <c:pt idx="725">
                  <c:v>0.26084195159868417</c:v>
                </c:pt>
                <c:pt idx="726">
                  <c:v>0.29584518844759722</c:v>
                </c:pt>
                <c:pt idx="727">
                  <c:v>0.265131342888977</c:v>
                </c:pt>
                <c:pt idx="728">
                  <c:v>0.22696654233702618</c:v>
                </c:pt>
                <c:pt idx="729">
                  <c:v>0.26746372605919899</c:v>
                </c:pt>
                <c:pt idx="730">
                  <c:v>0.23485928241133247</c:v>
                </c:pt>
                <c:pt idx="731">
                  <c:v>0.2512131289297328</c:v>
                </c:pt>
                <c:pt idx="732">
                  <c:v>0.21070901259140862</c:v>
                </c:pt>
                <c:pt idx="733">
                  <c:v>0.26583027846717822</c:v>
                </c:pt>
                <c:pt idx="734">
                  <c:v>0.2102916825882053</c:v>
                </c:pt>
                <c:pt idx="735">
                  <c:v>0.25045748444552896</c:v>
                </c:pt>
                <c:pt idx="736">
                  <c:v>0.25597408823969681</c:v>
                </c:pt>
                <c:pt idx="737">
                  <c:v>0.23154433464544821</c:v>
                </c:pt>
                <c:pt idx="738">
                  <c:v>0.21847030105777066</c:v>
                </c:pt>
                <c:pt idx="739">
                  <c:v>0.22500010595420239</c:v>
                </c:pt>
                <c:pt idx="740">
                  <c:v>0.19963061042049701</c:v>
                </c:pt>
                <c:pt idx="741">
                  <c:v>0.17388449446215271</c:v>
                </c:pt>
                <c:pt idx="742">
                  <c:v>0.21235441557715706</c:v>
                </c:pt>
                <c:pt idx="743">
                  <c:v>0.23196874512169918</c:v>
                </c:pt>
                <c:pt idx="744">
                  <c:v>0.20948803227289492</c:v>
                </c:pt>
                <c:pt idx="745">
                  <c:v>0.25062623158879127</c:v>
                </c:pt>
                <c:pt idx="746">
                  <c:v>0.34194209979792234</c:v>
                </c:pt>
                <c:pt idx="747">
                  <c:v>0.26490733111959996</c:v>
                </c:pt>
                <c:pt idx="748">
                  <c:v>0.41764308910317083</c:v>
                </c:pt>
                <c:pt idx="749">
                  <c:v>0.18857949335275492</c:v>
                </c:pt>
                <c:pt idx="750">
                  <c:v>0.32394342664761955</c:v>
                </c:pt>
                <c:pt idx="751">
                  <c:v>0.28908747986433214</c:v>
                </c:pt>
                <c:pt idx="752">
                  <c:v>0.17505685145608174</c:v>
                </c:pt>
                <c:pt idx="753">
                  <c:v>3.3566716945451214E-2</c:v>
                </c:pt>
                <c:pt idx="754">
                  <c:v>0.11324101735658876</c:v>
                </c:pt>
                <c:pt idx="755">
                  <c:v>0.12941239796840343</c:v>
                </c:pt>
                <c:pt idx="756">
                  <c:v>0.14975477660287284</c:v>
                </c:pt>
                <c:pt idx="757">
                  <c:v>4.300606385873107E-2</c:v>
                </c:pt>
                <c:pt idx="758">
                  <c:v>5.5839993417829525E-2</c:v>
                </c:pt>
                <c:pt idx="759">
                  <c:v>3.6170133591337139E-2</c:v>
                </c:pt>
                <c:pt idx="760">
                  <c:v>3.2634986789714659E-2</c:v>
                </c:pt>
                <c:pt idx="761">
                  <c:v>1.5019547773715836E-3</c:v>
                </c:pt>
                <c:pt idx="762">
                  <c:v>4.3459915611814282E-2</c:v>
                </c:pt>
                <c:pt idx="763">
                  <c:v>9.5337832596385175E-2</c:v>
                </c:pt>
                <c:pt idx="764">
                  <c:v>0.12229462415638825</c:v>
                </c:pt>
                <c:pt idx="765">
                  <c:v>-1.3674944985853532E-2</c:v>
                </c:pt>
                <c:pt idx="766">
                  <c:v>-6.3097587467682459E-2</c:v>
                </c:pt>
                <c:pt idx="767">
                  <c:v>-9.0736735396651613E-2</c:v>
                </c:pt>
                <c:pt idx="768">
                  <c:v>2.0044744937406378E-2</c:v>
                </c:pt>
                <c:pt idx="769">
                  <c:v>7.6348761938801912E-2</c:v>
                </c:pt>
                <c:pt idx="770">
                  <c:v>7.2178868568932408E-2</c:v>
                </c:pt>
                <c:pt idx="771">
                  <c:v>6.6499870931871818E-2</c:v>
                </c:pt>
                <c:pt idx="772">
                  <c:v>5.6112517225449077E-2</c:v>
                </c:pt>
                <c:pt idx="773">
                  <c:v>3.0315419209021588E-3</c:v>
                </c:pt>
                <c:pt idx="774">
                  <c:v>-9.4108934949121981E-4</c:v>
                </c:pt>
                <c:pt idx="775">
                  <c:v>9.7516658933438638E-3</c:v>
                </c:pt>
                <c:pt idx="776">
                  <c:v>-9.3188650480180435E-4</c:v>
                </c:pt>
                <c:pt idx="777">
                  <c:v>-9.0316591564004733E-3</c:v>
                </c:pt>
                <c:pt idx="778">
                  <c:v>5.9455981643836697E-3</c:v>
                </c:pt>
                <c:pt idx="779">
                  <c:v>-4.8533247816785474E-3</c:v>
                </c:pt>
                <c:pt idx="780">
                  <c:v>-1.7313919591419147E-2</c:v>
                </c:pt>
                <c:pt idx="781">
                  <c:v>-3.4120269321836538E-2</c:v>
                </c:pt>
                <c:pt idx="782">
                  <c:v>-3.3773205099530301E-2</c:v>
                </c:pt>
                <c:pt idx="783">
                  <c:v>-4.6801301426563691E-2</c:v>
                </c:pt>
                <c:pt idx="784">
                  <c:v>-4.9350025937023312E-2</c:v>
                </c:pt>
                <c:pt idx="785">
                  <c:v>-2.1014884238053866E-2</c:v>
                </c:pt>
                <c:pt idx="786">
                  <c:v>3.0222598047275895E-3</c:v>
                </c:pt>
                <c:pt idx="787">
                  <c:v>2.5670725980653231E-3</c:v>
                </c:pt>
                <c:pt idx="788">
                  <c:v>6.3743099108071188E-3</c:v>
                </c:pt>
                <c:pt idx="789">
                  <c:v>3.8665442686884877E-3</c:v>
                </c:pt>
                <c:pt idx="790">
                  <c:v>1.3845648398753685E-3</c:v>
                </c:pt>
                <c:pt idx="791">
                  <c:v>1.9165843870433408E-2</c:v>
                </c:pt>
                <c:pt idx="792">
                  <c:v>8.2606863027028243E-3</c:v>
                </c:pt>
                <c:pt idx="793">
                  <c:v>2.1157490034515503E-2</c:v>
                </c:pt>
                <c:pt idx="794">
                  <c:v>2.4024200993969291E-2</c:v>
                </c:pt>
                <c:pt idx="795">
                  <c:v>2.4024200993969291E-2</c:v>
                </c:pt>
                <c:pt idx="796">
                  <c:v>1.3782291276675407E-2</c:v>
                </c:pt>
                <c:pt idx="797">
                  <c:v>1.8227306628362694E-2</c:v>
                </c:pt>
                <c:pt idx="798">
                  <c:v>-5.446750235382769E-5</c:v>
                </c:pt>
                <c:pt idx="799">
                  <c:v>3.5011722328317507E-3</c:v>
                </c:pt>
                <c:pt idx="800">
                  <c:v>7.89309159112217E-3</c:v>
                </c:pt>
                <c:pt idx="801">
                  <c:v>3.8438793613246869E-3</c:v>
                </c:pt>
                <c:pt idx="802">
                  <c:v>-1.1241270469077747E-2</c:v>
                </c:pt>
                <c:pt idx="803">
                  <c:v>-1.7800172471799325E-2</c:v>
                </c:pt>
                <c:pt idx="804">
                  <c:v>-6.9111925416875941E-3</c:v>
                </c:pt>
                <c:pt idx="805">
                  <c:v>9.284228673557271E-3</c:v>
                </c:pt>
                <c:pt idx="806">
                  <c:v>1.1171168344172422E-2</c:v>
                </c:pt>
                <c:pt idx="807">
                  <c:v>1.0775297717919408E-2</c:v>
                </c:pt>
                <c:pt idx="808">
                  <c:v>6.8722466960351447E-3</c:v>
                </c:pt>
                <c:pt idx="809">
                  <c:v>9.0915862642166889E-3</c:v>
                </c:pt>
                <c:pt idx="810">
                  <c:v>6.1715607912418147E-3</c:v>
                </c:pt>
                <c:pt idx="811">
                  <c:v>4.1450331876125013E-3</c:v>
                </c:pt>
                <c:pt idx="812">
                  <c:v>2.0783513017502253E-2</c:v>
                </c:pt>
                <c:pt idx="813">
                  <c:v>6.721662083715163E-3</c:v>
                </c:pt>
                <c:pt idx="814">
                  <c:v>8.0877382854782631E-4</c:v>
                </c:pt>
                <c:pt idx="815">
                  <c:v>-7.0749830943084291E-4</c:v>
                </c:pt>
                <c:pt idx="816">
                  <c:v>8.1183121735557418E-3</c:v>
                </c:pt>
                <c:pt idx="817">
                  <c:v>1.0631449583520247E-2</c:v>
                </c:pt>
                <c:pt idx="818">
                  <c:v>1.5387153671193365E-2</c:v>
                </c:pt>
                <c:pt idx="819">
                  <c:v>-5.5537738284272553E-4</c:v>
                </c:pt>
                <c:pt idx="820">
                  <c:v>-2.9245975360304821E-2</c:v>
                </c:pt>
                <c:pt idx="821">
                  <c:v>-2.4590292603290265E-2</c:v>
                </c:pt>
                <c:pt idx="822">
                  <c:v>-2.2361201250811202E-2</c:v>
                </c:pt>
                <c:pt idx="823">
                  <c:v>-1.377202730592153E-2</c:v>
                </c:pt>
                <c:pt idx="824">
                  <c:v>-2.2069681127030338E-2</c:v>
                </c:pt>
                <c:pt idx="825">
                  <c:v>-4.2592311320377663E-2</c:v>
                </c:pt>
                <c:pt idx="826">
                  <c:v>-8.3275744296688048E-2</c:v>
                </c:pt>
                <c:pt idx="827">
                  <c:v>-0.12750952579168129</c:v>
                </c:pt>
                <c:pt idx="828">
                  <c:v>-8.5305947652595915E-2</c:v>
                </c:pt>
                <c:pt idx="829">
                  <c:v>-7.6951935576746733E-3</c:v>
                </c:pt>
                <c:pt idx="830">
                  <c:v>-1.1708559812244279E-2</c:v>
                </c:pt>
                <c:pt idx="831">
                  <c:v>-6.3655330967853363E-3</c:v>
                </c:pt>
                <c:pt idx="832">
                  <c:v>-8.6330744442431051E-3</c:v>
                </c:pt>
                <c:pt idx="833">
                  <c:v>-2.132785189646369E-2</c:v>
                </c:pt>
                <c:pt idx="834">
                  <c:v>2.6160717801100297E-3</c:v>
                </c:pt>
                <c:pt idx="835">
                  <c:v>1.4512222072964098E-2</c:v>
                </c:pt>
                <c:pt idx="836">
                  <c:v>8.7441003398551764E-3</c:v>
                </c:pt>
                <c:pt idx="837">
                  <c:v>3.8676113821280556E-2</c:v>
                </c:pt>
                <c:pt idx="838">
                  <c:v>3.6178296487876294E-2</c:v>
                </c:pt>
                <c:pt idx="839">
                  <c:v>3.41421571812901E-2</c:v>
                </c:pt>
                <c:pt idx="840">
                  <c:v>3.3463203463203417E-2</c:v>
                </c:pt>
                <c:pt idx="841">
                  <c:v>1.1797061590793856E-2</c:v>
                </c:pt>
                <c:pt idx="842">
                  <c:v>3.825587047957324E-3</c:v>
                </c:pt>
                <c:pt idx="843">
                  <c:v>-2.9047315222135994E-3</c:v>
                </c:pt>
                <c:pt idx="844">
                  <c:v>1.152319576629246E-2</c:v>
                </c:pt>
                <c:pt idx="845">
                  <c:v>3.8722906675252577E-3</c:v>
                </c:pt>
                <c:pt idx="846">
                  <c:v>1.2416748954765966E-2</c:v>
                </c:pt>
                <c:pt idx="847">
                  <c:v>4.6281075768103141E-2</c:v>
                </c:pt>
                <c:pt idx="848">
                  <c:v>7.5659127020009542E-2</c:v>
                </c:pt>
                <c:pt idx="849">
                  <c:v>6.5785657003429643E-2</c:v>
                </c:pt>
                <c:pt idx="850">
                  <c:v>-3.3510192683607887E-3</c:v>
                </c:pt>
                <c:pt idx="851">
                  <c:v>7.3709082991266772E-3</c:v>
                </c:pt>
                <c:pt idx="852">
                  <c:v>8.126801647957449E-2</c:v>
                </c:pt>
                <c:pt idx="853">
                  <c:v>6.9527123778930777E-2</c:v>
                </c:pt>
                <c:pt idx="854">
                  <c:v>2.4585627431607415E-2</c:v>
                </c:pt>
                <c:pt idx="855">
                  <c:v>-1.2885802151476611E-3</c:v>
                </c:pt>
                <c:pt idx="856">
                  <c:v>-1.4380661697887875E-2</c:v>
                </c:pt>
                <c:pt idx="857">
                  <c:v>2.3799336160949869E-2</c:v>
                </c:pt>
                <c:pt idx="858">
                  <c:v>3.0922266358635042E-2</c:v>
                </c:pt>
                <c:pt idx="859">
                  <c:v>3.1337776522013749E-2</c:v>
                </c:pt>
                <c:pt idx="860">
                  <c:v>5.793978822760093E-2</c:v>
                </c:pt>
                <c:pt idx="861">
                  <c:v>4.5924847171185279E-2</c:v>
                </c:pt>
                <c:pt idx="862">
                  <c:v>4.9410188917570652E-2</c:v>
                </c:pt>
                <c:pt idx="863">
                  <c:v>2.2101758436647856E-2</c:v>
                </c:pt>
                <c:pt idx="864">
                  <c:v>2.3899423260445696E-2</c:v>
                </c:pt>
                <c:pt idx="865">
                  <c:v>3.3826470082711113E-2</c:v>
                </c:pt>
                <c:pt idx="866">
                  <c:v>1.3418727767664729E-2</c:v>
                </c:pt>
                <c:pt idx="867">
                  <c:v>-4.2172375433761067E-3</c:v>
                </c:pt>
                <c:pt idx="868">
                  <c:v>2.2275626213143607E-2</c:v>
                </c:pt>
                <c:pt idx="869">
                  <c:v>6.4428479727056009E-2</c:v>
                </c:pt>
                <c:pt idx="870">
                  <c:v>4.262320501003547E-2</c:v>
                </c:pt>
                <c:pt idx="871">
                  <c:v>4.262320501003547E-2</c:v>
                </c:pt>
                <c:pt idx="872">
                  <c:v>4.2006955907133881E-2</c:v>
                </c:pt>
                <c:pt idx="873">
                  <c:v>3.1579310612563471E-2</c:v>
                </c:pt>
                <c:pt idx="874">
                  <c:v>2.7318414157467386E-2</c:v>
                </c:pt>
                <c:pt idx="875">
                  <c:v>3.5222223177219902E-2</c:v>
                </c:pt>
                <c:pt idx="876">
                  <c:v>2.2160994608568574E-2</c:v>
                </c:pt>
                <c:pt idx="877">
                  <c:v>1.8887018045138371E-2</c:v>
                </c:pt>
                <c:pt idx="878">
                  <c:v>9.443454657182393E-2</c:v>
                </c:pt>
                <c:pt idx="879">
                  <c:v>0.11552217295390332</c:v>
                </c:pt>
                <c:pt idx="880">
                  <c:v>0.11627783622267218</c:v>
                </c:pt>
                <c:pt idx="881">
                  <c:v>0.10022219215037476</c:v>
                </c:pt>
                <c:pt idx="882">
                  <c:v>0.10048410824118981</c:v>
                </c:pt>
                <c:pt idx="883">
                  <c:v>6.8233321544124426E-2</c:v>
                </c:pt>
                <c:pt idx="884">
                  <c:v>6.737496646863006E-2</c:v>
                </c:pt>
                <c:pt idx="885">
                  <c:v>7.3620306622968146E-2</c:v>
                </c:pt>
                <c:pt idx="886">
                  <c:v>8.4986432730050909E-2</c:v>
                </c:pt>
                <c:pt idx="887">
                  <c:v>7.6312501099984109E-2</c:v>
                </c:pt>
                <c:pt idx="888">
                  <c:v>6.6800383709775923E-2</c:v>
                </c:pt>
                <c:pt idx="889">
                  <c:v>5.0770440456486599E-2</c:v>
                </c:pt>
                <c:pt idx="890">
                  <c:v>5.8059287917603397E-2</c:v>
                </c:pt>
                <c:pt idx="891">
                  <c:v>5.3398310816669792E-2</c:v>
                </c:pt>
                <c:pt idx="892">
                  <c:v>4.2852628343600152E-2</c:v>
                </c:pt>
                <c:pt idx="893">
                  <c:v>4.7755334970428498E-2</c:v>
                </c:pt>
                <c:pt idx="894">
                  <c:v>3.1690049978064794E-2</c:v>
                </c:pt>
                <c:pt idx="895">
                  <c:v>2.2314257348962308E-2</c:v>
                </c:pt>
                <c:pt idx="896">
                  <c:v>2.7218140839254668E-2</c:v>
                </c:pt>
                <c:pt idx="897">
                  <c:v>1.2364990372395024E-2</c:v>
                </c:pt>
                <c:pt idx="898">
                  <c:v>3.5937707972846233E-3</c:v>
                </c:pt>
                <c:pt idx="899">
                  <c:v>6.0356109656978241E-3</c:v>
                </c:pt>
                <c:pt idx="900">
                  <c:v>4.1361975389409E-3</c:v>
                </c:pt>
                <c:pt idx="901">
                  <c:v>1.268404448745275E-2</c:v>
                </c:pt>
                <c:pt idx="902">
                  <c:v>6.7290687141439154E-3</c:v>
                </c:pt>
                <c:pt idx="903">
                  <c:v>3.7041668643085224E-3</c:v>
                </c:pt>
                <c:pt idx="904">
                  <c:v>7.1789809137829952E-3</c:v>
                </c:pt>
                <c:pt idx="905">
                  <c:v>7.7119261598250777E-3</c:v>
                </c:pt>
                <c:pt idx="906">
                  <c:v>2.9920083586265633E-3</c:v>
                </c:pt>
                <c:pt idx="907">
                  <c:v>-1.0867077977868678E-2</c:v>
                </c:pt>
                <c:pt idx="908">
                  <c:v>-4.1974485408952877E-2</c:v>
                </c:pt>
                <c:pt idx="909">
                  <c:v>-4.5873251433539153E-2</c:v>
                </c:pt>
                <c:pt idx="910">
                  <c:v>-1.4385408480661832E-2</c:v>
                </c:pt>
                <c:pt idx="911">
                  <c:v>-8.0926373513871996E-2</c:v>
                </c:pt>
                <c:pt idx="912">
                  <c:v>-5.0369047838171088E-2</c:v>
                </c:pt>
                <c:pt idx="913">
                  <c:v>-2.7692423169124125E-2</c:v>
                </c:pt>
                <c:pt idx="914">
                  <c:v>3.4075250708106797E-2</c:v>
                </c:pt>
                <c:pt idx="915">
                  <c:v>8.279197801715088E-2</c:v>
                </c:pt>
                <c:pt idx="916">
                  <c:v>4.7855651029497404E-2</c:v>
                </c:pt>
                <c:pt idx="917">
                  <c:v>3.059404713085434E-2</c:v>
                </c:pt>
                <c:pt idx="918">
                  <c:v>6.5752842007578582E-2</c:v>
                </c:pt>
                <c:pt idx="919">
                  <c:v>8.3524281888408769E-2</c:v>
                </c:pt>
                <c:pt idx="920">
                  <c:v>8.32090170727664E-2</c:v>
                </c:pt>
                <c:pt idx="921">
                  <c:v>9.3564981073473774E-2</c:v>
                </c:pt>
                <c:pt idx="922">
                  <c:v>8.447873729298383E-2</c:v>
                </c:pt>
                <c:pt idx="923">
                  <c:v>8.529546317295611E-2</c:v>
                </c:pt>
                <c:pt idx="924">
                  <c:v>8.131776682165448E-2</c:v>
                </c:pt>
                <c:pt idx="925">
                  <c:v>8.5616588062151777E-2</c:v>
                </c:pt>
                <c:pt idx="926">
                  <c:v>8.8657770609980702E-2</c:v>
                </c:pt>
                <c:pt idx="927">
                  <c:v>9.5795295072588438E-2</c:v>
                </c:pt>
                <c:pt idx="928">
                  <c:v>0.10293073128676888</c:v>
                </c:pt>
                <c:pt idx="929">
                  <c:v>0.10661565298972397</c:v>
                </c:pt>
                <c:pt idx="930">
                  <c:v>0.14812169130958086</c:v>
                </c:pt>
                <c:pt idx="931">
                  <c:v>0.16753206712440716</c:v>
                </c:pt>
                <c:pt idx="932">
                  <c:v>0.14477719249336052</c:v>
                </c:pt>
                <c:pt idx="933">
                  <c:v>0.14925153374233124</c:v>
                </c:pt>
                <c:pt idx="934">
                  <c:v>0.15240428609380996</c:v>
                </c:pt>
                <c:pt idx="935">
                  <c:v>0.15284706437996287</c:v>
                </c:pt>
                <c:pt idx="936">
                  <c:v>0.15274127199710774</c:v>
                </c:pt>
                <c:pt idx="937">
                  <c:v>0.15813235236259193</c:v>
                </c:pt>
                <c:pt idx="938">
                  <c:v>0.18341339084403496</c:v>
                </c:pt>
                <c:pt idx="939">
                  <c:v>0.17326545725621756</c:v>
                </c:pt>
                <c:pt idx="940">
                  <c:v>0.15700186872226118</c:v>
                </c:pt>
                <c:pt idx="941">
                  <c:v>0.18044332128549456</c:v>
                </c:pt>
                <c:pt idx="942">
                  <c:v>0.16542614478859274</c:v>
                </c:pt>
                <c:pt idx="943">
                  <c:v>0.17220705790602464</c:v>
                </c:pt>
                <c:pt idx="944">
                  <c:v>0.17402241690786524</c:v>
                </c:pt>
                <c:pt idx="945">
                  <c:v>0.17989982757205025</c:v>
                </c:pt>
                <c:pt idx="946">
                  <c:v>0.11228969063865857</c:v>
                </c:pt>
                <c:pt idx="947">
                  <c:v>0.14685595852938227</c:v>
                </c:pt>
                <c:pt idx="948">
                  <c:v>0.14644681883485733</c:v>
                </c:pt>
                <c:pt idx="949">
                  <c:v>0.1575282024374538</c:v>
                </c:pt>
                <c:pt idx="950">
                  <c:v>0.14963460267498419</c:v>
                </c:pt>
                <c:pt idx="951">
                  <c:v>0.16138046265088013</c:v>
                </c:pt>
                <c:pt idx="952">
                  <c:v>0.14958631064309902</c:v>
                </c:pt>
                <c:pt idx="953">
                  <c:v>0.15414476268871713</c:v>
                </c:pt>
                <c:pt idx="954">
                  <c:v>0.15659853693467696</c:v>
                </c:pt>
                <c:pt idx="955">
                  <c:v>0.15586195401553815</c:v>
                </c:pt>
                <c:pt idx="956">
                  <c:v>0.17140300875323988</c:v>
                </c:pt>
                <c:pt idx="957">
                  <c:v>0.1470647256275539</c:v>
                </c:pt>
                <c:pt idx="958">
                  <c:v>0.1480145389699894</c:v>
                </c:pt>
                <c:pt idx="959">
                  <c:v>0.1481067263141076</c:v>
                </c:pt>
                <c:pt idx="960">
                  <c:v>0.12987295037463342</c:v>
                </c:pt>
                <c:pt idx="961">
                  <c:v>0.13418313879955202</c:v>
                </c:pt>
                <c:pt idx="962">
                  <c:v>0.11953087345364954</c:v>
                </c:pt>
                <c:pt idx="963">
                  <c:v>0.11508274315970568</c:v>
                </c:pt>
                <c:pt idx="964">
                  <c:v>0.11938155615976176</c:v>
                </c:pt>
                <c:pt idx="965">
                  <c:v>0.13012816165999874</c:v>
                </c:pt>
                <c:pt idx="966">
                  <c:v>0.118026606248125</c:v>
                </c:pt>
                <c:pt idx="967">
                  <c:v>0.10747306128473855</c:v>
                </c:pt>
                <c:pt idx="968">
                  <c:v>9.6987342110777641E-2</c:v>
                </c:pt>
                <c:pt idx="969">
                  <c:v>0.10122298661982199</c:v>
                </c:pt>
                <c:pt idx="970">
                  <c:v>0.10385001673920313</c:v>
                </c:pt>
                <c:pt idx="971">
                  <c:v>9.6763231671056049E-2</c:v>
                </c:pt>
                <c:pt idx="972">
                  <c:v>9.2035603646070552E-2</c:v>
                </c:pt>
                <c:pt idx="973">
                  <c:v>9.9356313219237435E-2</c:v>
                </c:pt>
                <c:pt idx="974">
                  <c:v>0.11985372025339647</c:v>
                </c:pt>
                <c:pt idx="975">
                  <c:v>0.12554732120095347</c:v>
                </c:pt>
                <c:pt idx="976">
                  <c:v>0.14803503437512622</c:v>
                </c:pt>
                <c:pt idx="977">
                  <c:v>0.14803503437512622</c:v>
                </c:pt>
                <c:pt idx="978">
                  <c:v>0.15267100335107431</c:v>
                </c:pt>
                <c:pt idx="979">
                  <c:v>0.13792210575188846</c:v>
                </c:pt>
                <c:pt idx="980">
                  <c:v>0.13815372813472848</c:v>
                </c:pt>
                <c:pt idx="981">
                  <c:v>0.14767333975662855</c:v>
                </c:pt>
                <c:pt idx="982">
                  <c:v>0.1479126620336142</c:v>
                </c:pt>
                <c:pt idx="983">
                  <c:v>0.1479126620336142</c:v>
                </c:pt>
                <c:pt idx="984">
                  <c:v>0.13463061882907956</c:v>
                </c:pt>
                <c:pt idx="985">
                  <c:v>0.13663615165767728</c:v>
                </c:pt>
                <c:pt idx="986">
                  <c:v>0.14156176611840809</c:v>
                </c:pt>
                <c:pt idx="987">
                  <c:v>0.16172065589970042</c:v>
                </c:pt>
                <c:pt idx="988">
                  <c:v>0.1715471960621151</c:v>
                </c:pt>
                <c:pt idx="989">
                  <c:v>0.16362211449981734</c:v>
                </c:pt>
                <c:pt idx="990">
                  <c:v>0.16005077618808339</c:v>
                </c:pt>
                <c:pt idx="991">
                  <c:v>0.17599996502472326</c:v>
                </c:pt>
                <c:pt idx="992">
                  <c:v>0.17599996502472326</c:v>
                </c:pt>
                <c:pt idx="993">
                  <c:v>0.19299907859738186</c:v>
                </c:pt>
                <c:pt idx="994">
                  <c:v>0.19882280532944985</c:v>
                </c:pt>
                <c:pt idx="995">
                  <c:v>0.20716449706208473</c:v>
                </c:pt>
                <c:pt idx="996">
                  <c:v>0.21086820411144735</c:v>
                </c:pt>
                <c:pt idx="997">
                  <c:v>0.20775937454003923</c:v>
                </c:pt>
                <c:pt idx="998">
                  <c:v>0.22353972241384557</c:v>
                </c:pt>
                <c:pt idx="999">
                  <c:v>0.19426228089907083</c:v>
                </c:pt>
                <c:pt idx="1000">
                  <c:v>0.1720989857168842</c:v>
                </c:pt>
                <c:pt idx="1001">
                  <c:v>0.18965913675743917</c:v>
                </c:pt>
                <c:pt idx="1002">
                  <c:v>0.17531214134177309</c:v>
                </c:pt>
                <c:pt idx="1003">
                  <c:v>0.18802700714357234</c:v>
                </c:pt>
                <c:pt idx="1004">
                  <c:v>0.17131912607139443</c:v>
                </c:pt>
                <c:pt idx="1005">
                  <c:v>0.17839635701909429</c:v>
                </c:pt>
                <c:pt idx="1006">
                  <c:v>0.18025667024966374</c:v>
                </c:pt>
                <c:pt idx="1007">
                  <c:v>0.18509381289359217</c:v>
                </c:pt>
                <c:pt idx="1008">
                  <c:v>0.20262238673687505</c:v>
                </c:pt>
                <c:pt idx="1009">
                  <c:v>0.20896546930121818</c:v>
                </c:pt>
                <c:pt idx="1010">
                  <c:v>0.20479467528630768</c:v>
                </c:pt>
                <c:pt idx="1011">
                  <c:v>0.18394070521175476</c:v>
                </c:pt>
                <c:pt idx="1012">
                  <c:v>0.17834614754027633</c:v>
                </c:pt>
                <c:pt idx="1013">
                  <c:v>0.19883269157387162</c:v>
                </c:pt>
                <c:pt idx="1014">
                  <c:v>0.18335224664108307</c:v>
                </c:pt>
                <c:pt idx="1015">
                  <c:v>0.18753704833482598</c:v>
                </c:pt>
                <c:pt idx="1016">
                  <c:v>0.17566963902204358</c:v>
                </c:pt>
                <c:pt idx="1017">
                  <c:v>0.18409650397285615</c:v>
                </c:pt>
                <c:pt idx="1018">
                  <c:v>0.18433516585709775</c:v>
                </c:pt>
                <c:pt idx="1019">
                  <c:v>0.18528675176151532</c:v>
                </c:pt>
                <c:pt idx="1020">
                  <c:v>0.18629602010422808</c:v>
                </c:pt>
                <c:pt idx="1021">
                  <c:v>0.1975496112863242</c:v>
                </c:pt>
                <c:pt idx="1022">
                  <c:v>0.18444123562477444</c:v>
                </c:pt>
                <c:pt idx="1023">
                  <c:v>0.19134925758553911</c:v>
                </c:pt>
                <c:pt idx="1024">
                  <c:v>0.20813428018076174</c:v>
                </c:pt>
                <c:pt idx="1025">
                  <c:v>0.21560392938129036</c:v>
                </c:pt>
                <c:pt idx="1026">
                  <c:v>0.21974834737829729</c:v>
                </c:pt>
                <c:pt idx="1027">
                  <c:v>0.19800339847068815</c:v>
                </c:pt>
                <c:pt idx="1028">
                  <c:v>0.20265054040144115</c:v>
                </c:pt>
                <c:pt idx="1029">
                  <c:v>0.20152026305675363</c:v>
                </c:pt>
                <c:pt idx="1030">
                  <c:v>0.19312454081022423</c:v>
                </c:pt>
                <c:pt idx="1031">
                  <c:v>0.19312454081022423</c:v>
                </c:pt>
                <c:pt idx="1032">
                  <c:v>0.17815035524054612</c:v>
                </c:pt>
                <c:pt idx="1033">
                  <c:v>0.17681443870802571</c:v>
                </c:pt>
                <c:pt idx="1034">
                  <c:v>0.16292328441904891</c:v>
                </c:pt>
                <c:pt idx="1035">
                  <c:v>0.14920621444944393</c:v>
                </c:pt>
                <c:pt idx="1036">
                  <c:v>0.14856091526212278</c:v>
                </c:pt>
                <c:pt idx="1037">
                  <c:v>0.15509102306599964</c:v>
                </c:pt>
                <c:pt idx="1038">
                  <c:v>0.16273123585737848</c:v>
                </c:pt>
                <c:pt idx="1039">
                  <c:v>0.15789787563950197</c:v>
                </c:pt>
                <c:pt idx="1040">
                  <c:v>0.16396424088731787</c:v>
                </c:pt>
                <c:pt idx="1041">
                  <c:v>0.17416102364727748</c:v>
                </c:pt>
                <c:pt idx="1042">
                  <c:v>0.1665399369484053</c:v>
                </c:pt>
                <c:pt idx="1043">
                  <c:v>0.17100570232578005</c:v>
                </c:pt>
                <c:pt idx="1044">
                  <c:v>0.18221727305822655</c:v>
                </c:pt>
                <c:pt idx="1045">
                  <c:v>0.18359915144331929</c:v>
                </c:pt>
                <c:pt idx="1046">
                  <c:v>0.18225819589551429</c:v>
                </c:pt>
                <c:pt idx="1047">
                  <c:v>0.1856579849211788</c:v>
                </c:pt>
                <c:pt idx="1048">
                  <c:v>0.18598278723322137</c:v>
                </c:pt>
                <c:pt idx="1049">
                  <c:v>0.17811188095156827</c:v>
                </c:pt>
                <c:pt idx="1050">
                  <c:v>0.17758845258685119</c:v>
                </c:pt>
                <c:pt idx="1051">
                  <c:v>0.17891858531484117</c:v>
                </c:pt>
                <c:pt idx="1052">
                  <c:v>0.18751263837678067</c:v>
                </c:pt>
                <c:pt idx="1053">
                  <c:v>0.19981420233881408</c:v>
                </c:pt>
                <c:pt idx="1054">
                  <c:v>0.18915734154460151</c:v>
                </c:pt>
                <c:pt idx="1055">
                  <c:v>0.19205014287978828</c:v>
                </c:pt>
                <c:pt idx="1056">
                  <c:v>0.20279137321295826</c:v>
                </c:pt>
                <c:pt idx="1057">
                  <c:v>0.20494982242211091</c:v>
                </c:pt>
                <c:pt idx="1058">
                  <c:v>0.21195656860969536</c:v>
                </c:pt>
                <c:pt idx="1059">
                  <c:v>0.22347927728200068</c:v>
                </c:pt>
                <c:pt idx="1060">
                  <c:v>0.21670790277979912</c:v>
                </c:pt>
                <c:pt idx="1061">
                  <c:v>0.21854710382327669</c:v>
                </c:pt>
                <c:pt idx="1062">
                  <c:v>0.21638968139230408</c:v>
                </c:pt>
                <c:pt idx="1063">
                  <c:v>0.1957337883959045</c:v>
                </c:pt>
                <c:pt idx="1064">
                  <c:v>0.19376188729775601</c:v>
                </c:pt>
                <c:pt idx="1065">
                  <c:v>0.18608418356529177</c:v>
                </c:pt>
                <c:pt idx="1066">
                  <c:v>0.17882691974528742</c:v>
                </c:pt>
                <c:pt idx="1067">
                  <c:v>0.18764714849506259</c:v>
                </c:pt>
                <c:pt idx="1068">
                  <c:v>0.197354445859657</c:v>
                </c:pt>
                <c:pt idx="1069">
                  <c:v>0.20263005155883929</c:v>
                </c:pt>
                <c:pt idx="1070">
                  <c:v>0.20614183057251778</c:v>
                </c:pt>
                <c:pt idx="1071">
                  <c:v>0.23127824129702645</c:v>
                </c:pt>
                <c:pt idx="1072">
                  <c:v>0.21035405629104287</c:v>
                </c:pt>
                <c:pt idx="1073">
                  <c:v>0.26555876726886307</c:v>
                </c:pt>
                <c:pt idx="1074">
                  <c:v>0.2397714738361818</c:v>
                </c:pt>
                <c:pt idx="1075">
                  <c:v>0.22903867741606287</c:v>
                </c:pt>
                <c:pt idx="1076">
                  <c:v>0.2241415086749019</c:v>
                </c:pt>
                <c:pt idx="1077">
                  <c:v>0.24469517712479671</c:v>
                </c:pt>
                <c:pt idx="1078">
                  <c:v>0.25375701380197024</c:v>
                </c:pt>
                <c:pt idx="1079">
                  <c:v>0.28684874447586317</c:v>
                </c:pt>
                <c:pt idx="1080">
                  <c:v>0.29324403892016448</c:v>
                </c:pt>
                <c:pt idx="1081">
                  <c:v>0.31167070095175342</c:v>
                </c:pt>
                <c:pt idx="1082">
                  <c:v>0.2909101543243402</c:v>
                </c:pt>
                <c:pt idx="1083">
                  <c:v>0.28577700654387317</c:v>
                </c:pt>
                <c:pt idx="1084">
                  <c:v>0.28418430051250332</c:v>
                </c:pt>
                <c:pt idx="1085">
                  <c:v>0.2740130575895674</c:v>
                </c:pt>
                <c:pt idx="1086">
                  <c:v>0.25233146815880625</c:v>
                </c:pt>
                <c:pt idx="1087">
                  <c:v>0.22082659702358742</c:v>
                </c:pt>
                <c:pt idx="1088">
                  <c:v>0.24814203137902568</c:v>
                </c:pt>
                <c:pt idx="1089">
                  <c:v>0.23610054878424758</c:v>
                </c:pt>
                <c:pt idx="1090">
                  <c:v>0.23601803539487465</c:v>
                </c:pt>
                <c:pt idx="1091">
                  <c:v>0.22704682509341589</c:v>
                </c:pt>
                <c:pt idx="1092">
                  <c:v>0.22429753420168752</c:v>
                </c:pt>
                <c:pt idx="1093">
                  <c:v>0.23282299308834831</c:v>
                </c:pt>
                <c:pt idx="1094">
                  <c:v>0.23254505881489806</c:v>
                </c:pt>
                <c:pt idx="1095">
                  <c:v>0.23560166653051229</c:v>
                </c:pt>
                <c:pt idx="1096">
                  <c:v>0.23298796544680433</c:v>
                </c:pt>
                <c:pt idx="1097">
                  <c:v>0.26464487460133967</c:v>
                </c:pt>
                <c:pt idx="1098">
                  <c:v>0.23271752208174035</c:v>
                </c:pt>
                <c:pt idx="1099">
                  <c:v>0.22431293356824877</c:v>
                </c:pt>
                <c:pt idx="1100">
                  <c:v>0.21367549290253018</c:v>
                </c:pt>
                <c:pt idx="1101">
                  <c:v>0.21147879201390585</c:v>
                </c:pt>
                <c:pt idx="1102">
                  <c:v>0.20933607449510228</c:v>
                </c:pt>
                <c:pt idx="1103">
                  <c:v>0.19938091254783585</c:v>
                </c:pt>
                <c:pt idx="1104">
                  <c:v>0.19828005841311058</c:v>
                </c:pt>
                <c:pt idx="1105">
                  <c:v>0.18240102191787466</c:v>
                </c:pt>
                <c:pt idx="1106">
                  <c:v>0.1638750475275661</c:v>
                </c:pt>
                <c:pt idx="1107">
                  <c:v>0.14825964402354019</c:v>
                </c:pt>
                <c:pt idx="1108">
                  <c:v>0.15664401555500551</c:v>
                </c:pt>
                <c:pt idx="1109">
                  <c:v>0.12322590479858153</c:v>
                </c:pt>
                <c:pt idx="1110">
                  <c:v>0.10559095943624897</c:v>
                </c:pt>
                <c:pt idx="1111">
                  <c:v>0.13101340892185842</c:v>
                </c:pt>
                <c:pt idx="1112">
                  <c:v>0.12847847487334629</c:v>
                </c:pt>
                <c:pt idx="1113">
                  <c:v>0.12297548223902299</c:v>
                </c:pt>
                <c:pt idx="1114">
                  <c:v>0.13895216400911159</c:v>
                </c:pt>
                <c:pt idx="1115">
                  <c:v>0.12619805077997093</c:v>
                </c:pt>
                <c:pt idx="1116">
                  <c:v>0.12406479998377984</c:v>
                </c:pt>
                <c:pt idx="1117">
                  <c:v>0.10507532579062717</c:v>
                </c:pt>
                <c:pt idx="1118">
                  <c:v>0.12345908844407383</c:v>
                </c:pt>
                <c:pt idx="1119">
                  <c:v>0.12611522514237783</c:v>
                </c:pt>
                <c:pt idx="1120">
                  <c:v>0.13426738839979491</c:v>
                </c:pt>
                <c:pt idx="1121">
                  <c:v>0.1255960046994038</c:v>
                </c:pt>
                <c:pt idx="1122">
                  <c:v>0.14025131903849508</c:v>
                </c:pt>
                <c:pt idx="1123">
                  <c:v>0.14722363728986254</c:v>
                </c:pt>
                <c:pt idx="1124">
                  <c:v>0.14010743788240254</c:v>
                </c:pt>
                <c:pt idx="1125">
                  <c:v>0.1330927960432966</c:v>
                </c:pt>
                <c:pt idx="1126">
                  <c:v>0.14015799332193168</c:v>
                </c:pt>
                <c:pt idx="1127">
                  <c:v>0.14545158400521219</c:v>
                </c:pt>
                <c:pt idx="1128">
                  <c:v>0.14378155154333272</c:v>
                </c:pt>
                <c:pt idx="1129">
                  <c:v>0.14470930948180372</c:v>
                </c:pt>
                <c:pt idx="1130">
                  <c:v>0.14529780628883104</c:v>
                </c:pt>
                <c:pt idx="1131">
                  <c:v>0.14636429834598985</c:v>
                </c:pt>
                <c:pt idx="1132">
                  <c:v>0.14326990136494966</c:v>
                </c:pt>
                <c:pt idx="1133">
                  <c:v>0.10907977826790671</c:v>
                </c:pt>
                <c:pt idx="1134">
                  <c:v>0.13311953719424019</c:v>
                </c:pt>
                <c:pt idx="1135">
                  <c:v>0.11147761387217581</c:v>
                </c:pt>
                <c:pt idx="1136">
                  <c:v>0.11012525878623536</c:v>
                </c:pt>
                <c:pt idx="1137">
                  <c:v>0.10573945286681652</c:v>
                </c:pt>
                <c:pt idx="1138">
                  <c:v>0.10980354383305202</c:v>
                </c:pt>
                <c:pt idx="1139">
                  <c:v>0.12541806020066892</c:v>
                </c:pt>
                <c:pt idx="1140">
                  <c:v>0.13159631017440776</c:v>
                </c:pt>
                <c:pt idx="1141">
                  <c:v>0.12642870429696385</c:v>
                </c:pt>
                <c:pt idx="1142">
                  <c:v>0.11010927379662339</c:v>
                </c:pt>
                <c:pt idx="1143">
                  <c:v>8.6343115124153602E-2</c:v>
                </c:pt>
                <c:pt idx="1144">
                  <c:v>8.196057864242845E-2</c:v>
                </c:pt>
                <c:pt idx="1145">
                  <c:v>5.8929966689970081E-2</c:v>
                </c:pt>
                <c:pt idx="1146">
                  <c:v>7.2011377789469755E-2</c:v>
                </c:pt>
                <c:pt idx="1147">
                  <c:v>8.9229877202791519E-2</c:v>
                </c:pt>
                <c:pt idx="1148">
                  <c:v>9.4954449894884441E-2</c:v>
                </c:pt>
                <c:pt idx="1149">
                  <c:v>9.7555388018110811E-2</c:v>
                </c:pt>
                <c:pt idx="1150">
                  <c:v>9.1029679986735168E-2</c:v>
                </c:pt>
                <c:pt idx="1151">
                  <c:v>8.9913742768761962E-2</c:v>
                </c:pt>
                <c:pt idx="1152">
                  <c:v>8.1137165387009658E-2</c:v>
                </c:pt>
                <c:pt idx="1153">
                  <c:v>8.0486301568194252E-2</c:v>
                </c:pt>
                <c:pt idx="1154">
                  <c:v>7.7604037395548886E-2</c:v>
                </c:pt>
                <c:pt idx="1155">
                  <c:v>4.6025104602510414E-2</c:v>
                </c:pt>
                <c:pt idx="1156">
                  <c:v>5.079959281515789E-2</c:v>
                </c:pt>
                <c:pt idx="1157">
                  <c:v>7.3501845597403692E-2</c:v>
                </c:pt>
                <c:pt idx="1158">
                  <c:v>7.4750769002705386E-2</c:v>
                </c:pt>
                <c:pt idx="1159">
                  <c:v>7.1533926367878031E-2</c:v>
                </c:pt>
                <c:pt idx="1160">
                  <c:v>9.0317056607911894E-2</c:v>
                </c:pt>
                <c:pt idx="1161">
                  <c:v>8.200740518362859E-2</c:v>
                </c:pt>
                <c:pt idx="1162">
                  <c:v>9.985721005940551E-2</c:v>
                </c:pt>
                <c:pt idx="1163">
                  <c:v>9.754983009164242E-2</c:v>
                </c:pt>
                <c:pt idx="1164">
                  <c:v>0.10676757045724128</c:v>
                </c:pt>
                <c:pt idx="1165">
                  <c:v>9.0119904874357726E-2</c:v>
                </c:pt>
                <c:pt idx="1166">
                  <c:v>9.4674556213017791E-2</c:v>
                </c:pt>
                <c:pt idx="1167">
                  <c:v>0.10269127161954628</c:v>
                </c:pt>
                <c:pt idx="1168">
                  <c:v>9.6687368869793344E-2</c:v>
                </c:pt>
                <c:pt idx="1169">
                  <c:v>0.10079205363132226</c:v>
                </c:pt>
                <c:pt idx="1170">
                  <c:v>0.10180057409608856</c:v>
                </c:pt>
                <c:pt idx="1171">
                  <c:v>0.12385159523108991</c:v>
                </c:pt>
                <c:pt idx="1172">
                  <c:v>0.12323451484363601</c:v>
                </c:pt>
                <c:pt idx="1173">
                  <c:v>0.13458102292650609</c:v>
                </c:pt>
                <c:pt idx="1174">
                  <c:v>0.1160621847486687</c:v>
                </c:pt>
                <c:pt idx="1175">
                  <c:v>0.11095559964762924</c:v>
                </c:pt>
                <c:pt idx="1176">
                  <c:v>0.12823434419611202</c:v>
                </c:pt>
                <c:pt idx="1177">
                  <c:v>0.11660215367886329</c:v>
                </c:pt>
                <c:pt idx="1178">
                  <c:v>0.12459980823298067</c:v>
                </c:pt>
                <c:pt idx="1179">
                  <c:v>0.12064161275471874</c:v>
                </c:pt>
                <c:pt idx="1180">
                  <c:v>0.13465398730712308</c:v>
                </c:pt>
                <c:pt idx="1181">
                  <c:v>0.14001753873136513</c:v>
                </c:pt>
                <c:pt idx="1182">
                  <c:v>0.14157197546350986</c:v>
                </c:pt>
                <c:pt idx="1183">
                  <c:v>0.12291473118713903</c:v>
                </c:pt>
                <c:pt idx="1184">
                  <c:v>0.11557340473003119</c:v>
                </c:pt>
                <c:pt idx="1185">
                  <c:v>0.12960063438889491</c:v>
                </c:pt>
                <c:pt idx="1186">
                  <c:v>0.12935928629359283</c:v>
                </c:pt>
                <c:pt idx="1187">
                  <c:v>0.12242329769182692</c:v>
                </c:pt>
                <c:pt idx="1188">
                  <c:v>0.11436713081788974</c:v>
                </c:pt>
                <c:pt idx="1189">
                  <c:v>0.12313148816946562</c:v>
                </c:pt>
                <c:pt idx="1190">
                  <c:v>0.13386160051117368</c:v>
                </c:pt>
                <c:pt idx="1191">
                  <c:v>0.12752516543662695</c:v>
                </c:pt>
                <c:pt idx="1192">
                  <c:v>0.1304111434356221</c:v>
                </c:pt>
                <c:pt idx="1193">
                  <c:v>0.1259001358011258</c:v>
                </c:pt>
                <c:pt idx="1194">
                  <c:v>0.12777728707131208</c:v>
                </c:pt>
                <c:pt idx="1195">
                  <c:v>0.12355069140046981</c:v>
                </c:pt>
                <c:pt idx="1196">
                  <c:v>0.11909389237582446</c:v>
                </c:pt>
                <c:pt idx="1197">
                  <c:v>0.11245523278949454</c:v>
                </c:pt>
                <c:pt idx="1198">
                  <c:v>0.11804042677136439</c:v>
                </c:pt>
                <c:pt idx="1199">
                  <c:v>0.11723923717440732</c:v>
                </c:pt>
                <c:pt idx="1200">
                  <c:v>0.13229513033354867</c:v>
                </c:pt>
                <c:pt idx="1201">
                  <c:v>0.13692733586161654</c:v>
                </c:pt>
                <c:pt idx="1202">
                  <c:v>0.13253041050165293</c:v>
                </c:pt>
                <c:pt idx="1203">
                  <c:v>0.17867645291303758</c:v>
                </c:pt>
                <c:pt idx="1204">
                  <c:v>0.1961923679162545</c:v>
                </c:pt>
                <c:pt idx="1205">
                  <c:v>0.23677747636398649</c:v>
                </c:pt>
                <c:pt idx="1206">
                  <c:v>0.1983884015671844</c:v>
                </c:pt>
                <c:pt idx="1207">
                  <c:v>0.21431344738239178</c:v>
                </c:pt>
                <c:pt idx="1208">
                  <c:v>0.21559523620231835</c:v>
                </c:pt>
                <c:pt idx="1209">
                  <c:v>0.20302908382563256</c:v>
                </c:pt>
                <c:pt idx="1210">
                  <c:v>0.19987041399528849</c:v>
                </c:pt>
                <c:pt idx="1211">
                  <c:v>0.21219424026991196</c:v>
                </c:pt>
                <c:pt idx="1212">
                  <c:v>0.22429386279840902</c:v>
                </c:pt>
                <c:pt idx="1213">
                  <c:v>0.22972276448171036</c:v>
                </c:pt>
                <c:pt idx="1214">
                  <c:v>0.22624776265338209</c:v>
                </c:pt>
                <c:pt idx="1215">
                  <c:v>0.22641240812076191</c:v>
                </c:pt>
                <c:pt idx="1216">
                  <c:v>0.23798844271285224</c:v>
                </c:pt>
                <c:pt idx="1217">
                  <c:v>0.24341541100085751</c:v>
                </c:pt>
                <c:pt idx="1218">
                  <c:v>0.25102375102375096</c:v>
                </c:pt>
                <c:pt idx="1219">
                  <c:v>0.26531885378446485</c:v>
                </c:pt>
                <c:pt idx="1220">
                  <c:v>0.27815748050912581</c:v>
                </c:pt>
                <c:pt idx="1221">
                  <c:v>0.27922400588073448</c:v>
                </c:pt>
                <c:pt idx="1222">
                  <c:v>0.30142256126508093</c:v>
                </c:pt>
                <c:pt idx="1223">
                  <c:v>0.29051743137238906</c:v>
                </c:pt>
                <c:pt idx="1224">
                  <c:v>0.29019614247684999</c:v>
                </c:pt>
                <c:pt idx="1225">
                  <c:v>0.29773596861063045</c:v>
                </c:pt>
                <c:pt idx="1226">
                  <c:v>0.28630638215199311</c:v>
                </c:pt>
                <c:pt idx="1227">
                  <c:v>0.30306069625986809</c:v>
                </c:pt>
                <c:pt idx="1228">
                  <c:v>0.31622178236863818</c:v>
                </c:pt>
                <c:pt idx="1229">
                  <c:v>0.31768450368012724</c:v>
                </c:pt>
                <c:pt idx="1230">
                  <c:v>0.30631418306679814</c:v>
                </c:pt>
                <c:pt idx="1231">
                  <c:v>0.26730935001463041</c:v>
                </c:pt>
                <c:pt idx="1232">
                  <c:v>0.2565792593295082</c:v>
                </c:pt>
                <c:pt idx="1233">
                  <c:v>0.26654971404296823</c:v>
                </c:pt>
                <c:pt idx="1234">
                  <c:v>0.26772244382133414</c:v>
                </c:pt>
                <c:pt idx="1235">
                  <c:v>0.25076278026023102</c:v>
                </c:pt>
                <c:pt idx="1236">
                  <c:v>0.24732212221324157</c:v>
                </c:pt>
                <c:pt idx="1237">
                  <c:v>0.25756596344831628</c:v>
                </c:pt>
                <c:pt idx="1238">
                  <c:v>0.25191319022016412</c:v>
                </c:pt>
                <c:pt idx="1239">
                  <c:v>0.24396111643554286</c:v>
                </c:pt>
                <c:pt idx="1240">
                  <c:v>0.22122694532678988</c:v>
                </c:pt>
                <c:pt idx="1241">
                  <c:v>0.18336724611304867</c:v>
                </c:pt>
                <c:pt idx="1242">
                  <c:v>0.20184972183751548</c:v>
                </c:pt>
                <c:pt idx="1243">
                  <c:v>0.22137583590962207</c:v>
                </c:pt>
                <c:pt idx="1244">
                  <c:v>0.25192446358622567</c:v>
                </c:pt>
                <c:pt idx="1245">
                  <c:v>0.2717853925253968</c:v>
                </c:pt>
                <c:pt idx="1246">
                  <c:v>0.23159397352945743</c:v>
                </c:pt>
                <c:pt idx="1247">
                  <c:v>0.22598310695832424</c:v>
                </c:pt>
                <c:pt idx="1248">
                  <c:v>0.20618516947518595</c:v>
                </c:pt>
                <c:pt idx="1249">
                  <c:v>0.2069555718807814</c:v>
                </c:pt>
                <c:pt idx="1250">
                  <c:v>0.20635577155068408</c:v>
                </c:pt>
                <c:pt idx="1251">
                  <c:v>0.21656348335718389</c:v>
                </c:pt>
                <c:pt idx="1252">
                  <c:v>0.21616126298347171</c:v>
                </c:pt>
                <c:pt idx="1253">
                  <c:v>0.20925201573741514</c:v>
                </c:pt>
                <c:pt idx="1254">
                  <c:v>0.21034915237438101</c:v>
                </c:pt>
                <c:pt idx="1255">
                  <c:v>0.21401186273876527</c:v>
                </c:pt>
                <c:pt idx="1256">
                  <c:v>0.21414812455445853</c:v>
                </c:pt>
                <c:pt idx="1257">
                  <c:v>0.21081433422265339</c:v>
                </c:pt>
                <c:pt idx="1258">
                  <c:v>0.20364874928646759</c:v>
                </c:pt>
                <c:pt idx="1259">
                  <c:v>0.20493748891480146</c:v>
                </c:pt>
                <c:pt idx="1260">
                  <c:v>0.19809026213854608</c:v>
                </c:pt>
                <c:pt idx="1261">
                  <c:v>0.202441045731937</c:v>
                </c:pt>
                <c:pt idx="1262">
                  <c:v>0.20441947283080064</c:v>
                </c:pt>
                <c:pt idx="1263">
                  <c:v>0.19778115949143382</c:v>
                </c:pt>
                <c:pt idx="1264">
                  <c:v>0.19490025588901716</c:v>
                </c:pt>
                <c:pt idx="1265">
                  <c:v>0.19063313357615574</c:v>
                </c:pt>
                <c:pt idx="1266">
                  <c:v>0.17369303528597957</c:v>
                </c:pt>
                <c:pt idx="1267">
                  <c:v>0.17966991747936989</c:v>
                </c:pt>
                <c:pt idx="1268">
                  <c:v>0.18239257530870678</c:v>
                </c:pt>
                <c:pt idx="1269">
                  <c:v>0.16121062384187779</c:v>
                </c:pt>
                <c:pt idx="1270">
                  <c:v>0.17444674900341428</c:v>
                </c:pt>
                <c:pt idx="1271">
                  <c:v>0.14100997299295392</c:v>
                </c:pt>
                <c:pt idx="1272">
                  <c:v>0.14612965168932002</c:v>
                </c:pt>
                <c:pt idx="1273">
                  <c:v>0.13821260696637339</c:v>
                </c:pt>
                <c:pt idx="1274">
                  <c:v>0.13471543582189649</c:v>
                </c:pt>
                <c:pt idx="1275">
                  <c:v>0.12803498718142059</c:v>
                </c:pt>
                <c:pt idx="1276">
                  <c:v>0.12284665348771528</c:v>
                </c:pt>
                <c:pt idx="1277">
                  <c:v>6.9349579414267559E-2</c:v>
                </c:pt>
                <c:pt idx="1278">
                  <c:v>8.8316284171891635E-2</c:v>
                </c:pt>
                <c:pt idx="1279">
                  <c:v>0.10362824837087925</c:v>
                </c:pt>
                <c:pt idx="1280">
                  <c:v>0.10025598712922279</c:v>
                </c:pt>
                <c:pt idx="1281">
                  <c:v>0.10524057892478944</c:v>
                </c:pt>
                <c:pt idx="1282">
                  <c:v>0.11652036615853079</c:v>
                </c:pt>
                <c:pt idx="1283">
                  <c:v>0.12185701217101919</c:v>
                </c:pt>
                <c:pt idx="1284">
                  <c:v>0.11134889972704376</c:v>
                </c:pt>
                <c:pt idx="1285">
                  <c:v>0.11629300818490007</c:v>
                </c:pt>
                <c:pt idx="1286">
                  <c:v>0.12071354217372754</c:v>
                </c:pt>
                <c:pt idx="1287">
                  <c:v>0.12160655075110594</c:v>
                </c:pt>
                <c:pt idx="1288">
                  <c:v>0.11326342871673667</c:v>
                </c:pt>
                <c:pt idx="1289">
                  <c:v>0.12501074553452951</c:v>
                </c:pt>
                <c:pt idx="1290">
                  <c:v>0.12920089619118746</c:v>
                </c:pt>
                <c:pt idx="1291">
                  <c:v>0.12426894597924942</c:v>
                </c:pt>
                <c:pt idx="1292">
                  <c:v>0.1210570391737229</c:v>
                </c:pt>
                <c:pt idx="1293">
                  <c:v>0.12415976311550714</c:v>
                </c:pt>
                <c:pt idx="1294">
                  <c:v>0.12486524664510612</c:v>
                </c:pt>
                <c:pt idx="1295">
                  <c:v>0.13008220808689508</c:v>
                </c:pt>
                <c:pt idx="1296">
                  <c:v>0.14734814891777459</c:v>
                </c:pt>
                <c:pt idx="1297">
                  <c:v>0.14512417209369333</c:v>
                </c:pt>
                <c:pt idx="1298">
                  <c:v>0.17073098396269093</c:v>
                </c:pt>
                <c:pt idx="1299">
                  <c:v>0.16439292350544332</c:v>
                </c:pt>
                <c:pt idx="1300">
                  <c:v>0.16966861858358251</c:v>
                </c:pt>
                <c:pt idx="1301">
                  <c:v>0.16766966021664653</c:v>
                </c:pt>
                <c:pt idx="1302">
                  <c:v>0.17374191734607813</c:v>
                </c:pt>
                <c:pt idx="1303">
                  <c:v>0.16816052524805425</c:v>
                </c:pt>
                <c:pt idx="1304">
                  <c:v>0.17032423737068147</c:v>
                </c:pt>
                <c:pt idx="1305">
                  <c:v>0.17259556912657903</c:v>
                </c:pt>
                <c:pt idx="1306">
                  <c:v>0.17154749901201471</c:v>
                </c:pt>
                <c:pt idx="1307">
                  <c:v>0.17128575231447241</c:v>
                </c:pt>
                <c:pt idx="1308">
                  <c:v>0.17634438036614641</c:v>
                </c:pt>
                <c:pt idx="1309">
                  <c:v>0.19015888528571212</c:v>
                </c:pt>
                <c:pt idx="1310">
                  <c:v>0.22944151925693657</c:v>
                </c:pt>
                <c:pt idx="1311">
                  <c:v>0.2253941012420384</c:v>
                </c:pt>
                <c:pt idx="1312">
                  <c:v>0.22964268463997461</c:v>
                </c:pt>
                <c:pt idx="1313">
                  <c:v>0.21583449957941681</c:v>
                </c:pt>
                <c:pt idx="1314">
                  <c:v>0.20704267207695715</c:v>
                </c:pt>
                <c:pt idx="1315">
                  <c:v>0.19955375716584256</c:v>
                </c:pt>
                <c:pt idx="1316">
                  <c:v>0.19011739453236998</c:v>
                </c:pt>
                <c:pt idx="1317">
                  <c:v>0.19245620333667923</c:v>
                </c:pt>
                <c:pt idx="1318">
                  <c:v>0.20459347726228749</c:v>
                </c:pt>
                <c:pt idx="1319">
                  <c:v>0.19722701096724493</c:v>
                </c:pt>
                <c:pt idx="1320">
                  <c:v>0.20786413820929472</c:v>
                </c:pt>
                <c:pt idx="1321">
                  <c:v>0.1964825240483854</c:v>
                </c:pt>
                <c:pt idx="1322">
                  <c:v>0.21028578124771125</c:v>
                </c:pt>
                <c:pt idx="1323">
                  <c:v>0.20413474579377588</c:v>
                </c:pt>
                <c:pt idx="1324">
                  <c:v>0.20584532143027578</c:v>
                </c:pt>
                <c:pt idx="1325">
                  <c:v>0.19763985886004587</c:v>
                </c:pt>
                <c:pt idx="1326">
                  <c:v>0.19729498662537481</c:v>
                </c:pt>
                <c:pt idx="1327">
                  <c:v>0.20298104571327968</c:v>
                </c:pt>
                <c:pt idx="1328">
                  <c:v>0.20057533683623441</c:v>
                </c:pt>
                <c:pt idx="1329">
                  <c:v>0.19559705059305554</c:v>
                </c:pt>
                <c:pt idx="1330">
                  <c:v>0.20220459070148733</c:v>
                </c:pt>
                <c:pt idx="1331">
                  <c:v>0.20439740007732654</c:v>
                </c:pt>
                <c:pt idx="1332">
                  <c:v>0.20695957306820678</c:v>
                </c:pt>
                <c:pt idx="1333">
                  <c:v>0.20295200254407342</c:v>
                </c:pt>
                <c:pt idx="1334">
                  <c:v>0.20212448181149223</c:v>
                </c:pt>
                <c:pt idx="1335">
                  <c:v>0.21714066804093624</c:v>
                </c:pt>
                <c:pt idx="1336">
                  <c:v>0.23242391296416565</c:v>
                </c:pt>
                <c:pt idx="1337">
                  <c:v>0.26532456741351917</c:v>
                </c:pt>
                <c:pt idx="1338">
                  <c:v>0.2784349740158456</c:v>
                </c:pt>
                <c:pt idx="1339">
                  <c:v>0.31395972713436326</c:v>
                </c:pt>
                <c:pt idx="1340">
                  <c:v>0.31727580803847966</c:v>
                </c:pt>
                <c:pt idx="1341">
                  <c:v>0.33430777357289121</c:v>
                </c:pt>
                <c:pt idx="1342">
                  <c:v>0.30416719351167787</c:v>
                </c:pt>
                <c:pt idx="1343">
                  <c:v>0.2828523239057652</c:v>
                </c:pt>
                <c:pt idx="1344">
                  <c:v>0.26758023800937614</c:v>
                </c:pt>
                <c:pt idx="1345">
                  <c:v>0.26931088352716537</c:v>
                </c:pt>
                <c:pt idx="1346">
                  <c:v>0.27816922960599988</c:v>
                </c:pt>
                <c:pt idx="1347">
                  <c:v>0.28331298038933994</c:v>
                </c:pt>
                <c:pt idx="1348">
                  <c:v>0.28745032374902091</c:v>
                </c:pt>
                <c:pt idx="1349">
                  <c:v>0.27479616521817052</c:v>
                </c:pt>
                <c:pt idx="1350">
                  <c:v>0.26655504214664005</c:v>
                </c:pt>
                <c:pt idx="1351">
                  <c:v>0.27318357103507385</c:v>
                </c:pt>
                <c:pt idx="1352">
                  <c:v>0.26565949029613289</c:v>
                </c:pt>
                <c:pt idx="1353">
                  <c:v>0.26568681859682419</c:v>
                </c:pt>
                <c:pt idx="1354">
                  <c:v>0.27082542796388709</c:v>
                </c:pt>
                <c:pt idx="1355">
                  <c:v>0.26307868711480586</c:v>
                </c:pt>
                <c:pt idx="1356">
                  <c:v>0.26262174642406211</c:v>
                </c:pt>
                <c:pt idx="1357">
                  <c:v>0.27570646942419663</c:v>
                </c:pt>
                <c:pt idx="1358">
                  <c:v>0.2883646358222629</c:v>
                </c:pt>
                <c:pt idx="1359">
                  <c:v>0.28862754910546728</c:v>
                </c:pt>
                <c:pt idx="1360">
                  <c:v>0.28327030176512213</c:v>
                </c:pt>
                <c:pt idx="1361">
                  <c:v>0.29819110373029045</c:v>
                </c:pt>
                <c:pt idx="1362">
                  <c:v>0.29025351911651898</c:v>
                </c:pt>
                <c:pt idx="1363">
                  <c:v>0.2921782433244613</c:v>
                </c:pt>
                <c:pt idx="1364">
                  <c:v>0.29933316161529433</c:v>
                </c:pt>
                <c:pt idx="1365">
                  <c:v>0.30040639935891922</c:v>
                </c:pt>
                <c:pt idx="1366">
                  <c:v>0.28135696410430677</c:v>
                </c:pt>
                <c:pt idx="1367">
                  <c:v>0.28492708942397993</c:v>
                </c:pt>
                <c:pt idx="1368">
                  <c:v>0.29236875210404145</c:v>
                </c:pt>
                <c:pt idx="1369">
                  <c:v>0.31134991068643858</c:v>
                </c:pt>
                <c:pt idx="1370">
                  <c:v>0.31061598951507219</c:v>
                </c:pt>
                <c:pt idx="1371">
                  <c:v>0.3161591043875438</c:v>
                </c:pt>
                <c:pt idx="1372">
                  <c:v>0.33261891592920345</c:v>
                </c:pt>
                <c:pt idx="1373">
                  <c:v>0.32865161696692979</c:v>
                </c:pt>
                <c:pt idx="1374">
                  <c:v>0.32898522658108775</c:v>
                </c:pt>
                <c:pt idx="1375">
                  <c:v>0.36635383960314472</c:v>
                </c:pt>
                <c:pt idx="1376">
                  <c:v>0.36189535347233059</c:v>
                </c:pt>
                <c:pt idx="1377">
                  <c:v>0.38047710009672353</c:v>
                </c:pt>
                <c:pt idx="1378">
                  <c:v>0.34886785256076847</c:v>
                </c:pt>
                <c:pt idx="1379">
                  <c:v>0.37406274493483438</c:v>
                </c:pt>
                <c:pt idx="1380">
                  <c:v>0.39266104052418171</c:v>
                </c:pt>
                <c:pt idx="1381">
                  <c:v>0.41073618885796392</c:v>
                </c:pt>
                <c:pt idx="1382">
                  <c:v>0.4123439133065625</c:v>
                </c:pt>
                <c:pt idx="1383">
                  <c:v>0.41675055021923457</c:v>
                </c:pt>
                <c:pt idx="1384">
                  <c:v>0.49745993996531479</c:v>
                </c:pt>
                <c:pt idx="1385">
                  <c:v>0.45921345333578234</c:v>
                </c:pt>
                <c:pt idx="1386">
                  <c:v>0.4017543859649122</c:v>
                </c:pt>
                <c:pt idx="1387">
                  <c:v>0.43684714683209425</c:v>
                </c:pt>
                <c:pt idx="1388">
                  <c:v>0.40346937629820911</c:v>
                </c:pt>
                <c:pt idx="1389">
                  <c:v>0.40701754385964906</c:v>
                </c:pt>
                <c:pt idx="1390">
                  <c:v>0.39473684210526305</c:v>
                </c:pt>
                <c:pt idx="1391">
                  <c:v>0.40526315789473677</c:v>
                </c:pt>
                <c:pt idx="1392">
                  <c:v>0.45438596491228078</c:v>
                </c:pt>
                <c:pt idx="1393">
                  <c:v>0.43859649122807021</c:v>
                </c:pt>
                <c:pt idx="1394">
                  <c:v>0.4357894736842105</c:v>
                </c:pt>
                <c:pt idx="1395">
                  <c:v>0.43333333333333335</c:v>
                </c:pt>
                <c:pt idx="1396">
                  <c:v>0.44385964912280707</c:v>
                </c:pt>
                <c:pt idx="1397">
                  <c:v>0.44456140350877194</c:v>
                </c:pt>
                <c:pt idx="1398">
                  <c:v>0.43333333333333335</c:v>
                </c:pt>
                <c:pt idx="1399">
                  <c:v>0.45017543859649112</c:v>
                </c:pt>
                <c:pt idx="1400">
                  <c:v>0.47298245614035084</c:v>
                </c:pt>
                <c:pt idx="1401">
                  <c:v>0.50877192982456143</c:v>
                </c:pt>
                <c:pt idx="1402">
                  <c:v>0.50385964912280712</c:v>
                </c:pt>
                <c:pt idx="1403">
                  <c:v>0.57894736842105265</c:v>
                </c:pt>
                <c:pt idx="1404">
                  <c:v>0.57438596491228067</c:v>
                </c:pt>
                <c:pt idx="1405">
                  <c:v>0.57122807017543864</c:v>
                </c:pt>
                <c:pt idx="1406">
                  <c:v>0.51052631578947372</c:v>
                </c:pt>
                <c:pt idx="1407">
                  <c:v>0.53403508771929831</c:v>
                </c:pt>
                <c:pt idx="1408">
                  <c:v>0.56035087719298238</c:v>
                </c:pt>
                <c:pt idx="1409">
                  <c:v>0.53964912280701749</c:v>
                </c:pt>
                <c:pt idx="1410">
                  <c:v>0.5736842105263158</c:v>
                </c:pt>
                <c:pt idx="1411">
                  <c:v>0.56315789473684208</c:v>
                </c:pt>
                <c:pt idx="1412">
                  <c:v>0.56842105263157894</c:v>
                </c:pt>
                <c:pt idx="1413">
                  <c:v>0.56736842105263152</c:v>
                </c:pt>
                <c:pt idx="1414">
                  <c:v>0.57894736842105265</c:v>
                </c:pt>
                <c:pt idx="1415">
                  <c:v>0.57052631578947377</c:v>
                </c:pt>
                <c:pt idx="1416">
                  <c:v>0.56596491228070178</c:v>
                </c:pt>
                <c:pt idx="1417">
                  <c:v>0.55263157894736836</c:v>
                </c:pt>
                <c:pt idx="1418">
                  <c:v>0.56736842105263152</c:v>
                </c:pt>
                <c:pt idx="1419">
                  <c:v>0.58385964912280697</c:v>
                </c:pt>
                <c:pt idx="1420">
                  <c:v>0.61122807017543868</c:v>
                </c:pt>
                <c:pt idx="1421">
                  <c:v>0.60245614035087725</c:v>
                </c:pt>
                <c:pt idx="1422">
                  <c:v>0.61333333333333329</c:v>
                </c:pt>
                <c:pt idx="1423">
                  <c:v>0.65859649122807018</c:v>
                </c:pt>
                <c:pt idx="1424">
                  <c:v>0.66842105263157903</c:v>
                </c:pt>
                <c:pt idx="1425">
                  <c:v>0.73333333333333339</c:v>
                </c:pt>
                <c:pt idx="1426">
                  <c:v>0.74877192982456142</c:v>
                </c:pt>
                <c:pt idx="1427">
                  <c:v>0.7543859649122806</c:v>
                </c:pt>
                <c:pt idx="1428">
                  <c:v>0.79894736842105263</c:v>
                </c:pt>
                <c:pt idx="1429">
                  <c:v>0.84385964912280698</c:v>
                </c:pt>
                <c:pt idx="1430">
                  <c:v>1.0122807017543858</c:v>
                </c:pt>
                <c:pt idx="1431">
                  <c:v>1.0157894736842104</c:v>
                </c:pt>
                <c:pt idx="1432">
                  <c:v>1.049122807017544</c:v>
                </c:pt>
                <c:pt idx="1433">
                  <c:v>0.9526315789473685</c:v>
                </c:pt>
                <c:pt idx="1434">
                  <c:v>0.88421052631578956</c:v>
                </c:pt>
                <c:pt idx="1435">
                  <c:v>0.90350877192982448</c:v>
                </c:pt>
                <c:pt idx="1436">
                  <c:v>0.3792377882927731</c:v>
                </c:pt>
                <c:pt idx="1437">
                  <c:v>0.30043690567977377</c:v>
                </c:pt>
                <c:pt idx="1438">
                  <c:v>0.26586847342965281</c:v>
                </c:pt>
                <c:pt idx="1439">
                  <c:v>0.3294426188723838</c:v>
                </c:pt>
                <c:pt idx="1440">
                  <c:v>0.18699186991869921</c:v>
                </c:pt>
                <c:pt idx="1441">
                  <c:v>0.2343324250681198</c:v>
                </c:pt>
                <c:pt idx="1442">
                  <c:v>0.27185792349726778</c:v>
                </c:pt>
                <c:pt idx="1443">
                  <c:v>0.28415300546448097</c:v>
                </c:pt>
                <c:pt idx="1444">
                  <c:v>0.31420765027322406</c:v>
                </c:pt>
                <c:pt idx="1445">
                  <c:v>0.38524590163934436</c:v>
                </c:pt>
                <c:pt idx="1446">
                  <c:v>0.3907103825136613</c:v>
                </c:pt>
                <c:pt idx="1447">
                  <c:v>0.39754098360655732</c:v>
                </c:pt>
                <c:pt idx="1448">
                  <c:v>0.43306010928961758</c:v>
                </c:pt>
                <c:pt idx="1449">
                  <c:v>0.47131147540983598</c:v>
                </c:pt>
                <c:pt idx="1450">
                  <c:v>0.50136612021857929</c:v>
                </c:pt>
                <c:pt idx="1451">
                  <c:v>0.40163934426229497</c:v>
                </c:pt>
                <c:pt idx="1452">
                  <c:v>0.39754098360655732</c:v>
                </c:pt>
                <c:pt idx="1453">
                  <c:v>0.37568306010928953</c:v>
                </c:pt>
                <c:pt idx="1454">
                  <c:v>0.37063178570657684</c:v>
                </c:pt>
                <c:pt idx="1455">
                  <c:v>0.38176877229641581</c:v>
                </c:pt>
                <c:pt idx="1456">
                  <c:v>0.35091988656029227</c:v>
                </c:pt>
                <c:pt idx="1457">
                  <c:v>0.33613993414738896</c:v>
                </c:pt>
                <c:pt idx="1458">
                  <c:v>0.35414524031792749</c:v>
                </c:pt>
                <c:pt idx="1459">
                  <c:v>0.33964125040215598</c:v>
                </c:pt>
                <c:pt idx="1460">
                  <c:v>0.34322849384408527</c:v>
                </c:pt>
                <c:pt idx="1461">
                  <c:v>0.34641428616421521</c:v>
                </c:pt>
                <c:pt idx="1462">
                  <c:v>0.34399807364638324</c:v>
                </c:pt>
                <c:pt idx="1463">
                  <c:v>0.34998356541746456</c:v>
                </c:pt>
                <c:pt idx="1464">
                  <c:v>0.34483772204779517</c:v>
                </c:pt>
                <c:pt idx="1465">
                  <c:v>0.33189606028254848</c:v>
                </c:pt>
                <c:pt idx="1466">
                  <c:v>0.35413946200052226</c:v>
                </c:pt>
                <c:pt idx="1467">
                  <c:v>0.35598899502367742</c:v>
                </c:pt>
                <c:pt idx="1468">
                  <c:v>0.37480373988555971</c:v>
                </c:pt>
                <c:pt idx="1469">
                  <c:v>0.40363661145608631</c:v>
                </c:pt>
                <c:pt idx="1470">
                  <c:v>0.43325583406944523</c:v>
                </c:pt>
                <c:pt idx="1471">
                  <c:v>0.43771182331216307</c:v>
                </c:pt>
                <c:pt idx="1472">
                  <c:v>0.46051600355430677</c:v>
                </c:pt>
                <c:pt idx="1473">
                  <c:v>0.42314246583935344</c:v>
                </c:pt>
                <c:pt idx="1474">
                  <c:v>0.40535256018575105</c:v>
                </c:pt>
                <c:pt idx="1475">
                  <c:v>0.40613258935884211</c:v>
                </c:pt>
                <c:pt idx="1476">
                  <c:v>0.38715187948029262</c:v>
                </c:pt>
                <c:pt idx="1477">
                  <c:v>0.36895119877483418</c:v>
                </c:pt>
                <c:pt idx="1478">
                  <c:v>0.39313210314065739</c:v>
                </c:pt>
                <c:pt idx="1479">
                  <c:v>0.38377175306356448</c:v>
                </c:pt>
                <c:pt idx="1480">
                  <c:v>0.37935158774938182</c:v>
                </c:pt>
                <c:pt idx="1481">
                  <c:v>0.3798716071981092</c:v>
                </c:pt>
                <c:pt idx="1482">
                  <c:v>0.35393805597039152</c:v>
                </c:pt>
                <c:pt idx="1483">
                  <c:v>0.33367963119277966</c:v>
                </c:pt>
                <c:pt idx="1484">
                  <c:v>0.35186026881371335</c:v>
                </c:pt>
                <c:pt idx="1485">
                  <c:v>0.33108239724693211</c:v>
                </c:pt>
                <c:pt idx="1486">
                  <c:v>0.33497824816570354</c:v>
                </c:pt>
                <c:pt idx="1487">
                  <c:v>0.33497824816570354</c:v>
                </c:pt>
                <c:pt idx="1488">
                  <c:v>0.34536718394909416</c:v>
                </c:pt>
                <c:pt idx="1489">
                  <c:v>0.35965197065125643</c:v>
                </c:pt>
                <c:pt idx="1490">
                  <c:v>0.35224402564600732</c:v>
                </c:pt>
                <c:pt idx="1491">
                  <c:v>0.334714220985177</c:v>
                </c:pt>
                <c:pt idx="1492">
                  <c:v>0.33609367923917977</c:v>
                </c:pt>
                <c:pt idx="1493">
                  <c:v>0.345151064242738</c:v>
                </c:pt>
                <c:pt idx="1494">
                  <c:v>0.33295372191738282</c:v>
                </c:pt>
                <c:pt idx="1495">
                  <c:v>0.33753864990739513</c:v>
                </c:pt>
                <c:pt idx="1496">
                  <c:v>0.34106267079756436</c:v>
                </c:pt>
                <c:pt idx="1497">
                  <c:v>0.3285342534759832</c:v>
                </c:pt>
                <c:pt idx="1498">
                  <c:v>0.33926473582807293</c:v>
                </c:pt>
                <c:pt idx="1499">
                  <c:v>0.32307869028785063</c:v>
                </c:pt>
                <c:pt idx="1500">
                  <c:v>0.32829999530082543</c:v>
                </c:pt>
                <c:pt idx="1501">
                  <c:v>0.30225197936033754</c:v>
                </c:pt>
                <c:pt idx="1502">
                  <c:v>0.28996337915513282</c:v>
                </c:pt>
                <c:pt idx="1503">
                  <c:v>0.28996337915513282</c:v>
                </c:pt>
                <c:pt idx="1504">
                  <c:v>0.23441265849313631</c:v>
                </c:pt>
                <c:pt idx="1505">
                  <c:v>0.27660927489229103</c:v>
                </c:pt>
                <c:pt idx="1506">
                  <c:v>0.32247733465049944</c:v>
                </c:pt>
                <c:pt idx="1507">
                  <c:v>0.29749743687814423</c:v>
                </c:pt>
                <c:pt idx="1508">
                  <c:v>0.29789305148486411</c:v>
                </c:pt>
                <c:pt idx="1509">
                  <c:v>0.31416881482722947</c:v>
                </c:pt>
                <c:pt idx="1510">
                  <c:v>0.31024813572308396</c:v>
                </c:pt>
                <c:pt idx="1511">
                  <c:v>0.29842474832706034</c:v>
                </c:pt>
                <c:pt idx="1512">
                  <c:v>0.30040985680311683</c:v>
                </c:pt>
                <c:pt idx="1513">
                  <c:v>0.29861827016054909</c:v>
                </c:pt>
                <c:pt idx="1514">
                  <c:v>0.33076859545966797</c:v>
                </c:pt>
                <c:pt idx="1515">
                  <c:v>0.3268960225092723</c:v>
                </c:pt>
                <c:pt idx="1516">
                  <c:v>0.31490213534988976</c:v>
                </c:pt>
                <c:pt idx="1517">
                  <c:v>0.31560707202115634</c:v>
                </c:pt>
                <c:pt idx="1518">
                  <c:v>0.32867692143637872</c:v>
                </c:pt>
                <c:pt idx="1519">
                  <c:v>0.33427527925141964</c:v>
                </c:pt>
                <c:pt idx="1520">
                  <c:v>0.33964276193015186</c:v>
                </c:pt>
                <c:pt idx="1521">
                  <c:v>0.34234450398571004</c:v>
                </c:pt>
                <c:pt idx="1522">
                  <c:v>0.32981417793063006</c:v>
                </c:pt>
                <c:pt idx="1523">
                  <c:v>0.33171590060787026</c:v>
                </c:pt>
                <c:pt idx="1524">
                  <c:v>0.32960783634119228</c:v>
                </c:pt>
                <c:pt idx="1525">
                  <c:v>0.31174814435628351</c:v>
                </c:pt>
                <c:pt idx="1526">
                  <c:v>0.31308822353160748</c:v>
                </c:pt>
                <c:pt idx="1527">
                  <c:v>0.31442130802250245</c:v>
                </c:pt>
                <c:pt idx="1528">
                  <c:v>0.3037566320953422</c:v>
                </c:pt>
                <c:pt idx="1529">
                  <c:v>0.29309885140827796</c:v>
                </c:pt>
                <c:pt idx="1530">
                  <c:v>0.30243049260400778</c:v>
                </c:pt>
                <c:pt idx="1531">
                  <c:v>0.30240618542958075</c:v>
                </c:pt>
                <c:pt idx="1532">
                  <c:v>0.29303679689457884</c:v>
                </c:pt>
                <c:pt idx="1533">
                  <c:v>0.29783569634697105</c:v>
                </c:pt>
                <c:pt idx="1534">
                  <c:v>0.29702204804180332</c:v>
                </c:pt>
                <c:pt idx="1535">
                  <c:v>0.28789110496898873</c:v>
                </c:pt>
                <c:pt idx="1536">
                  <c:v>0.29409726387056367</c:v>
                </c:pt>
                <c:pt idx="1537">
                  <c:v>0.30308262982860068</c:v>
                </c:pt>
                <c:pt idx="1538">
                  <c:v>0.30391333892952788</c:v>
                </c:pt>
                <c:pt idx="1539">
                  <c:v>0.30791062077787101</c:v>
                </c:pt>
                <c:pt idx="1540">
                  <c:v>0.30063193341787531</c:v>
                </c:pt>
                <c:pt idx="1541">
                  <c:v>0.31372204379251012</c:v>
                </c:pt>
                <c:pt idx="1542">
                  <c:v>0.33910023543448853</c:v>
                </c:pt>
                <c:pt idx="1543">
                  <c:v>0.33696960657938191</c:v>
                </c:pt>
                <c:pt idx="1544">
                  <c:v>0.3169914535377667</c:v>
                </c:pt>
                <c:pt idx="1545">
                  <c:v>0.32195185592455422</c:v>
                </c:pt>
                <c:pt idx="1546">
                  <c:v>0.31913693264072207</c:v>
                </c:pt>
                <c:pt idx="1547">
                  <c:v>0.31300983892681722</c:v>
                </c:pt>
                <c:pt idx="1548">
                  <c:v>0.31900225020347595</c:v>
                </c:pt>
                <c:pt idx="1549">
                  <c:v>0.30729906427708897</c:v>
                </c:pt>
                <c:pt idx="1550">
                  <c:v>0.29718424539798938</c:v>
                </c:pt>
                <c:pt idx="1551">
                  <c:v>0.30949624318303415</c:v>
                </c:pt>
                <c:pt idx="1552">
                  <c:v>0.3122451369739041</c:v>
                </c:pt>
                <c:pt idx="1553">
                  <c:v>0.31231849144597268</c:v>
                </c:pt>
                <c:pt idx="1554">
                  <c:v>0.29812377843223925</c:v>
                </c:pt>
                <c:pt idx="1555">
                  <c:v>0.29833466939738629</c:v>
                </c:pt>
                <c:pt idx="1556">
                  <c:v>0.31308396279684225</c:v>
                </c:pt>
                <c:pt idx="1557">
                  <c:v>0.30858745535274323</c:v>
                </c:pt>
                <c:pt idx="1558">
                  <c:v>0.31049031515693915</c:v>
                </c:pt>
                <c:pt idx="1559">
                  <c:v>0.30385910330719401</c:v>
                </c:pt>
                <c:pt idx="1560">
                  <c:v>0.30936428565719964</c:v>
                </c:pt>
                <c:pt idx="1561">
                  <c:v>0.30672115556242296</c:v>
                </c:pt>
                <c:pt idx="1562">
                  <c:v>0.30863829152368982</c:v>
                </c:pt>
                <c:pt idx="1563">
                  <c:v>0.30884194261661824</c:v>
                </c:pt>
                <c:pt idx="1564">
                  <c:v>0.30701889929081028</c:v>
                </c:pt>
                <c:pt idx="1565">
                  <c:v>0.31799096295664775</c:v>
                </c:pt>
                <c:pt idx="1566">
                  <c:v>0.32281828233444787</c:v>
                </c:pt>
                <c:pt idx="1567">
                  <c:v>0.3220612645641221</c:v>
                </c:pt>
                <c:pt idx="1568">
                  <c:v>0.3228922981823219</c:v>
                </c:pt>
                <c:pt idx="1569">
                  <c:v>0.32262585461773341</c:v>
                </c:pt>
                <c:pt idx="1570">
                  <c:v>0.32665432115212956</c:v>
                </c:pt>
                <c:pt idx="1571">
                  <c:v>0.32340402856229344</c:v>
                </c:pt>
                <c:pt idx="1572">
                  <c:v>0.32158120796785572</c:v>
                </c:pt>
                <c:pt idx="1573">
                  <c:v>0.32508386691074009</c:v>
                </c:pt>
                <c:pt idx="1574">
                  <c:v>0.33051989918527647</c:v>
                </c:pt>
                <c:pt idx="1575">
                  <c:v>0.32545784910828002</c:v>
                </c:pt>
                <c:pt idx="1576">
                  <c:v>0.32250740796009292</c:v>
                </c:pt>
                <c:pt idx="1577">
                  <c:v>0.32187036384788614</c:v>
                </c:pt>
                <c:pt idx="1578">
                  <c:v>0.32382457189221503</c:v>
                </c:pt>
                <c:pt idx="1579">
                  <c:v>0.31146490523117509</c:v>
                </c:pt>
                <c:pt idx="1580">
                  <c:v>0.31928587643045048</c:v>
                </c:pt>
                <c:pt idx="1581">
                  <c:v>0.31785595999957272</c:v>
                </c:pt>
                <c:pt idx="1582">
                  <c:v>0.32219660930025085</c:v>
                </c:pt>
                <c:pt idx="1583">
                  <c:v>0.32124947262172432</c:v>
                </c:pt>
                <c:pt idx="1584">
                  <c:v>0.32818508074852604</c:v>
                </c:pt>
                <c:pt idx="1585">
                  <c:v>0.32427698748344658</c:v>
                </c:pt>
                <c:pt idx="1586">
                  <c:v>0.32358556311796915</c:v>
                </c:pt>
                <c:pt idx="1587">
                  <c:v>0.32521403915308045</c:v>
                </c:pt>
                <c:pt idx="1588">
                  <c:v>0.32458638368967896</c:v>
                </c:pt>
                <c:pt idx="1589">
                  <c:v>0.33462881303451875</c:v>
                </c:pt>
                <c:pt idx="1590">
                  <c:v>0.35331722876933558</c:v>
                </c:pt>
                <c:pt idx="1591">
                  <c:v>0.39949550896205643</c:v>
                </c:pt>
                <c:pt idx="1592">
                  <c:v>0.40804467305336156</c:v>
                </c:pt>
                <c:pt idx="1593">
                  <c:v>0.39603664395993943</c:v>
                </c:pt>
                <c:pt idx="1594">
                  <c:v>0.37875989023309442</c:v>
                </c:pt>
                <c:pt idx="1595">
                  <c:v>0.37609046159759973</c:v>
                </c:pt>
                <c:pt idx="1596">
                  <c:v>0.36275786955964628</c:v>
                </c:pt>
                <c:pt idx="1597">
                  <c:v>0.35729938794739491</c:v>
                </c:pt>
                <c:pt idx="1598">
                  <c:v>0.34382773382869458</c:v>
                </c:pt>
                <c:pt idx="1599">
                  <c:v>0.36091816612274408</c:v>
                </c:pt>
                <c:pt idx="1600">
                  <c:v>0.36893087299363558</c:v>
                </c:pt>
                <c:pt idx="1601">
                  <c:v>0.36625874592390573</c:v>
                </c:pt>
                <c:pt idx="1602">
                  <c:v>0.34012558006729976</c:v>
                </c:pt>
                <c:pt idx="1603">
                  <c:v>0.35050050156873636</c:v>
                </c:pt>
                <c:pt idx="1604">
                  <c:v>0.35396879602159936</c:v>
                </c:pt>
                <c:pt idx="1605">
                  <c:v>0.35479672715247323</c:v>
                </c:pt>
                <c:pt idx="1606">
                  <c:v>0.36379270350906667</c:v>
                </c:pt>
                <c:pt idx="1607">
                  <c:v>0.37856740981316017</c:v>
                </c:pt>
                <c:pt idx="1608">
                  <c:v>0.39057025379573673</c:v>
                </c:pt>
                <c:pt idx="1609">
                  <c:v>0.36905587134340778</c:v>
                </c:pt>
                <c:pt idx="1610">
                  <c:v>0.37416463851872783</c:v>
                </c:pt>
                <c:pt idx="1611">
                  <c:v>0.37503930587163103</c:v>
                </c:pt>
                <c:pt idx="1612">
                  <c:v>0.37905498638792556</c:v>
                </c:pt>
                <c:pt idx="1613">
                  <c:v>0.38899616727615594</c:v>
                </c:pt>
                <c:pt idx="1614">
                  <c:v>0.3615060978857112</c:v>
                </c:pt>
                <c:pt idx="1615">
                  <c:v>0.36656740091388373</c:v>
                </c:pt>
                <c:pt idx="1616">
                  <c:v>0.3667165267567698</c:v>
                </c:pt>
                <c:pt idx="1617">
                  <c:v>0.36103818726842807</c:v>
                </c:pt>
                <c:pt idx="1618">
                  <c:v>0.35959852637062939</c:v>
                </c:pt>
                <c:pt idx="1619">
                  <c:v>0.36587699135033147</c:v>
                </c:pt>
                <c:pt idx="1620">
                  <c:v>0.36456644787542181</c:v>
                </c:pt>
                <c:pt idx="1621">
                  <c:v>0.36438110260475165</c:v>
                </c:pt>
                <c:pt idx="1622">
                  <c:v>0.35813380683552443</c:v>
                </c:pt>
                <c:pt idx="1623">
                  <c:v>0.35492872565611133</c:v>
                </c:pt>
                <c:pt idx="1624">
                  <c:v>0.34768389193085869</c:v>
                </c:pt>
                <c:pt idx="1625">
                  <c:v>0.34809668778366865</c:v>
                </c:pt>
                <c:pt idx="1626">
                  <c:v>0.34031369269126732</c:v>
                </c:pt>
                <c:pt idx="1627">
                  <c:v>0.32962553726916588</c:v>
                </c:pt>
                <c:pt idx="1628">
                  <c:v>0.32998061877149976</c:v>
                </c:pt>
                <c:pt idx="1629">
                  <c:v>0.32439144767228578</c:v>
                </c:pt>
                <c:pt idx="1630">
                  <c:v>0.32235456603733792</c:v>
                </c:pt>
                <c:pt idx="1631">
                  <c:v>0.32481584400655938</c:v>
                </c:pt>
                <c:pt idx="1632">
                  <c:v>0.3275547925728548</c:v>
                </c:pt>
                <c:pt idx="1633">
                  <c:v>0.31865129816229398</c:v>
                </c:pt>
                <c:pt idx="1634">
                  <c:v>0.32310572000073412</c:v>
                </c:pt>
                <c:pt idx="1635">
                  <c:v>0.32349358294233688</c:v>
                </c:pt>
                <c:pt idx="1636">
                  <c:v>0.32106072634758931</c:v>
                </c:pt>
                <c:pt idx="1637">
                  <c:v>0.31885770453404727</c:v>
                </c:pt>
                <c:pt idx="1638">
                  <c:v>0.31866927878833717</c:v>
                </c:pt>
                <c:pt idx="1639">
                  <c:v>0.31142932260172174</c:v>
                </c:pt>
                <c:pt idx="1640">
                  <c:v>0.30982420232226882</c:v>
                </c:pt>
                <c:pt idx="1641">
                  <c:v>0.30520836580120303</c:v>
                </c:pt>
                <c:pt idx="1642">
                  <c:v>0.30721326606275245</c:v>
                </c:pt>
                <c:pt idx="1643">
                  <c:v>0.30250513602045093</c:v>
                </c:pt>
                <c:pt idx="1644">
                  <c:v>0.3022312163794616</c:v>
                </c:pt>
                <c:pt idx="1645">
                  <c:v>0.29685817754722521</c:v>
                </c:pt>
                <c:pt idx="1646">
                  <c:v>0.296872626926453</c:v>
                </c:pt>
                <c:pt idx="1647">
                  <c:v>0.29135571820113526</c:v>
                </c:pt>
                <c:pt idx="1648">
                  <c:v>0.28903702258125819</c:v>
                </c:pt>
                <c:pt idx="1649">
                  <c:v>0.28067264757691213</c:v>
                </c:pt>
                <c:pt idx="1650">
                  <c:v>0.27439277425700981</c:v>
                </c:pt>
                <c:pt idx="1651">
                  <c:v>0.27846584099081095</c:v>
                </c:pt>
                <c:pt idx="1652">
                  <c:v>0.28323296874359927</c:v>
                </c:pt>
                <c:pt idx="1653">
                  <c:v>0.27779655635108425</c:v>
                </c:pt>
                <c:pt idx="1654">
                  <c:v>0.28178204839271448</c:v>
                </c:pt>
                <c:pt idx="1655">
                  <c:v>0.2793455487995411</c:v>
                </c:pt>
                <c:pt idx="1656">
                  <c:v>0.28344383075961432</c:v>
                </c:pt>
                <c:pt idx="1657">
                  <c:v>0.28356878237744598</c:v>
                </c:pt>
                <c:pt idx="1658">
                  <c:v>0.29515425274339546</c:v>
                </c:pt>
                <c:pt idx="1659">
                  <c:v>0.29443204616090202</c:v>
                </c:pt>
                <c:pt idx="1660">
                  <c:v>0.29364285220738218</c:v>
                </c:pt>
                <c:pt idx="1661">
                  <c:v>0.2905877727340036</c:v>
                </c:pt>
                <c:pt idx="1662">
                  <c:v>0.2936116465791867</c:v>
                </c:pt>
                <c:pt idx="1663">
                  <c:v>0.30507080486581328</c:v>
                </c:pt>
                <c:pt idx="1664">
                  <c:v>0.29449755963708335</c:v>
                </c:pt>
                <c:pt idx="1665">
                  <c:v>0.29157560052940901</c:v>
                </c:pt>
                <c:pt idx="1666">
                  <c:v>0.2882842775186425</c:v>
                </c:pt>
                <c:pt idx="1667">
                  <c:v>0.30034077023686945</c:v>
                </c:pt>
                <c:pt idx="1668">
                  <c:v>0.31428152188487446</c:v>
                </c:pt>
                <c:pt idx="1669">
                  <c:v>0.30163203659243099</c:v>
                </c:pt>
                <c:pt idx="1670">
                  <c:v>0.32440446072577878</c:v>
                </c:pt>
                <c:pt idx="1671">
                  <c:v>0.31757372138679196</c:v>
                </c:pt>
                <c:pt idx="1672">
                  <c:v>0.32819931591410478</c:v>
                </c:pt>
                <c:pt idx="1673">
                  <c:v>0.33959404860993403</c:v>
                </c:pt>
                <c:pt idx="1674">
                  <c:v>0.35990567947212893</c:v>
                </c:pt>
                <c:pt idx="1675">
                  <c:v>0.3674958507063919</c:v>
                </c:pt>
                <c:pt idx="1676">
                  <c:v>0.37082307577478835</c:v>
                </c:pt>
                <c:pt idx="1677">
                  <c:v>0.36247365504747786</c:v>
                </c:pt>
                <c:pt idx="1678">
                  <c:v>0.3662723031302817</c:v>
                </c:pt>
                <c:pt idx="1679">
                  <c:v>0.38853748140351585</c:v>
                </c:pt>
                <c:pt idx="1680">
                  <c:v>0.40295924460322441</c:v>
                </c:pt>
                <c:pt idx="1681">
                  <c:v>0.39460980275076163</c:v>
                </c:pt>
                <c:pt idx="1682">
                  <c:v>0.41488309250127142</c:v>
                </c:pt>
                <c:pt idx="1683">
                  <c:v>0.41943743721962323</c:v>
                </c:pt>
                <c:pt idx="1684">
                  <c:v>0.47257145893372665</c:v>
                </c:pt>
                <c:pt idx="1685">
                  <c:v>0.47636674619901975</c:v>
                </c:pt>
                <c:pt idx="1686">
                  <c:v>0.47640036638007377</c:v>
                </c:pt>
                <c:pt idx="1687">
                  <c:v>0.4801957400725676</c:v>
                </c:pt>
                <c:pt idx="1688">
                  <c:v>0.46627936986675711</c:v>
                </c:pt>
                <c:pt idx="1689">
                  <c:v>0.42706050837765486</c:v>
                </c:pt>
                <c:pt idx="1690">
                  <c:v>0.39417079730882021</c:v>
                </c:pt>
                <c:pt idx="1691">
                  <c:v>0.39923130836983223</c:v>
                </c:pt>
                <c:pt idx="1692">
                  <c:v>0.39799447887067352</c:v>
                </c:pt>
                <c:pt idx="1693">
                  <c:v>0.41440926273600898</c:v>
                </c:pt>
                <c:pt idx="1694">
                  <c:v>0.40934876447935054</c:v>
                </c:pt>
                <c:pt idx="1695">
                  <c:v>0.3911309707553805</c:v>
                </c:pt>
                <c:pt idx="1696">
                  <c:v>0.39543239427354027</c:v>
                </c:pt>
                <c:pt idx="1697">
                  <c:v>0.39841296623209166</c:v>
                </c:pt>
                <c:pt idx="1698">
                  <c:v>0.40017930353671183</c:v>
                </c:pt>
                <c:pt idx="1699">
                  <c:v>0.40974887431627938</c:v>
                </c:pt>
                <c:pt idx="1700">
                  <c:v>0.42410323048563048</c:v>
                </c:pt>
                <c:pt idx="1701">
                  <c:v>0.43543561693511834</c:v>
                </c:pt>
                <c:pt idx="1702">
                  <c:v>0.43543200207508059</c:v>
                </c:pt>
                <c:pt idx="1703">
                  <c:v>0.42284049328494833</c:v>
                </c:pt>
                <c:pt idx="1704">
                  <c:v>0.42934906670880957</c:v>
                </c:pt>
                <c:pt idx="1705">
                  <c:v>0.43536949099821154</c:v>
                </c:pt>
                <c:pt idx="1706">
                  <c:v>0.4361220440343867</c:v>
                </c:pt>
                <c:pt idx="1707">
                  <c:v>0.4556884229749425</c:v>
                </c:pt>
                <c:pt idx="1708">
                  <c:v>0.47049601019463627</c:v>
                </c:pt>
                <c:pt idx="1709">
                  <c:v>0.45918935596995825</c:v>
                </c:pt>
                <c:pt idx="1710">
                  <c:v>0.46746737707138664</c:v>
                </c:pt>
                <c:pt idx="1711">
                  <c:v>0.48804073799997494</c:v>
                </c:pt>
                <c:pt idx="1712">
                  <c:v>0.49381402956020914</c:v>
                </c:pt>
                <c:pt idx="1713">
                  <c:v>0.51313330473631802</c:v>
                </c:pt>
                <c:pt idx="1714">
                  <c:v>0.52843521647188085</c:v>
                </c:pt>
                <c:pt idx="1715">
                  <c:v>0.51354188799040124</c:v>
                </c:pt>
                <c:pt idx="1716">
                  <c:v>0.51772296696148867</c:v>
                </c:pt>
                <c:pt idx="1717">
                  <c:v>0.50326846251423651</c:v>
                </c:pt>
                <c:pt idx="1718">
                  <c:v>0.47909103132983732</c:v>
                </c:pt>
                <c:pt idx="1719">
                  <c:v>0.49075062653834767</c:v>
                </c:pt>
                <c:pt idx="1720">
                  <c:v>0.4835062433993913</c:v>
                </c:pt>
                <c:pt idx="1721">
                  <c:v>0.48102130831832013</c:v>
                </c:pt>
                <c:pt idx="1722">
                  <c:v>0.47214084967806214</c:v>
                </c:pt>
                <c:pt idx="1723">
                  <c:v>0.48429563313056612</c:v>
                </c:pt>
                <c:pt idx="1724">
                  <c:v>0.48430297083054219</c:v>
                </c:pt>
                <c:pt idx="1725">
                  <c:v>0.49188586703228143</c:v>
                </c:pt>
                <c:pt idx="1726">
                  <c:v>0.47955623176755191</c:v>
                </c:pt>
                <c:pt idx="1727">
                  <c:v>0.52443610413116759</c:v>
                </c:pt>
                <c:pt idx="1728">
                  <c:v>0.50988713451878676</c:v>
                </c:pt>
                <c:pt idx="1729">
                  <c:v>0.49977683360170833</c:v>
                </c:pt>
                <c:pt idx="1730">
                  <c:v>0.51210646886643807</c:v>
                </c:pt>
                <c:pt idx="1731">
                  <c:v>0.51999743543586496</c:v>
                </c:pt>
                <c:pt idx="1732">
                  <c:v>0.51407921050879479</c:v>
                </c:pt>
                <c:pt idx="1733">
                  <c:v>0.5571160425129924</c:v>
                </c:pt>
                <c:pt idx="1734">
                  <c:v>0.56994196271110353</c:v>
                </c:pt>
                <c:pt idx="1735">
                  <c:v>0.58844088607376377</c:v>
                </c:pt>
                <c:pt idx="1736">
                  <c:v>0.61258976257660103</c:v>
                </c:pt>
                <c:pt idx="1737">
                  <c:v>0.57693783765166651</c:v>
                </c:pt>
                <c:pt idx="1738">
                  <c:v>0.56340716977790017</c:v>
                </c:pt>
                <c:pt idx="1739">
                  <c:v>0.57644969162301996</c:v>
                </c:pt>
                <c:pt idx="1740">
                  <c:v>0.58678222705500604</c:v>
                </c:pt>
                <c:pt idx="1741">
                  <c:v>0.63475471298922703</c:v>
                </c:pt>
                <c:pt idx="1742">
                  <c:v>0.66427624279490161</c:v>
                </c:pt>
                <c:pt idx="1743">
                  <c:v>0.64459522292445204</c:v>
                </c:pt>
                <c:pt idx="1744">
                  <c:v>0.6182718588477254</c:v>
                </c:pt>
                <c:pt idx="1745">
                  <c:v>0.63598880147214398</c:v>
                </c:pt>
                <c:pt idx="1746">
                  <c:v>0.64582933561633715</c:v>
                </c:pt>
                <c:pt idx="1747">
                  <c:v>0.60360577573629803</c:v>
                </c:pt>
                <c:pt idx="1748">
                  <c:v>0.59207175230844267</c:v>
                </c:pt>
                <c:pt idx="1749">
                  <c:v>0.59781599139335917</c:v>
                </c:pt>
                <c:pt idx="1750">
                  <c:v>0.58259897649651382</c:v>
                </c:pt>
                <c:pt idx="1751">
                  <c:v>0.56010982784072527</c:v>
                </c:pt>
                <c:pt idx="1752">
                  <c:v>0.54308602613396761</c:v>
                </c:pt>
                <c:pt idx="1753">
                  <c:v>0.49510516623049328</c:v>
                </c:pt>
                <c:pt idx="1754">
                  <c:v>0.46551807391812416</c:v>
                </c:pt>
                <c:pt idx="1755">
                  <c:v>0.49601104002977525</c:v>
                </c:pt>
                <c:pt idx="1756">
                  <c:v>0.51414084289187612</c:v>
                </c:pt>
                <c:pt idx="1757">
                  <c:v>0.49601465562661029</c:v>
                </c:pt>
                <c:pt idx="1758">
                  <c:v>0.48876418072050387</c:v>
                </c:pt>
                <c:pt idx="1759">
                  <c:v>0.46174517672294324</c:v>
                </c:pt>
                <c:pt idx="1760">
                  <c:v>0.46639188332276471</c:v>
                </c:pt>
                <c:pt idx="1761">
                  <c:v>0.46789780676266113</c:v>
                </c:pt>
                <c:pt idx="1762">
                  <c:v>0.46239737509835011</c:v>
                </c:pt>
                <c:pt idx="1763">
                  <c:v>0.4647888671263114</c:v>
                </c:pt>
                <c:pt idx="1764">
                  <c:v>0.44973534872399434</c:v>
                </c:pt>
                <c:pt idx="1765">
                  <c:v>0.43661017272731617</c:v>
                </c:pt>
                <c:pt idx="1766">
                  <c:v>0.42229179891275814</c:v>
                </c:pt>
                <c:pt idx="1767">
                  <c:v>0.41427016498625124</c:v>
                </c:pt>
                <c:pt idx="1768">
                  <c:v>0.40591582645890623</c:v>
                </c:pt>
                <c:pt idx="1769">
                  <c:v>0.39398105713412779</c:v>
                </c:pt>
                <c:pt idx="1770">
                  <c:v>0.35817674915979225</c:v>
                </c:pt>
                <c:pt idx="1771">
                  <c:v>0.43217231897341879</c:v>
                </c:pt>
                <c:pt idx="1772">
                  <c:v>0.38024493073679988</c:v>
                </c:pt>
                <c:pt idx="1773">
                  <c:v>0.39219510329729168</c:v>
                </c:pt>
                <c:pt idx="1774">
                  <c:v>0.38024493073679988</c:v>
                </c:pt>
                <c:pt idx="1775">
                  <c:v>0.38057984353428442</c:v>
                </c:pt>
                <c:pt idx="1776">
                  <c:v>0.39451213547643649</c:v>
                </c:pt>
                <c:pt idx="1777">
                  <c:v>0.39499372074437722</c:v>
                </c:pt>
                <c:pt idx="1778">
                  <c:v>0.38303912276075702</c:v>
                </c:pt>
                <c:pt idx="1779">
                  <c:v>0.40513164052385409</c:v>
                </c:pt>
                <c:pt idx="1780">
                  <c:v>0.39377777777777778</c:v>
                </c:pt>
                <c:pt idx="1781">
                  <c:v>0.41392927746199093</c:v>
                </c:pt>
                <c:pt idx="1782">
                  <c:v>0.39378108155515634</c:v>
                </c:pt>
                <c:pt idx="1783">
                  <c:v>0.38841583409022107</c:v>
                </c:pt>
                <c:pt idx="1784">
                  <c:v>0.40034116629730621</c:v>
                </c:pt>
                <c:pt idx="1785">
                  <c:v>0.3878004410273066</c:v>
                </c:pt>
                <c:pt idx="1786">
                  <c:v>0.3873297608709465</c:v>
                </c:pt>
                <c:pt idx="1787">
                  <c:v>0.3888660220572151</c:v>
                </c:pt>
                <c:pt idx="1788">
                  <c:v>0.38263559922816537</c:v>
                </c:pt>
                <c:pt idx="1789">
                  <c:v>0.38733045695050206</c:v>
                </c:pt>
                <c:pt idx="1790">
                  <c:v>0.37980999184071584</c:v>
                </c:pt>
                <c:pt idx="1791">
                  <c:v>0.37957996905133684</c:v>
                </c:pt>
                <c:pt idx="1792">
                  <c:v>0.38753276119019486</c:v>
                </c:pt>
                <c:pt idx="1793">
                  <c:v>0.3847296647029419</c:v>
                </c:pt>
                <c:pt idx="1794">
                  <c:v>0.38578734632795486</c:v>
                </c:pt>
                <c:pt idx="1795">
                  <c:v>0.38292943567631998</c:v>
                </c:pt>
                <c:pt idx="1796">
                  <c:v>0.39876095110157084</c:v>
                </c:pt>
                <c:pt idx="1797">
                  <c:v>0.42367230625600949</c:v>
                </c:pt>
                <c:pt idx="1798">
                  <c:v>0.40970332205725879</c:v>
                </c:pt>
                <c:pt idx="1799">
                  <c:v>0.42483638827257209</c:v>
                </c:pt>
                <c:pt idx="1800">
                  <c:v>0.43779028951075616</c:v>
                </c:pt>
                <c:pt idx="1801">
                  <c:v>0.43946142568156943</c:v>
                </c:pt>
                <c:pt idx="1802">
                  <c:v>0.43598166397565086</c:v>
                </c:pt>
                <c:pt idx="1803">
                  <c:v>0.42206261715197746</c:v>
                </c:pt>
                <c:pt idx="1804">
                  <c:v>0.41231928437540599</c:v>
                </c:pt>
                <c:pt idx="1805">
                  <c:v>0.42786221999517471</c:v>
                </c:pt>
                <c:pt idx="1806">
                  <c:v>0.39563303414787687</c:v>
                </c:pt>
                <c:pt idx="1807">
                  <c:v>0.38781181336435311</c:v>
                </c:pt>
                <c:pt idx="1808">
                  <c:v>0.38026782971075601</c:v>
                </c:pt>
                <c:pt idx="1809">
                  <c:v>0.36284316008105133</c:v>
                </c:pt>
                <c:pt idx="1810">
                  <c:v>0.34970343407891669</c:v>
                </c:pt>
                <c:pt idx="1811">
                  <c:v>0.3429806799674735</c:v>
                </c:pt>
                <c:pt idx="1812">
                  <c:v>0.33613754424677067</c:v>
                </c:pt>
                <c:pt idx="1813">
                  <c:v>0.33253213214315203</c:v>
                </c:pt>
                <c:pt idx="1814">
                  <c:v>0.31877104299881664</c:v>
                </c:pt>
                <c:pt idx="1815">
                  <c:v>0.30967305070322015</c:v>
                </c:pt>
                <c:pt idx="1816">
                  <c:v>0.32188762813634386</c:v>
                </c:pt>
                <c:pt idx="1817">
                  <c:v>0.31503846944133707</c:v>
                </c:pt>
                <c:pt idx="1818">
                  <c:v>0.31527958239303389</c:v>
                </c:pt>
                <c:pt idx="1819">
                  <c:v>0.3254217250943483</c:v>
                </c:pt>
                <c:pt idx="1820">
                  <c:v>0.32724048560905739</c:v>
                </c:pt>
                <c:pt idx="1821">
                  <c:v>0.3340603416939294</c:v>
                </c:pt>
                <c:pt idx="1822">
                  <c:v>0.33160080095606759</c:v>
                </c:pt>
                <c:pt idx="1823">
                  <c:v>0.3410013715558331</c:v>
                </c:pt>
                <c:pt idx="1824">
                  <c:v>0.34901840268990192</c:v>
                </c:pt>
                <c:pt idx="1825">
                  <c:v>0.36257637658628306</c:v>
                </c:pt>
                <c:pt idx="1826">
                  <c:v>0.38065367511479087</c:v>
                </c:pt>
                <c:pt idx="1827">
                  <c:v>0.39605668098346247</c:v>
                </c:pt>
                <c:pt idx="1828">
                  <c:v>0.37722138833817542</c:v>
                </c:pt>
                <c:pt idx="1829">
                  <c:v>0.38734801619360315</c:v>
                </c:pt>
                <c:pt idx="1830">
                  <c:v>0.37889027989112734</c:v>
                </c:pt>
                <c:pt idx="1831">
                  <c:v>0.38001406985028874</c:v>
                </c:pt>
                <c:pt idx="1832">
                  <c:v>0.35106953130781293</c:v>
                </c:pt>
                <c:pt idx="1833">
                  <c:v>0.3364109927912089</c:v>
                </c:pt>
                <c:pt idx="1834">
                  <c:v>0.34759434837941994</c:v>
                </c:pt>
                <c:pt idx="1835">
                  <c:v>0.3359332122634564</c:v>
                </c:pt>
                <c:pt idx="1836">
                  <c:v>0.31545031952999314</c:v>
                </c:pt>
                <c:pt idx="1837">
                  <c:v>0.31100623061266219</c:v>
                </c:pt>
                <c:pt idx="1838">
                  <c:v>0.28621071236115014</c:v>
                </c:pt>
                <c:pt idx="1839">
                  <c:v>0.28968122179860156</c:v>
                </c:pt>
                <c:pt idx="1840">
                  <c:v>0.30185846938639949</c:v>
                </c:pt>
                <c:pt idx="1841">
                  <c:v>0.29157284625532265</c:v>
                </c:pt>
                <c:pt idx="1842">
                  <c:v>0.29492711473430222</c:v>
                </c:pt>
                <c:pt idx="1843">
                  <c:v>0.30377375599636403</c:v>
                </c:pt>
                <c:pt idx="1844">
                  <c:v>0.298319587719996</c:v>
                </c:pt>
                <c:pt idx="1845">
                  <c:v>0.31931369169163859</c:v>
                </c:pt>
                <c:pt idx="1846">
                  <c:v>0.30917215282653143</c:v>
                </c:pt>
                <c:pt idx="1847">
                  <c:v>0.32096609152817468</c:v>
                </c:pt>
                <c:pt idx="1848">
                  <c:v>0.31948207575016641</c:v>
                </c:pt>
                <c:pt idx="1849">
                  <c:v>0.31649278403579273</c:v>
                </c:pt>
                <c:pt idx="1850">
                  <c:v>0.32753862649628229</c:v>
                </c:pt>
                <c:pt idx="1851">
                  <c:v>0.32038971236560321</c:v>
                </c:pt>
                <c:pt idx="1852">
                  <c:v>0.31454987621321995</c:v>
                </c:pt>
                <c:pt idx="1853">
                  <c:v>0.30655157924224374</c:v>
                </c:pt>
                <c:pt idx="1854">
                  <c:v>0.30839977351676429</c:v>
                </c:pt>
                <c:pt idx="1855">
                  <c:v>0.30923552458015879</c:v>
                </c:pt>
                <c:pt idx="1856">
                  <c:v>0.30504676326560931</c:v>
                </c:pt>
                <c:pt idx="1857">
                  <c:v>0.30458677181290028</c:v>
                </c:pt>
                <c:pt idx="1858">
                  <c:v>0.30087932027147279</c:v>
                </c:pt>
                <c:pt idx="1859">
                  <c:v>0.29695378334525535</c:v>
                </c:pt>
                <c:pt idx="1860">
                  <c:v>0.29017940673504117</c:v>
                </c:pt>
                <c:pt idx="1861">
                  <c:v>0.2881815044484044</c:v>
                </c:pt>
                <c:pt idx="1862">
                  <c:v>0.28919588844013799</c:v>
                </c:pt>
                <c:pt idx="1863">
                  <c:v>0.28434576611160112</c:v>
                </c:pt>
                <c:pt idx="1864">
                  <c:v>0.28672338365236638</c:v>
                </c:pt>
                <c:pt idx="1865">
                  <c:v>0.29474846578226277</c:v>
                </c:pt>
                <c:pt idx="1866">
                  <c:v>0.30543522046991356</c:v>
                </c:pt>
                <c:pt idx="1867">
                  <c:v>0.29495134526159172</c:v>
                </c:pt>
                <c:pt idx="1868">
                  <c:v>0.30117068878563846</c:v>
                </c:pt>
                <c:pt idx="1869">
                  <c:v>0.32037626969570199</c:v>
                </c:pt>
                <c:pt idx="1870">
                  <c:v>0.30573494223891728</c:v>
                </c:pt>
                <c:pt idx="1871">
                  <c:v>0.31023329639723274</c:v>
                </c:pt>
                <c:pt idx="1872">
                  <c:v>0.34307292522991317</c:v>
                </c:pt>
                <c:pt idx="1873">
                  <c:v>0.34249381240931975</c:v>
                </c:pt>
                <c:pt idx="1874">
                  <c:v>0.35310224219253628</c:v>
                </c:pt>
                <c:pt idx="1875">
                  <c:v>0.33414216143756459</c:v>
                </c:pt>
                <c:pt idx="1876">
                  <c:v>0.35413774907975859</c:v>
                </c:pt>
                <c:pt idx="1877">
                  <c:v>0.33717559739166125</c:v>
                </c:pt>
                <c:pt idx="1878">
                  <c:v>0.33400192113202909</c:v>
                </c:pt>
                <c:pt idx="1879">
                  <c:v>0.33541157637543173</c:v>
                </c:pt>
                <c:pt idx="1880">
                  <c:v>0.33182085539030326</c:v>
                </c:pt>
                <c:pt idx="1881">
                  <c:v>0.33541157637543173</c:v>
                </c:pt>
                <c:pt idx="1882">
                  <c:v>0.33182085539030326</c:v>
                </c:pt>
                <c:pt idx="1883">
                  <c:v>0.31203913709081244</c:v>
                </c:pt>
                <c:pt idx="1884">
                  <c:v>0.31884647900554208</c:v>
                </c:pt>
                <c:pt idx="1885">
                  <c:v>0.31952755086112705</c:v>
                </c:pt>
                <c:pt idx="1886">
                  <c:v>0.3080942873864263</c:v>
                </c:pt>
                <c:pt idx="1887">
                  <c:v>0.3166993081117786</c:v>
                </c:pt>
                <c:pt idx="1888">
                  <c:v>0.32009246844896366</c:v>
                </c:pt>
                <c:pt idx="1889">
                  <c:v>0.31633699875164289</c:v>
                </c:pt>
                <c:pt idx="1890">
                  <c:v>0.32168822546397835</c:v>
                </c:pt>
                <c:pt idx="1891">
                  <c:v>0.33252001963454281</c:v>
                </c:pt>
                <c:pt idx="1892">
                  <c:v>0.35977244290082067</c:v>
                </c:pt>
                <c:pt idx="1893">
                  <c:v>0.39363075013068483</c:v>
                </c:pt>
                <c:pt idx="1894">
                  <c:v>0.39342824150580014</c:v>
                </c:pt>
                <c:pt idx="1895">
                  <c:v>0.34038412103852234</c:v>
                </c:pt>
                <c:pt idx="1896">
                  <c:v>0.35383385767209896</c:v>
                </c:pt>
                <c:pt idx="1897">
                  <c:v>0.37698436958692505</c:v>
                </c:pt>
                <c:pt idx="1898">
                  <c:v>0.3957500834194656</c:v>
                </c:pt>
                <c:pt idx="1899">
                  <c:v>0.40054373095266627</c:v>
                </c:pt>
                <c:pt idx="1900">
                  <c:v>0.38499664642362874</c:v>
                </c:pt>
                <c:pt idx="1901">
                  <c:v>0.40979195539238322</c:v>
                </c:pt>
                <c:pt idx="1902">
                  <c:v>0.41018289829055843</c:v>
                </c:pt>
                <c:pt idx="1903">
                  <c:v>0.40003525414388141</c:v>
                </c:pt>
                <c:pt idx="1904">
                  <c:v>0.39394848063667776</c:v>
                </c:pt>
                <c:pt idx="1905">
                  <c:v>0.39394848063667776</c:v>
                </c:pt>
                <c:pt idx="1906">
                  <c:v>0.41420935971569928</c:v>
                </c:pt>
                <c:pt idx="1907">
                  <c:v>0.40610500808409067</c:v>
                </c:pt>
                <c:pt idx="1908">
                  <c:v>0.40087165347327236</c:v>
                </c:pt>
                <c:pt idx="1909">
                  <c:v>0.37300966854437267</c:v>
                </c:pt>
                <c:pt idx="1910">
                  <c:v>0.34237869504762442</c:v>
                </c:pt>
                <c:pt idx="1911">
                  <c:v>0.35963764308163215</c:v>
                </c:pt>
                <c:pt idx="1912">
                  <c:v>0.36181963809668027</c:v>
                </c:pt>
                <c:pt idx="1913">
                  <c:v>0.36327567999713617</c:v>
                </c:pt>
                <c:pt idx="1914">
                  <c:v>0.35662759600352345</c:v>
                </c:pt>
                <c:pt idx="1915">
                  <c:v>0.35845619176807242</c:v>
                </c:pt>
                <c:pt idx="1916">
                  <c:v>0.35299020711613593</c:v>
                </c:pt>
                <c:pt idx="1917">
                  <c:v>0.36047863664891389</c:v>
                </c:pt>
                <c:pt idx="1918">
                  <c:v>0.35578206361867215</c:v>
                </c:pt>
                <c:pt idx="1919">
                  <c:v>0.35722529783446477</c:v>
                </c:pt>
                <c:pt idx="1920">
                  <c:v>0.36844506043965675</c:v>
                </c:pt>
                <c:pt idx="1921">
                  <c:v>0.33830584853252521</c:v>
                </c:pt>
                <c:pt idx="1922">
                  <c:v>0.3429225946000376</c:v>
                </c:pt>
                <c:pt idx="1923">
                  <c:v>0.34593511347018358</c:v>
                </c:pt>
                <c:pt idx="1924">
                  <c:v>0.3515471785607327</c:v>
                </c:pt>
                <c:pt idx="1925">
                  <c:v>0.3563775830588054</c:v>
                </c:pt>
                <c:pt idx="1926">
                  <c:v>0.36545874351518193</c:v>
                </c:pt>
                <c:pt idx="1927">
                  <c:v>0.35018258696905624</c:v>
                </c:pt>
                <c:pt idx="1928">
                  <c:v>0.35395705175613101</c:v>
                </c:pt>
                <c:pt idx="1929">
                  <c:v>0.36001461849163063</c:v>
                </c:pt>
                <c:pt idx="1930">
                  <c:v>0.35763644482792545</c:v>
                </c:pt>
                <c:pt idx="1931">
                  <c:v>0.35385209236847492</c:v>
                </c:pt>
                <c:pt idx="1932">
                  <c:v>0.35116570974777606</c:v>
                </c:pt>
                <c:pt idx="1933">
                  <c:v>0.34795658597355628</c:v>
                </c:pt>
                <c:pt idx="1934">
                  <c:v>0.33981389104206916</c:v>
                </c:pt>
                <c:pt idx="1935">
                  <c:v>0.34193500752185035</c:v>
                </c:pt>
                <c:pt idx="1936">
                  <c:v>0.35093932069150457</c:v>
                </c:pt>
                <c:pt idx="1937">
                  <c:v>0.34734498644389089</c:v>
                </c:pt>
                <c:pt idx="1938">
                  <c:v>0.38040866709282084</c:v>
                </c:pt>
                <c:pt idx="1939">
                  <c:v>0.25570431767810375</c:v>
                </c:pt>
                <c:pt idx="1940">
                  <c:v>0.24491144486412852</c:v>
                </c:pt>
                <c:pt idx="1941">
                  <c:v>0.24448604426710552</c:v>
                </c:pt>
                <c:pt idx="1942">
                  <c:v>0.24585587720019286</c:v>
                </c:pt>
                <c:pt idx="1943">
                  <c:v>0.22823881234647025</c:v>
                </c:pt>
                <c:pt idx="1944">
                  <c:v>0.21324102312949389</c:v>
                </c:pt>
                <c:pt idx="1945">
                  <c:v>0.20558946506110809</c:v>
                </c:pt>
                <c:pt idx="1946">
                  <c:v>0.22567063371479223</c:v>
                </c:pt>
                <c:pt idx="1947">
                  <c:v>0.22940017810161151</c:v>
                </c:pt>
                <c:pt idx="1948">
                  <c:v>0.22551495718857395</c:v>
                </c:pt>
                <c:pt idx="1949">
                  <c:v>0.23644177638310926</c:v>
                </c:pt>
                <c:pt idx="1950">
                  <c:v>0.26479398719725067</c:v>
                </c:pt>
                <c:pt idx="1951">
                  <c:v>0.24052751476080525</c:v>
                </c:pt>
                <c:pt idx="1952">
                  <c:v>0.26471259194406604</c:v>
                </c:pt>
                <c:pt idx="1953">
                  <c:v>0.25273652310347061</c:v>
                </c:pt>
                <c:pt idx="1954">
                  <c:v>0.24551606593765096</c:v>
                </c:pt>
                <c:pt idx="1955">
                  <c:v>0.22658340767172169</c:v>
                </c:pt>
                <c:pt idx="1956">
                  <c:v>0.21282835799493127</c:v>
                </c:pt>
                <c:pt idx="1957">
                  <c:v>0.205070356175306</c:v>
                </c:pt>
                <c:pt idx="1958">
                  <c:v>0.211978335509454</c:v>
                </c:pt>
                <c:pt idx="1959">
                  <c:v>0.21412069236631059</c:v>
                </c:pt>
                <c:pt idx="1960">
                  <c:v>0.21383851062390558</c:v>
                </c:pt>
                <c:pt idx="1961">
                  <c:v>0.22331110536178156</c:v>
                </c:pt>
                <c:pt idx="1962">
                  <c:v>0.23435086517252368</c:v>
                </c:pt>
                <c:pt idx="1963">
                  <c:v>0.21619816902528588</c:v>
                </c:pt>
                <c:pt idx="1964">
                  <c:v>0.22220074066413975</c:v>
                </c:pt>
                <c:pt idx="1965">
                  <c:v>0.21089702351764461</c:v>
                </c:pt>
                <c:pt idx="1966">
                  <c:v>0.21037316708049514</c:v>
                </c:pt>
                <c:pt idx="1967">
                  <c:v>0.22076490221831291</c:v>
                </c:pt>
                <c:pt idx="1968">
                  <c:v>0.21799842509272116</c:v>
                </c:pt>
                <c:pt idx="1969">
                  <c:v>0.22052217644534733</c:v>
                </c:pt>
                <c:pt idx="1970">
                  <c:v>0.24225838974506697</c:v>
                </c:pt>
                <c:pt idx="1971">
                  <c:v>0.24468494006293984</c:v>
                </c:pt>
                <c:pt idx="1972">
                  <c:v>0.25941564911975767</c:v>
                </c:pt>
                <c:pt idx="1973">
                  <c:v>0.25973104742137543</c:v>
                </c:pt>
                <c:pt idx="1974">
                  <c:v>0.25938748176317228</c:v>
                </c:pt>
                <c:pt idx="1975">
                  <c:v>0.26212560805725427</c:v>
                </c:pt>
                <c:pt idx="1976">
                  <c:v>0.25090097769164288</c:v>
                </c:pt>
                <c:pt idx="1977">
                  <c:v>0.25426180081814631</c:v>
                </c:pt>
                <c:pt idx="1978">
                  <c:v>0.25948009833150265</c:v>
                </c:pt>
                <c:pt idx="1979">
                  <c:v>0.25738939740655997</c:v>
                </c:pt>
                <c:pt idx="1980">
                  <c:v>0.2546946765608078</c:v>
                </c:pt>
                <c:pt idx="1981">
                  <c:v>0.26375702541795465</c:v>
                </c:pt>
                <c:pt idx="1982">
                  <c:v>0.27761016128431493</c:v>
                </c:pt>
                <c:pt idx="1983">
                  <c:v>0.28263570464519705</c:v>
                </c:pt>
                <c:pt idx="1984">
                  <c:v>0.38449013187324432</c:v>
                </c:pt>
                <c:pt idx="1985">
                  <c:v>0.32860082794061674</c:v>
                </c:pt>
                <c:pt idx="1986">
                  <c:v>0.32858102482450668</c:v>
                </c:pt>
                <c:pt idx="1987">
                  <c:v>0.34378716679525034</c:v>
                </c:pt>
                <c:pt idx="1988">
                  <c:v>0.36594250032522435</c:v>
                </c:pt>
                <c:pt idx="1989">
                  <c:v>0.35594327909560208</c:v>
                </c:pt>
                <c:pt idx="1990">
                  <c:v>0.35499146555402783</c:v>
                </c:pt>
                <c:pt idx="1991">
                  <c:v>0.36885495911943167</c:v>
                </c:pt>
                <c:pt idx="1992">
                  <c:v>0.37283343941031077</c:v>
                </c:pt>
                <c:pt idx="1993">
                  <c:v>0.39202213034120081</c:v>
                </c:pt>
                <c:pt idx="1994">
                  <c:v>0.38331372285597443</c:v>
                </c:pt>
                <c:pt idx="1995">
                  <c:v>0.37808602284048609</c:v>
                </c:pt>
                <c:pt idx="1996">
                  <c:v>0.35771367212505423</c:v>
                </c:pt>
                <c:pt idx="1997">
                  <c:v>0.37181000616095616</c:v>
                </c:pt>
                <c:pt idx="1998">
                  <c:v>0.37576353399995877</c:v>
                </c:pt>
                <c:pt idx="1999">
                  <c:v>0.36884681279474374</c:v>
                </c:pt>
                <c:pt idx="2000">
                  <c:v>0.36499573714923517</c:v>
                </c:pt>
                <c:pt idx="2001">
                  <c:v>0.35807825696922091</c:v>
                </c:pt>
                <c:pt idx="2002">
                  <c:v>0.33824781097231349</c:v>
                </c:pt>
                <c:pt idx="2003">
                  <c:v>0.33460759898156467</c:v>
                </c:pt>
                <c:pt idx="2004">
                  <c:v>0.30486862611995114</c:v>
                </c:pt>
                <c:pt idx="2005">
                  <c:v>0.34464484394214434</c:v>
                </c:pt>
                <c:pt idx="2006">
                  <c:v>0.35393693312106556</c:v>
                </c:pt>
                <c:pt idx="2007">
                  <c:v>0.36208221986308886</c:v>
                </c:pt>
                <c:pt idx="2008">
                  <c:v>0.36437806867989142</c:v>
                </c:pt>
                <c:pt idx="2009">
                  <c:v>0.3622664607806043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587F-4A0A-AACC-89E030AE65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62794464"/>
        <c:axId val="862814016"/>
      </c:areaChart>
      <c:catAx>
        <c:axId val="862794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862814016"/>
        <c:crosses val="autoZero"/>
        <c:auto val="1"/>
        <c:lblAlgn val="ctr"/>
        <c:lblOffset val="100"/>
        <c:noMultiLvlLbl val="0"/>
      </c:catAx>
      <c:valAx>
        <c:axId val="86281401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anaFaNum" pitchFamily="2" charset="-78"/>
                <a:ea typeface="+mn-ea"/>
                <a:cs typeface="DanaFaNum" pitchFamily="2" charset="-78"/>
              </a:defRPr>
            </a:pPr>
            <a:endParaRPr lang="en-US"/>
          </a:p>
        </c:txPr>
        <c:crossAx val="86279446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DanaFaNum" pitchFamily="2" charset="-78"/>
          <a:cs typeface="DanaFaNum" pitchFamily="2" charset="-78"/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2431</cdr:x>
      <cdr:y>0.17107</cdr:y>
    </cdr:from>
    <cdr:to>
      <cdr:x>0.78166</cdr:x>
      <cdr:y>0.20944</cdr:y>
    </cdr:to>
    <cdr:sp macro="" textlink="">
      <cdr:nvSpPr>
        <cdr:cNvPr id="2" name="TextBox 3">
          <a:extLst xmlns:a="http://schemas.openxmlformats.org/drawingml/2006/main">
            <a:ext uri="{FF2B5EF4-FFF2-40B4-BE49-F238E27FC236}">
              <a16:creationId xmlns:a16="http://schemas.microsoft.com/office/drawing/2014/main" id="{D59EC43F-4A1B-4AAC-8997-82BD9FFD9E0D}"/>
            </a:ext>
          </a:extLst>
        </cdr:cNvPr>
        <cdr:cNvSpPr txBox="1"/>
      </cdr:nvSpPr>
      <cdr:spPr>
        <a:xfrm xmlns:a="http://schemas.openxmlformats.org/drawingml/2006/main">
          <a:off x="8912774" y="1081044"/>
          <a:ext cx="705706" cy="242472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rtlCol="0" anchor="ctr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/>
          <a:r>
            <a:rPr lang="en-US" sz="800" b="0" i="0" u="none" strike="noStrike">
              <a:solidFill>
                <a:schemeClr val="tx1"/>
              </a:solidFill>
              <a:effectLst/>
              <a:latin typeface="DanaFaNum" pitchFamily="2" charset="-78"/>
              <a:ea typeface="+mn-ea"/>
              <a:cs typeface="DanaFaNum" pitchFamily="2" charset="-78"/>
            </a:rPr>
            <a:t> 2,532,938 </a:t>
          </a:r>
          <a:endParaRPr lang="en-US" sz="800">
            <a:latin typeface="DanaFaNum" pitchFamily="2" charset="-78"/>
            <a:cs typeface="DanaFaNum" pitchFamily="2" charset="-78"/>
          </a:endParaRPr>
        </a:p>
      </cdr:txBody>
    </cdr:sp>
  </cdr:relSizeAnchor>
  <cdr:relSizeAnchor xmlns:cdr="http://schemas.openxmlformats.org/drawingml/2006/chartDrawing">
    <cdr:from>
      <cdr:x>0.38188</cdr:x>
      <cdr:y>0.33497</cdr:y>
    </cdr:from>
    <cdr:to>
      <cdr:x>0.4367</cdr:x>
      <cdr:y>0.37311</cdr:y>
    </cdr:to>
    <cdr:sp macro="" textlink="">
      <cdr:nvSpPr>
        <cdr:cNvPr id="3" name="TextBox 3">
          <a:extLst xmlns:a="http://schemas.openxmlformats.org/drawingml/2006/main">
            <a:ext uri="{FF2B5EF4-FFF2-40B4-BE49-F238E27FC236}">
              <a16:creationId xmlns:a16="http://schemas.microsoft.com/office/drawing/2014/main" id="{94DF1996-7603-4F79-B661-C1078910922C}"/>
            </a:ext>
          </a:extLst>
        </cdr:cNvPr>
        <cdr:cNvSpPr txBox="1"/>
      </cdr:nvSpPr>
      <cdr:spPr>
        <a:xfrm xmlns:a="http://schemas.openxmlformats.org/drawingml/2006/main">
          <a:off x="4666836" y="2099396"/>
          <a:ext cx="669927" cy="239040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rtlCol="0" anchor="ctr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/>
          <a:r>
            <a:rPr lang="en-US" sz="800" b="0" i="0" u="none" strike="noStrike">
              <a:solidFill>
                <a:schemeClr val="tx1"/>
              </a:solidFill>
              <a:effectLst/>
              <a:latin typeface="DanaFaNum" pitchFamily="2" charset="-78"/>
              <a:ea typeface="+mn-ea"/>
              <a:cs typeface="DanaFaNum" pitchFamily="2" charset="-78"/>
            </a:rPr>
            <a:t> 1,975,510  </a:t>
          </a:r>
          <a:endParaRPr lang="en-US" sz="800">
            <a:latin typeface="DanaFaNum" pitchFamily="2" charset="-78"/>
            <a:cs typeface="DanaFaNum" pitchFamily="2" charset="-78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92878</cdr:x>
      <cdr:y>0.54562</cdr:y>
    </cdr:from>
    <cdr:to>
      <cdr:x>1</cdr:x>
      <cdr:y>0.720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9EA61A3D-CDC1-49A0-84D1-54288BC6A25C}"/>
            </a:ext>
          </a:extLst>
        </cdr:cNvPr>
        <cdr:cNvSpPr txBox="1"/>
      </cdr:nvSpPr>
      <cdr:spPr>
        <a:xfrm xmlns:a="http://schemas.openxmlformats.org/drawingml/2006/main">
          <a:off x="11925300" y="284797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7741</cdr:x>
      <cdr:y>0.11369</cdr:y>
    </cdr:from>
    <cdr:to>
      <cdr:x>0.79021</cdr:x>
      <cdr:y>0.16036</cdr:y>
    </cdr:to>
    <cdr:sp macro="" textlink="">
      <cdr:nvSpPr>
        <cdr:cNvPr id="3" name="TextBox 12">
          <a:extLst xmlns:a="http://schemas.openxmlformats.org/drawingml/2006/main">
            <a:ext uri="{FF2B5EF4-FFF2-40B4-BE49-F238E27FC236}">
              <a16:creationId xmlns:a16="http://schemas.microsoft.com/office/drawing/2014/main" id="{7D0178F0-F931-4322-8621-919E21EF206F}"/>
            </a:ext>
          </a:extLst>
        </cdr:cNvPr>
        <cdr:cNvSpPr txBox="1"/>
      </cdr:nvSpPr>
      <cdr:spPr>
        <a:xfrm xmlns:a="http://schemas.openxmlformats.org/drawingml/2006/main">
          <a:off x="7904069" y="626997"/>
          <a:ext cx="1316164" cy="25738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a-IR" sz="900" dirty="0">
              <a:latin typeface="DanaFaNum" pitchFamily="2" charset="-78"/>
              <a:cs typeface="DanaFaNum" pitchFamily="2" charset="-78"/>
            </a:rPr>
            <a:t>حذف دلار 28500 تومانی</a:t>
          </a:r>
          <a:endParaRPr lang="en-US" sz="900" dirty="0">
            <a:latin typeface="DanaFaNum" pitchFamily="2" charset="-78"/>
            <a:cs typeface="DanaFaNum" pitchFamily="2" charset="-78"/>
          </a:endParaRPr>
        </a:p>
      </cdr:txBody>
    </cdr:sp>
  </cdr:relSizeAnchor>
  <cdr:relSizeAnchor xmlns:cdr="http://schemas.openxmlformats.org/drawingml/2006/chartDrawing">
    <cdr:from>
      <cdr:x>0.04865</cdr:x>
      <cdr:y>0.07551</cdr:y>
    </cdr:from>
    <cdr:to>
      <cdr:x>0.20171</cdr:x>
      <cdr:y>0.12218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5A5CE2D9-4F32-4A08-919D-E14C65AF689D}"/>
            </a:ext>
          </a:extLst>
        </cdr:cNvPr>
        <cdr:cNvSpPr txBox="1"/>
      </cdr:nvSpPr>
      <cdr:spPr>
        <a:xfrm xmlns:a="http://schemas.openxmlformats.org/drawingml/2006/main">
          <a:off x="567654" y="416436"/>
          <a:ext cx="1785923" cy="25737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a-IR" sz="900" dirty="0">
              <a:latin typeface="DanaFaNum" pitchFamily="2" charset="-78"/>
              <a:cs typeface="DanaFaNum" pitchFamily="2" charset="-78"/>
            </a:rPr>
            <a:t>حذف دلار 4200 تومانی</a:t>
          </a:r>
          <a:endParaRPr lang="en-US" sz="900" dirty="0">
            <a:latin typeface="DanaFaNum" pitchFamily="2" charset="-78"/>
            <a:cs typeface="DanaFaNum" pitchFamily="2" charset="-78"/>
          </a:endParaRPr>
        </a:p>
      </cdr:txBody>
    </cdr:sp>
  </cdr:relSizeAnchor>
  <cdr:relSizeAnchor xmlns:cdr="http://schemas.openxmlformats.org/drawingml/2006/chartDrawing">
    <cdr:from>
      <cdr:x>0.93469</cdr:x>
      <cdr:y>0.76742</cdr:y>
    </cdr:from>
    <cdr:to>
      <cdr:x>0.97469</cdr:x>
      <cdr:y>0.81409</cdr:y>
    </cdr:to>
    <cdr:sp macro="" textlink="">
      <cdr:nvSpPr>
        <cdr:cNvPr id="5" name="TextBox 12">
          <a:extLst xmlns:a="http://schemas.openxmlformats.org/drawingml/2006/main">
            <a:ext uri="{FF2B5EF4-FFF2-40B4-BE49-F238E27FC236}">
              <a16:creationId xmlns:a16="http://schemas.microsoft.com/office/drawing/2014/main" id="{6F83162C-F02D-479B-BEF2-38E496157C8E}"/>
            </a:ext>
          </a:extLst>
        </cdr:cNvPr>
        <cdr:cNvSpPr txBox="1"/>
      </cdr:nvSpPr>
      <cdr:spPr>
        <a:xfrm xmlns:a="http://schemas.openxmlformats.org/drawingml/2006/main">
          <a:off x="10906125" y="4232293"/>
          <a:ext cx="466725" cy="25738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a-IR" sz="900" dirty="0">
              <a:latin typeface="DanaFaNum" pitchFamily="2" charset="-78"/>
              <a:cs typeface="DanaFaNum" pitchFamily="2" charset="-78"/>
            </a:rPr>
            <a:t>36%</a:t>
          </a:r>
          <a:endParaRPr lang="en-US" sz="900" dirty="0">
            <a:latin typeface="DanaFaNum" pitchFamily="2" charset="-78"/>
            <a:cs typeface="DanaFaNum" pitchFamily="2" charset="-78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BCC2CB-CBC9-44DD-B7C4-F7E0BEBDD65A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FDC583-864B-4FB2-9CA3-5210962B3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638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46332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27927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8632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9640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85031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FDC583-864B-4FB2-9CA3-5210962B345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8220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FDC583-864B-4FB2-9CA3-5210962B345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6070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FDC583-864B-4FB2-9CA3-5210962B345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5258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62969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55354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FDC583-864B-4FB2-9CA3-5210962B3457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447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1342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FDC583-864B-4FB2-9CA3-5210962B3457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4186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FDC583-864B-4FB2-9CA3-5210962B345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94097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FDC583-864B-4FB2-9CA3-5210962B345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145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5468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3247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09602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60915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1836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0568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FDC583-864B-4FB2-9CA3-5210962B34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7613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C8BF1-C702-4431-62C4-60EF9EEE3B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3E415D-F22C-C798-B871-C78D77625E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B056CA-01DA-51BB-DDA8-5CDB0837F2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84A722-438C-3689-47EF-2A14BE5010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D127DF-827B-84B8-AA78-90A7A7267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5478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8F0990-0E2F-74C9-FD14-EE20D80DE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330B064-D70D-27D3-7AC0-C0FDED741C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B67BB9-AE7B-1117-1034-E2FC3FFB6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463923-E731-AFE7-90C5-1E5FB32D9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087ABA-2EF2-8D6C-6AAF-F5E86AD17B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334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73766C4-FD32-F1BE-577D-3269CE1363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A8EBAF-C29C-3FB5-C4C6-695F22D9D7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A02A37-F66B-9B38-D13A-41DF7B4761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C20C18-C914-8632-D4C7-656A85F726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55D2D-386A-BD68-092D-9CB85ACAE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6227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Objec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385233" y="1491523"/>
            <a:ext cx="4800000" cy="720000"/>
          </a:xfrm>
        </p:spPr>
        <p:txBody>
          <a:bodyPr lIns="0" tIns="0" rIns="0" bIns="0" anchor="t" anchorCtr="0"/>
          <a:lstStyle>
            <a:lvl1pPr algn="l">
              <a:defRPr sz="1600">
                <a:latin typeface="+mn-lt"/>
              </a:defRPr>
            </a:lvl1pPr>
          </a:lstStyle>
          <a:p>
            <a:r>
              <a:rPr lang="fa-IR" noProof="0" dirty="0"/>
              <a:t>ممنتنمتن</a:t>
            </a:r>
            <a:endParaRPr lang="de-DE" noProof="0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85233" y="2313237"/>
            <a:ext cx="4800000" cy="720000"/>
          </a:xfrm>
        </p:spPr>
        <p:txBody>
          <a:bodyPr lIns="0" tIns="0" rIns="0" bIns="0" anchor="t" anchorCtr="0"/>
          <a:lstStyle>
            <a:lvl1pPr marL="0" indent="0" algn="l">
              <a:spcBef>
                <a:spcPts val="720"/>
              </a:spcBef>
              <a:buNone/>
              <a:defRPr sz="12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a-IR" dirty="0"/>
              <a:t>کمنکمن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2118" y="5719763"/>
            <a:ext cx="12189884" cy="942974"/>
            <a:chOff x="1587" y="5719763"/>
            <a:chExt cx="9142413" cy="942974"/>
          </a:xfrm>
        </p:grpSpPr>
        <p:sp>
          <p:nvSpPr>
            <p:cNvPr id="8" name="Rectangle 28"/>
            <p:cNvSpPr>
              <a:spLocks noChangeArrowheads="1"/>
            </p:cNvSpPr>
            <p:nvPr userDrawn="1"/>
          </p:nvSpPr>
          <p:spPr bwMode="gray">
            <a:xfrm>
              <a:off x="1588" y="5719763"/>
              <a:ext cx="9142412" cy="4318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de-DE" sz="1400" dirty="0"/>
            </a:p>
          </p:txBody>
        </p:sp>
        <p:sp>
          <p:nvSpPr>
            <p:cNvPr id="13" name="Claim"/>
            <p:cNvSpPr>
              <a:spLocks noChangeArrowheads="1"/>
            </p:cNvSpPr>
            <p:nvPr userDrawn="1"/>
          </p:nvSpPr>
          <p:spPr bwMode="gray">
            <a:xfrm>
              <a:off x="1587" y="6230937"/>
              <a:ext cx="9142412" cy="431800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396000" tIns="0" rIns="0" bIns="0" anchor="ctr"/>
            <a:lstStyle/>
            <a:p>
              <a:endParaRPr lang="en-US" sz="1000" b="1" i="0" dirty="0">
                <a:solidFill>
                  <a:schemeClr val="bg1"/>
                </a:solidFill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181255B5-ABAA-49C1-9FED-80D5DD1FB6B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713618" y="34508"/>
            <a:ext cx="1398823" cy="431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93778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383117" y="295279"/>
            <a:ext cx="11424000" cy="187325"/>
          </a:xfrm>
          <a:noFill/>
        </p:spPr>
        <p:txBody>
          <a:bodyPr lIns="0" tIns="0" rIns="0" bIns="0" anchor="ctr" anchorCtr="0"/>
          <a:lstStyle>
            <a:lvl1pPr defTabSz="180975">
              <a:defRPr sz="800" b="1"/>
            </a:lvl1pPr>
            <a:lvl3pPr>
              <a:buNone/>
              <a:defRPr/>
            </a:lvl3pPr>
          </a:lstStyle>
          <a:p>
            <a:pPr lvl="0"/>
            <a:r>
              <a:rPr lang="en-US" dirty="0"/>
              <a:t>X	Click to edit Chapter Heading</a:t>
            </a:r>
            <a:endParaRPr lang="de-D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383116" y="1484313"/>
            <a:ext cx="11424000" cy="2665412"/>
          </a:xfrm>
        </p:spPr>
        <p:txBody>
          <a:bodyPr lIns="0" tIns="0" rIns="0" bIns="0"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itle 17"/>
          <p:cNvSpPr>
            <a:spLocks noGrp="1"/>
          </p:cNvSpPr>
          <p:nvPr>
            <p:ph type="title" hasCustomPrompt="1"/>
          </p:nvPr>
        </p:nvSpPr>
        <p:spPr>
          <a:xfrm>
            <a:off x="383119" y="687389"/>
            <a:ext cx="11424000" cy="466725"/>
          </a:xfrm>
        </p:spPr>
        <p:txBody>
          <a:bodyPr/>
          <a:lstStyle/>
          <a:p>
            <a:r>
              <a:rPr lang="fa-IR" dirty="0"/>
              <a:t>نکمن</a:t>
            </a:r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r>
              <a:rPr lang="de-DE" dirty="0"/>
              <a:t>– </a:t>
            </a:r>
            <a:fld id="{0BE42143-7310-4A8F-A2D9-68016CEE3D5A}" type="slidenum">
              <a:rPr lang="de-DE" smtClean="0"/>
              <a:pPr algn="ctr"/>
              <a:t>‹#›</a:t>
            </a:fld>
            <a:r>
              <a:rPr lang="de-DE" dirty="0"/>
              <a:t> –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5A0EF8-7858-40B9-96C4-7091B0A170E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8367" y="74143"/>
            <a:ext cx="1252981" cy="386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05821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c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83117" y="295279"/>
            <a:ext cx="11424000" cy="187325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>
                <a:srgbClr val="0033AB"/>
              </a:buClr>
              <a:buSzPct val="80000"/>
              <a:buFont typeface="Wingdings" pitchFamily="2" charset="2"/>
              <a:buNone/>
              <a:tabLst/>
              <a:defRPr lang="de-DE" sz="800" b="1" i="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3pPr>
              <a:buNone/>
              <a:defRPr/>
            </a:lvl3pPr>
          </a:lstStyle>
          <a:p>
            <a:pPr marL="0" marR="0" lvl="0" indent="0" algn="l" defTabSz="180975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>
                <a:srgbClr val="0033AB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US" dirty="0"/>
              <a:t>Click to edit Content Title</a:t>
            </a:r>
            <a:endParaRPr lang="de-DE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>
          <a:xfrm>
            <a:off x="5837767" y="6558767"/>
            <a:ext cx="491588" cy="138499"/>
          </a:xfrm>
        </p:spPr>
        <p:txBody>
          <a:bodyPr/>
          <a:lstStyle/>
          <a:p>
            <a:pPr algn="ctr"/>
            <a:r>
              <a:rPr lang="de-DE" dirty="0"/>
              <a:t>– </a:t>
            </a:r>
            <a:fld id="{0BE42143-7310-4A8F-A2D9-68016CEE3D5A}" type="slidenum">
              <a:rPr lang="de-DE" smtClean="0"/>
              <a:pPr algn="ctr"/>
              <a:t>‹#›</a:t>
            </a:fld>
            <a:r>
              <a:rPr lang="de-DE" dirty="0"/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310683156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2" name="Objec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5837767" y="6558767"/>
            <a:ext cx="491588" cy="138499"/>
          </a:xfrm>
        </p:spPr>
        <p:txBody>
          <a:bodyPr/>
          <a:lstStyle/>
          <a:p>
            <a:pPr algn="ctr"/>
            <a:r>
              <a:rPr lang="de-DE" dirty="0"/>
              <a:t>– </a:t>
            </a:r>
            <a:fld id="{0BE42143-7310-4A8F-A2D9-68016CEE3D5A}" type="slidenum">
              <a:rPr lang="de-DE" smtClean="0"/>
              <a:pPr algn="ctr"/>
              <a:t>‹#›</a:t>
            </a:fld>
            <a:r>
              <a:rPr lang="de-DE" dirty="0"/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180983588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16200000">
            <a:off x="11928661" y="6428451"/>
            <a:ext cx="344646" cy="92333"/>
          </a:xfrm>
        </p:spPr>
        <p:txBody>
          <a:bodyPr/>
          <a:lstStyle/>
          <a:p>
            <a:fld id="{0DAC0142-AAAA-455F-9163-F21F8B0A7FB7}" type="datetime1">
              <a:rPr lang="en-US" smtClean="0"/>
              <a:t>3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en-US"/>
              <a:t>Project Finance -  Present by Dr. Ehsan Zakernia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FEDF93-2BFD-41CA-ABC7-B039102F37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3441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48">
            <a:extLst>
              <a:ext uri="{FF2B5EF4-FFF2-40B4-BE49-F238E27FC236}">
                <a16:creationId xmlns:a16="http://schemas.microsoft.com/office/drawing/2014/main" id="{58E349F4-7582-48A8-86E1-CA75B470B384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2" y="0"/>
            <a:ext cx="12191999" cy="6858000"/>
          </a:xfrm>
          <a:custGeom>
            <a:avLst/>
            <a:gdLst>
              <a:gd name="connsiteX0" fmla="*/ 10699779 w 12191999"/>
              <a:gd name="connsiteY0" fmla="*/ 6099402 h 6858000"/>
              <a:gd name="connsiteX1" fmla="*/ 10700365 w 12191999"/>
              <a:gd name="connsiteY1" fmla="*/ 6104567 h 6858000"/>
              <a:gd name="connsiteX2" fmla="*/ 10702406 w 12191999"/>
              <a:gd name="connsiteY2" fmla="*/ 6099903 h 6858000"/>
              <a:gd name="connsiteX3" fmla="*/ 9177921 w 12191999"/>
              <a:gd name="connsiteY3" fmla="*/ 6098901 h 6858000"/>
              <a:gd name="connsiteX4" fmla="*/ 9178505 w 12191999"/>
              <a:gd name="connsiteY4" fmla="*/ 6100344 h 6858000"/>
              <a:gd name="connsiteX5" fmla="*/ 9178605 w 12191999"/>
              <a:gd name="connsiteY5" fmla="*/ 6102927 h 6858000"/>
              <a:gd name="connsiteX6" fmla="*/ 9183635 w 12191999"/>
              <a:gd name="connsiteY6" fmla="*/ 6102927 h 6858000"/>
              <a:gd name="connsiteX7" fmla="*/ 9185303 w 12191999"/>
              <a:gd name="connsiteY7" fmla="*/ 6100308 h 6858000"/>
              <a:gd name="connsiteX8" fmla="*/ 5342410 w 12191999"/>
              <a:gd name="connsiteY8" fmla="*/ 5330181 h 6858000"/>
              <a:gd name="connsiteX9" fmla="*/ 5338269 w 12191999"/>
              <a:gd name="connsiteY9" fmla="*/ 5332661 h 6858000"/>
              <a:gd name="connsiteX10" fmla="*/ 5322064 w 12191999"/>
              <a:gd name="connsiteY10" fmla="*/ 5334006 h 6858000"/>
              <a:gd name="connsiteX11" fmla="*/ 5335111 w 12191999"/>
              <a:gd name="connsiteY11" fmla="*/ 5336578 h 6858000"/>
              <a:gd name="connsiteX12" fmla="*/ 5337848 w 12191999"/>
              <a:gd name="connsiteY12" fmla="*/ 5340523 h 6858000"/>
              <a:gd name="connsiteX13" fmla="*/ 5338130 w 12191999"/>
              <a:gd name="connsiteY13" fmla="*/ 5335883 h 6858000"/>
              <a:gd name="connsiteX14" fmla="*/ 11820900 w 12191999"/>
              <a:gd name="connsiteY14" fmla="*/ 4311166 h 6858000"/>
              <a:gd name="connsiteX15" fmla="*/ 11955244 w 12191999"/>
              <a:gd name="connsiteY15" fmla="*/ 4373182 h 6858000"/>
              <a:gd name="connsiteX16" fmla="*/ 11941805 w 12191999"/>
              <a:gd name="connsiteY16" fmla="*/ 4490463 h 6858000"/>
              <a:gd name="connsiteX17" fmla="*/ 11911265 w 12191999"/>
              <a:gd name="connsiteY17" fmla="*/ 4531997 h 6858000"/>
              <a:gd name="connsiteX18" fmla="*/ 11974790 w 12191999"/>
              <a:gd name="connsiteY18" fmla="*/ 4572310 h 6858000"/>
              <a:gd name="connsiteX19" fmla="*/ 12175141 w 12191999"/>
              <a:gd name="connsiteY19" fmla="*/ 4571090 h 6858000"/>
              <a:gd name="connsiteX20" fmla="*/ 12191999 w 12191999"/>
              <a:gd name="connsiteY20" fmla="*/ 4574294 h 6858000"/>
              <a:gd name="connsiteX21" fmla="*/ 12191999 w 12191999"/>
              <a:gd name="connsiteY21" fmla="*/ 5337457 h 6858000"/>
              <a:gd name="connsiteX22" fmla="*/ 12177584 w 12191999"/>
              <a:gd name="connsiteY22" fmla="*/ 5340730 h 6858000"/>
              <a:gd name="connsiteX23" fmla="*/ 11982120 w 12191999"/>
              <a:gd name="connsiteY23" fmla="*/ 5339507 h 6858000"/>
              <a:gd name="connsiteX24" fmla="*/ 11928367 w 12191999"/>
              <a:gd name="connsiteY24" fmla="*/ 5354166 h 6858000"/>
              <a:gd name="connsiteX25" fmla="*/ 11927145 w 12191999"/>
              <a:gd name="connsiteY25" fmla="*/ 5409142 h 6858000"/>
              <a:gd name="connsiteX26" fmla="*/ 11971125 w 12191999"/>
              <a:gd name="connsiteY26" fmla="*/ 5504430 h 6858000"/>
              <a:gd name="connsiteX27" fmla="*/ 11873393 w 12191999"/>
              <a:gd name="connsiteY27" fmla="*/ 5592389 h 6858000"/>
              <a:gd name="connsiteX28" fmla="*/ 11703584 w 12191999"/>
              <a:gd name="connsiteY28" fmla="*/ 5530084 h 6858000"/>
              <a:gd name="connsiteX29" fmla="*/ 11723129 w 12191999"/>
              <a:gd name="connsiteY29" fmla="*/ 5417694 h 6858000"/>
              <a:gd name="connsiteX30" fmla="*/ 11751228 w 12191999"/>
              <a:gd name="connsiteY30" fmla="*/ 5374936 h 6858000"/>
              <a:gd name="connsiteX31" fmla="*/ 11690146 w 12191999"/>
              <a:gd name="connsiteY31" fmla="*/ 5338287 h 6858000"/>
              <a:gd name="connsiteX32" fmla="*/ 11489795 w 12191999"/>
              <a:gd name="connsiteY32" fmla="*/ 5339507 h 6858000"/>
              <a:gd name="connsiteX33" fmla="*/ 11447036 w 12191999"/>
              <a:gd name="connsiteY33" fmla="*/ 5295528 h 6858000"/>
              <a:gd name="connsiteX34" fmla="*/ 11449481 w 12191999"/>
              <a:gd name="connsiteY34" fmla="*/ 5202683 h 6858000"/>
              <a:gd name="connsiteX35" fmla="*/ 11449481 w 12191999"/>
              <a:gd name="connsiteY35" fmla="*/ 5092735 h 6858000"/>
              <a:gd name="connsiteX36" fmla="*/ 11492238 w 12191999"/>
              <a:gd name="connsiteY36" fmla="*/ 5018215 h 6858000"/>
              <a:gd name="connsiteX37" fmla="*/ 11545990 w 12191999"/>
              <a:gd name="connsiteY37" fmla="*/ 5025544 h 6858000"/>
              <a:gd name="connsiteX38" fmla="*/ 11668156 w 12191999"/>
              <a:gd name="connsiteY38" fmla="*/ 5051198 h 6858000"/>
              <a:gd name="connsiteX39" fmla="*/ 11682816 w 12191999"/>
              <a:gd name="connsiteY39" fmla="*/ 4877723 h 6858000"/>
              <a:gd name="connsiteX40" fmla="*/ 11555765 w 12191999"/>
              <a:gd name="connsiteY40" fmla="*/ 4874058 h 6858000"/>
              <a:gd name="connsiteX41" fmla="*/ 11508120 w 12191999"/>
              <a:gd name="connsiteY41" fmla="*/ 4902158 h 6858000"/>
              <a:gd name="connsiteX42" fmla="*/ 11450701 w 12191999"/>
              <a:gd name="connsiteY42" fmla="*/ 4839852 h 6858000"/>
              <a:gd name="connsiteX43" fmla="*/ 11448258 w 12191999"/>
              <a:gd name="connsiteY43" fmla="*/ 4591857 h 6858000"/>
              <a:gd name="connsiteX44" fmla="*/ 11477578 w 12191999"/>
              <a:gd name="connsiteY44" fmla="*/ 4573534 h 6858000"/>
              <a:gd name="connsiteX45" fmla="*/ 11677929 w 12191999"/>
              <a:gd name="connsiteY45" fmla="*/ 4573534 h 6858000"/>
              <a:gd name="connsiteX46" fmla="*/ 11728016 w 12191999"/>
              <a:gd name="connsiteY46" fmla="*/ 4562539 h 6858000"/>
              <a:gd name="connsiteX47" fmla="*/ 11735346 w 12191999"/>
              <a:gd name="connsiteY47" fmla="*/ 4500233 h 6858000"/>
              <a:gd name="connsiteX48" fmla="*/ 11768331 w 12191999"/>
              <a:gd name="connsiteY48" fmla="*/ 4323095 h 6858000"/>
              <a:gd name="connsiteX49" fmla="*/ 11820900 w 12191999"/>
              <a:gd name="connsiteY49" fmla="*/ 4311166 h 6858000"/>
              <a:gd name="connsiteX50" fmla="*/ 5742911 w 12191999"/>
              <a:gd name="connsiteY50" fmla="*/ 3557222 h 6858000"/>
              <a:gd name="connsiteX51" fmla="*/ 5851336 w 12191999"/>
              <a:gd name="connsiteY51" fmla="*/ 3613963 h 6858000"/>
              <a:gd name="connsiteX52" fmla="*/ 5840341 w 12191999"/>
              <a:gd name="connsiteY52" fmla="*/ 3736128 h 6858000"/>
              <a:gd name="connsiteX53" fmla="*/ 5811021 w 12191999"/>
              <a:gd name="connsiteY53" fmla="*/ 3780107 h 6858000"/>
              <a:gd name="connsiteX54" fmla="*/ 5873327 w 12191999"/>
              <a:gd name="connsiteY54" fmla="*/ 3815534 h 6858000"/>
              <a:gd name="connsiteX55" fmla="*/ 6082230 w 12191999"/>
              <a:gd name="connsiteY55" fmla="*/ 3814314 h 6858000"/>
              <a:gd name="connsiteX56" fmla="*/ 6115900 w 12191999"/>
              <a:gd name="connsiteY56" fmla="*/ 3831149 h 6858000"/>
              <a:gd name="connsiteX57" fmla="*/ 6116334 w 12191999"/>
              <a:gd name="connsiteY57" fmla="*/ 3835442 h 6858000"/>
              <a:gd name="connsiteX58" fmla="*/ 6135367 w 12191999"/>
              <a:gd name="connsiteY58" fmla="*/ 3820781 h 6858000"/>
              <a:gd name="connsiteX59" fmla="*/ 6165468 w 12191999"/>
              <a:gd name="connsiteY59" fmla="*/ 3821240 h 6858000"/>
              <a:gd name="connsiteX60" fmla="*/ 6250984 w 12191999"/>
              <a:gd name="connsiteY60" fmla="*/ 3822462 h 6858000"/>
              <a:gd name="connsiteX61" fmla="*/ 6356045 w 12191999"/>
              <a:gd name="connsiteY61" fmla="*/ 3822462 h 6858000"/>
              <a:gd name="connsiteX62" fmla="*/ 6434230 w 12191999"/>
              <a:gd name="connsiteY62" fmla="*/ 3873772 h 6858000"/>
              <a:gd name="connsiteX63" fmla="*/ 6401245 w 12191999"/>
              <a:gd name="connsiteY63" fmla="*/ 3938519 h 6858000"/>
              <a:gd name="connsiteX64" fmla="*/ 6395138 w 12191999"/>
              <a:gd name="connsiteY64" fmla="*/ 4039916 h 6858000"/>
              <a:gd name="connsiteX65" fmla="*/ 6574721 w 12191999"/>
              <a:gd name="connsiteY65" fmla="*/ 4054576 h 6858000"/>
              <a:gd name="connsiteX66" fmla="*/ 6575941 w 12191999"/>
              <a:gd name="connsiteY66" fmla="*/ 3931189 h 6858000"/>
              <a:gd name="connsiteX67" fmla="*/ 6547844 w 12191999"/>
              <a:gd name="connsiteY67" fmla="*/ 3883545 h 6858000"/>
              <a:gd name="connsiteX68" fmla="*/ 6610148 w 12191999"/>
              <a:gd name="connsiteY68" fmla="*/ 3826127 h 6858000"/>
              <a:gd name="connsiteX69" fmla="*/ 6856921 w 12191999"/>
              <a:gd name="connsiteY69" fmla="*/ 3823685 h 6858000"/>
              <a:gd name="connsiteX70" fmla="*/ 6875246 w 12191999"/>
              <a:gd name="connsiteY70" fmla="*/ 3853004 h 6858000"/>
              <a:gd name="connsiteX71" fmla="*/ 6875246 w 12191999"/>
              <a:gd name="connsiteY71" fmla="*/ 4053355 h 6858000"/>
              <a:gd name="connsiteX72" fmla="*/ 6892348 w 12191999"/>
              <a:gd name="connsiteY72" fmla="*/ 4110773 h 6858000"/>
              <a:gd name="connsiteX73" fmla="*/ 6948545 w 12191999"/>
              <a:gd name="connsiteY73" fmla="*/ 4110773 h 6858000"/>
              <a:gd name="connsiteX74" fmla="*/ 7117131 w 12191999"/>
              <a:gd name="connsiteY74" fmla="*/ 4126653 h 6858000"/>
              <a:gd name="connsiteX75" fmla="*/ 7080482 w 12191999"/>
              <a:gd name="connsiteY75" fmla="*/ 4328224 h 6858000"/>
              <a:gd name="connsiteX76" fmla="*/ 6959540 w 12191999"/>
              <a:gd name="connsiteY76" fmla="*/ 4317229 h 6858000"/>
              <a:gd name="connsiteX77" fmla="*/ 6914338 w 12191999"/>
              <a:gd name="connsiteY77" fmla="*/ 4287910 h 6858000"/>
              <a:gd name="connsiteX78" fmla="*/ 6877689 w 12191999"/>
              <a:gd name="connsiteY78" fmla="*/ 4350213 h 6858000"/>
              <a:gd name="connsiteX79" fmla="*/ 6878911 w 12191999"/>
              <a:gd name="connsiteY79" fmla="*/ 4550565 h 6858000"/>
              <a:gd name="connsiteX80" fmla="*/ 6838596 w 12191999"/>
              <a:gd name="connsiteY80" fmla="*/ 4592100 h 6858000"/>
              <a:gd name="connsiteX81" fmla="*/ 6648020 w 12191999"/>
              <a:gd name="connsiteY81" fmla="*/ 4590880 h 6858000"/>
              <a:gd name="connsiteX82" fmla="*/ 6594266 w 12191999"/>
              <a:gd name="connsiteY82" fmla="*/ 4604318 h 6858000"/>
              <a:gd name="connsiteX83" fmla="*/ 6591823 w 12191999"/>
              <a:gd name="connsiteY83" fmla="*/ 4662956 h 6858000"/>
              <a:gd name="connsiteX84" fmla="*/ 6589381 w 12191999"/>
              <a:gd name="connsiteY84" fmla="*/ 4819328 h 6858000"/>
              <a:gd name="connsiteX85" fmla="*/ 6375592 w 12191999"/>
              <a:gd name="connsiteY85" fmla="*/ 4796116 h 6858000"/>
              <a:gd name="connsiteX86" fmla="*/ 6385365 w 12191999"/>
              <a:gd name="connsiteY86" fmla="*/ 4670287 h 6858000"/>
              <a:gd name="connsiteX87" fmla="*/ 6415905 w 12191999"/>
              <a:gd name="connsiteY87" fmla="*/ 4628749 h 6858000"/>
              <a:gd name="connsiteX88" fmla="*/ 6351158 w 12191999"/>
              <a:gd name="connsiteY88" fmla="*/ 4589658 h 6858000"/>
              <a:gd name="connsiteX89" fmla="*/ 6150809 w 12191999"/>
              <a:gd name="connsiteY89" fmla="*/ 4590880 h 6858000"/>
              <a:gd name="connsiteX90" fmla="*/ 6117367 w 12191999"/>
              <a:gd name="connsiteY90" fmla="*/ 4582327 h 6858000"/>
              <a:gd name="connsiteX91" fmla="*/ 6114197 w 12191999"/>
              <a:gd name="connsiteY91" fmla="*/ 4575109 h 6858000"/>
              <a:gd name="connsiteX92" fmla="*/ 6109104 w 12191999"/>
              <a:gd name="connsiteY92" fmla="*/ 4582272 h 6858000"/>
              <a:gd name="connsiteX93" fmla="*/ 6087114 w 12191999"/>
              <a:gd name="connsiteY93" fmla="*/ 4586396 h 6858000"/>
              <a:gd name="connsiteX94" fmla="*/ 5863552 w 12191999"/>
              <a:gd name="connsiteY94" fmla="*/ 4586396 h 6858000"/>
              <a:gd name="connsiteX95" fmla="*/ 5802472 w 12191999"/>
              <a:gd name="connsiteY95" fmla="*/ 4555854 h 6858000"/>
              <a:gd name="connsiteX96" fmla="*/ 5807356 w 12191999"/>
              <a:gd name="connsiteY96" fmla="*/ 4480114 h 6858000"/>
              <a:gd name="connsiteX97" fmla="*/ 5847670 w 12191999"/>
              <a:gd name="connsiteY97" fmla="*/ 4403148 h 6858000"/>
              <a:gd name="connsiteX98" fmla="*/ 5752384 w 12191999"/>
              <a:gd name="connsiteY98" fmla="*/ 4329849 h 6858000"/>
              <a:gd name="connsiteX99" fmla="*/ 5628995 w 12191999"/>
              <a:gd name="connsiteY99" fmla="*/ 4372606 h 6858000"/>
              <a:gd name="connsiteX100" fmla="*/ 5638769 w 12191999"/>
              <a:gd name="connsiteY100" fmla="*/ 4470339 h 6858000"/>
              <a:gd name="connsiteX101" fmla="*/ 5674197 w 12191999"/>
              <a:gd name="connsiteY101" fmla="*/ 4527758 h 6858000"/>
              <a:gd name="connsiteX102" fmla="*/ 5591125 w 12191999"/>
              <a:gd name="connsiteY102" fmla="*/ 4586396 h 6858000"/>
              <a:gd name="connsiteX103" fmla="*/ 5377337 w 12191999"/>
              <a:gd name="connsiteY103" fmla="*/ 4586396 h 6858000"/>
              <a:gd name="connsiteX104" fmla="*/ 5346796 w 12191999"/>
              <a:gd name="connsiteY104" fmla="*/ 4553411 h 6858000"/>
              <a:gd name="connsiteX105" fmla="*/ 5348016 w 12191999"/>
              <a:gd name="connsiteY105" fmla="*/ 4353059 h 6858000"/>
              <a:gd name="connsiteX106" fmla="*/ 5327249 w 12191999"/>
              <a:gd name="connsiteY106" fmla="*/ 4291978 h 6858000"/>
              <a:gd name="connsiteX107" fmla="*/ 5278383 w 12191999"/>
              <a:gd name="connsiteY107" fmla="*/ 4293199 h 6858000"/>
              <a:gd name="connsiteX108" fmla="*/ 5174543 w 12191999"/>
              <a:gd name="connsiteY108" fmla="*/ 4337181 h 6858000"/>
              <a:gd name="connsiteX109" fmla="*/ 5089026 w 12191999"/>
              <a:gd name="connsiteY109" fmla="*/ 4221122 h 6858000"/>
              <a:gd name="connsiteX110" fmla="*/ 5144002 w 12191999"/>
              <a:gd name="connsiteY110" fmla="*/ 4078190 h 6858000"/>
              <a:gd name="connsiteX111" fmla="*/ 5264946 w 12191999"/>
              <a:gd name="connsiteY111" fmla="*/ 4087965 h 6858000"/>
              <a:gd name="connsiteX112" fmla="*/ 5311367 w 12191999"/>
              <a:gd name="connsiteY112" fmla="*/ 4117283 h 6858000"/>
              <a:gd name="connsiteX113" fmla="*/ 5346796 w 12191999"/>
              <a:gd name="connsiteY113" fmla="*/ 4054980 h 6858000"/>
              <a:gd name="connsiteX114" fmla="*/ 5345574 w 12191999"/>
              <a:gd name="connsiteY114" fmla="*/ 3849742 h 6858000"/>
              <a:gd name="connsiteX115" fmla="*/ 5381003 w 12191999"/>
              <a:gd name="connsiteY115" fmla="*/ 3811870 h 6858000"/>
              <a:gd name="connsiteX116" fmla="*/ 5486063 w 12191999"/>
              <a:gd name="connsiteY116" fmla="*/ 3815534 h 6858000"/>
              <a:gd name="connsiteX117" fmla="*/ 5596012 w 12191999"/>
              <a:gd name="connsiteY117" fmla="*/ 3815534 h 6858000"/>
              <a:gd name="connsiteX118" fmla="*/ 5650984 w 12191999"/>
              <a:gd name="connsiteY118" fmla="*/ 3777664 h 6858000"/>
              <a:gd name="connsiteX119" fmla="*/ 5625329 w 12191999"/>
              <a:gd name="connsiteY119" fmla="*/ 3738570 h 6858000"/>
              <a:gd name="connsiteX120" fmla="*/ 5649765 w 12191999"/>
              <a:gd name="connsiteY120" fmla="*/ 3576091 h 6858000"/>
              <a:gd name="connsiteX121" fmla="*/ 5700845 w 12191999"/>
              <a:gd name="connsiteY121" fmla="*/ 3557958 h 6858000"/>
              <a:gd name="connsiteX122" fmla="*/ 5742911 w 12191999"/>
              <a:gd name="connsiteY122" fmla="*/ 3557222 h 6858000"/>
              <a:gd name="connsiteX123" fmla="*/ 5726517 w 12191999"/>
              <a:gd name="connsiteY123" fmla="*/ 2017504 h 6858000"/>
              <a:gd name="connsiteX124" fmla="*/ 5834786 w 12191999"/>
              <a:gd name="connsiteY124" fmla="*/ 2083015 h 6858000"/>
              <a:gd name="connsiteX125" fmla="*/ 5820126 w 12191999"/>
              <a:gd name="connsiteY125" fmla="*/ 2192965 h 6858000"/>
              <a:gd name="connsiteX126" fmla="*/ 5787140 w 12191999"/>
              <a:gd name="connsiteY126" fmla="*/ 2236943 h 6858000"/>
              <a:gd name="connsiteX127" fmla="*/ 5855555 w 12191999"/>
              <a:gd name="connsiteY127" fmla="*/ 2277258 h 6858000"/>
              <a:gd name="connsiteX128" fmla="*/ 6041243 w 12191999"/>
              <a:gd name="connsiteY128" fmla="*/ 2276037 h 6858000"/>
              <a:gd name="connsiteX129" fmla="*/ 6093775 w 12191999"/>
              <a:gd name="connsiteY129" fmla="*/ 2326124 h 6858000"/>
              <a:gd name="connsiteX130" fmla="*/ 6092553 w 12191999"/>
              <a:gd name="connsiteY130" fmla="*/ 2516703 h 6858000"/>
              <a:gd name="connsiteX131" fmla="*/ 6121873 w 12191999"/>
              <a:gd name="connsiteY131" fmla="*/ 2577785 h 6858000"/>
              <a:gd name="connsiteX132" fmla="*/ 6154856 w 12191999"/>
              <a:gd name="connsiteY132" fmla="*/ 2574120 h 6858000"/>
              <a:gd name="connsiteX133" fmla="*/ 6351542 w 12191999"/>
              <a:gd name="connsiteY133" fmla="*/ 2611990 h 6858000"/>
              <a:gd name="connsiteX134" fmla="*/ 6352764 w 12191999"/>
              <a:gd name="connsiteY134" fmla="*/ 2708501 h 6858000"/>
              <a:gd name="connsiteX135" fmla="*/ 6300232 w 12191999"/>
              <a:gd name="connsiteY135" fmla="*/ 2779356 h 6858000"/>
              <a:gd name="connsiteX136" fmla="*/ 6170739 w 12191999"/>
              <a:gd name="connsiteY136" fmla="*/ 2769584 h 6858000"/>
              <a:gd name="connsiteX137" fmla="*/ 6129202 w 12191999"/>
              <a:gd name="connsiteY137" fmla="*/ 2742708 h 6858000"/>
              <a:gd name="connsiteX138" fmla="*/ 6093775 w 12191999"/>
              <a:gd name="connsiteY138" fmla="*/ 2800124 h 6858000"/>
              <a:gd name="connsiteX139" fmla="*/ 6094997 w 12191999"/>
              <a:gd name="connsiteY139" fmla="*/ 3009027 h 6858000"/>
              <a:gd name="connsiteX140" fmla="*/ 6054683 w 12191999"/>
              <a:gd name="connsiteY140" fmla="*/ 3046899 h 6858000"/>
              <a:gd name="connsiteX141" fmla="*/ 5859220 w 12191999"/>
              <a:gd name="connsiteY141" fmla="*/ 3045676 h 6858000"/>
              <a:gd name="connsiteX142" fmla="*/ 5805467 w 12191999"/>
              <a:gd name="connsiteY142" fmla="*/ 3060336 h 6858000"/>
              <a:gd name="connsiteX143" fmla="*/ 5804246 w 12191999"/>
              <a:gd name="connsiteY143" fmla="*/ 3116533 h 6858000"/>
              <a:gd name="connsiteX144" fmla="*/ 5849445 w 12191999"/>
              <a:gd name="connsiteY144" fmla="*/ 3206935 h 6858000"/>
              <a:gd name="connsiteX145" fmla="*/ 5751713 w 12191999"/>
              <a:gd name="connsiteY145" fmla="*/ 3299780 h 6858000"/>
              <a:gd name="connsiteX146" fmla="*/ 5581905 w 12191999"/>
              <a:gd name="connsiteY146" fmla="*/ 3237475 h 6858000"/>
              <a:gd name="connsiteX147" fmla="*/ 5601451 w 12191999"/>
              <a:gd name="connsiteY147" fmla="*/ 3125084 h 6858000"/>
              <a:gd name="connsiteX148" fmla="*/ 5629551 w 12191999"/>
              <a:gd name="connsiteY148" fmla="*/ 3083549 h 6858000"/>
              <a:gd name="connsiteX149" fmla="*/ 5573353 w 12191999"/>
              <a:gd name="connsiteY149" fmla="*/ 3045676 h 6858000"/>
              <a:gd name="connsiteX150" fmla="*/ 5430421 w 12191999"/>
              <a:gd name="connsiteY150" fmla="*/ 3045676 h 6858000"/>
              <a:gd name="connsiteX151" fmla="*/ 5324139 w 12191999"/>
              <a:gd name="connsiteY151" fmla="*/ 2938172 h 6858000"/>
              <a:gd name="connsiteX152" fmla="*/ 5324139 w 12191999"/>
              <a:gd name="connsiteY152" fmla="*/ 2805010 h 6858000"/>
              <a:gd name="connsiteX153" fmla="*/ 5355900 w 12191999"/>
              <a:gd name="connsiteY153" fmla="*/ 2734156 h 6858000"/>
              <a:gd name="connsiteX154" fmla="*/ 5427977 w 12191999"/>
              <a:gd name="connsiteY154" fmla="*/ 2737821 h 6858000"/>
              <a:gd name="connsiteX155" fmla="*/ 5508607 w 12191999"/>
              <a:gd name="connsiteY155" fmla="*/ 2780578 h 6858000"/>
              <a:gd name="connsiteX156" fmla="*/ 5581905 w 12191999"/>
              <a:gd name="connsiteY156" fmla="*/ 2674294 h 6858000"/>
              <a:gd name="connsiteX157" fmla="*/ 5537926 w 12191999"/>
              <a:gd name="connsiteY157" fmla="*/ 2560681 h 6858000"/>
              <a:gd name="connsiteX158" fmla="*/ 5440195 w 12191999"/>
              <a:gd name="connsiteY158" fmla="*/ 2570454 h 6858000"/>
              <a:gd name="connsiteX159" fmla="*/ 5382779 w 12191999"/>
              <a:gd name="connsiteY159" fmla="*/ 2605882 h 6858000"/>
              <a:gd name="connsiteX160" fmla="*/ 5324139 w 12191999"/>
              <a:gd name="connsiteY160" fmla="*/ 2527695 h 6858000"/>
              <a:gd name="connsiteX161" fmla="*/ 5322917 w 12191999"/>
              <a:gd name="connsiteY161" fmla="*/ 2304134 h 6858000"/>
              <a:gd name="connsiteX162" fmla="*/ 5351016 w 12191999"/>
              <a:gd name="connsiteY162" fmla="*/ 2278479 h 6858000"/>
              <a:gd name="connsiteX163" fmla="*/ 5556254 w 12191999"/>
              <a:gd name="connsiteY163" fmla="*/ 2278479 h 6858000"/>
              <a:gd name="connsiteX164" fmla="*/ 5610003 w 12191999"/>
              <a:gd name="connsiteY164" fmla="*/ 2263820 h 6858000"/>
              <a:gd name="connsiteX165" fmla="*/ 5611225 w 12191999"/>
              <a:gd name="connsiteY165" fmla="*/ 2203958 h 6858000"/>
              <a:gd name="connsiteX166" fmla="*/ 5606337 w 12191999"/>
              <a:gd name="connsiteY166" fmla="*/ 2053696 h 6858000"/>
              <a:gd name="connsiteX167" fmla="*/ 5726517 w 12191999"/>
              <a:gd name="connsiteY167" fmla="*/ 2017504 h 6858000"/>
              <a:gd name="connsiteX168" fmla="*/ 0 w 12191999"/>
              <a:gd name="connsiteY168" fmla="*/ 0 h 6858000"/>
              <a:gd name="connsiteX169" fmla="*/ 5329115 w 12191999"/>
              <a:gd name="connsiteY169" fmla="*/ 0 h 6858000"/>
              <a:gd name="connsiteX170" fmla="*/ 5332434 w 12191999"/>
              <a:gd name="connsiteY170" fmla="*/ 5729 h 6858000"/>
              <a:gd name="connsiteX171" fmla="*/ 5334132 w 12191999"/>
              <a:gd name="connsiteY171" fmla="*/ 27166 h 6858000"/>
              <a:gd name="connsiteX172" fmla="*/ 5332910 w 12191999"/>
              <a:gd name="connsiteY172" fmla="*/ 227517 h 6858000"/>
              <a:gd name="connsiteX173" fmla="*/ 5346347 w 12191999"/>
              <a:gd name="connsiteY173" fmla="*/ 276382 h 6858000"/>
              <a:gd name="connsiteX174" fmla="*/ 5402544 w 12191999"/>
              <a:gd name="connsiteY174" fmla="*/ 277604 h 6858000"/>
              <a:gd name="connsiteX175" fmla="*/ 5582127 w 12191999"/>
              <a:gd name="connsiteY175" fmla="*/ 317919 h 6858000"/>
              <a:gd name="connsiteX176" fmla="*/ 5523486 w 12191999"/>
              <a:gd name="connsiteY176" fmla="*/ 501165 h 6858000"/>
              <a:gd name="connsiteX177" fmla="*/ 5411097 w 12191999"/>
              <a:gd name="connsiteY177" fmla="*/ 481620 h 6858000"/>
              <a:gd name="connsiteX178" fmla="*/ 5369558 w 12191999"/>
              <a:gd name="connsiteY178" fmla="*/ 453522 h 6858000"/>
              <a:gd name="connsiteX179" fmla="*/ 5332910 w 12191999"/>
              <a:gd name="connsiteY179" fmla="*/ 514605 h 6858000"/>
              <a:gd name="connsiteX180" fmla="*/ 5334132 w 12191999"/>
              <a:gd name="connsiteY180" fmla="*/ 719841 h 6858000"/>
              <a:gd name="connsiteX181" fmla="*/ 5295041 w 12191999"/>
              <a:gd name="connsiteY181" fmla="*/ 760156 h 6858000"/>
              <a:gd name="connsiteX182" fmla="*/ 5094692 w 12191999"/>
              <a:gd name="connsiteY182" fmla="*/ 758935 h 6858000"/>
              <a:gd name="connsiteX183" fmla="*/ 5045820 w 12191999"/>
              <a:gd name="connsiteY183" fmla="*/ 772373 h 6858000"/>
              <a:gd name="connsiteX184" fmla="*/ 5043379 w 12191999"/>
              <a:gd name="connsiteY184" fmla="*/ 831012 h 6858000"/>
              <a:gd name="connsiteX185" fmla="*/ 5031161 w 12191999"/>
              <a:gd name="connsiteY185" fmla="*/ 997156 h 6858000"/>
              <a:gd name="connsiteX186" fmla="*/ 4818594 w 12191999"/>
              <a:gd name="connsiteY186" fmla="*/ 949511 h 6858000"/>
              <a:gd name="connsiteX187" fmla="*/ 4840582 w 12191999"/>
              <a:gd name="connsiteY187" fmla="*/ 837120 h 6858000"/>
              <a:gd name="connsiteX188" fmla="*/ 4866234 w 12191999"/>
              <a:gd name="connsiteY188" fmla="*/ 793140 h 6858000"/>
              <a:gd name="connsiteX189" fmla="*/ 4808822 w 12191999"/>
              <a:gd name="connsiteY189" fmla="*/ 758935 h 6858000"/>
              <a:gd name="connsiteX190" fmla="*/ 4595032 w 12191999"/>
              <a:gd name="connsiteY190" fmla="*/ 760156 h 6858000"/>
              <a:gd name="connsiteX191" fmla="*/ 4573923 w 12191999"/>
              <a:gd name="connsiteY191" fmla="*/ 757192 h 6858000"/>
              <a:gd name="connsiteX192" fmla="*/ 4572290 w 12191999"/>
              <a:gd name="connsiteY192" fmla="*/ 755075 h 6858000"/>
              <a:gd name="connsiteX193" fmla="*/ 4542110 w 12191999"/>
              <a:gd name="connsiteY193" fmla="*/ 755075 h 6858000"/>
              <a:gd name="connsiteX194" fmla="*/ 4532620 w 12191999"/>
              <a:gd name="connsiteY194" fmla="*/ 757803 h 6858000"/>
              <a:gd name="connsiteX195" fmla="*/ 4318830 w 12191999"/>
              <a:gd name="connsiteY195" fmla="*/ 757803 h 6858000"/>
              <a:gd name="connsiteX196" fmla="*/ 4252861 w 12191999"/>
              <a:gd name="connsiteY196" fmla="*/ 727261 h 6858000"/>
              <a:gd name="connsiteX197" fmla="*/ 4257749 w 12191999"/>
              <a:gd name="connsiteY197" fmla="*/ 652741 h 6858000"/>
              <a:gd name="connsiteX198" fmla="*/ 4298063 w 12191999"/>
              <a:gd name="connsiteY198" fmla="*/ 570889 h 6858000"/>
              <a:gd name="connsiteX199" fmla="*/ 4205214 w 12191999"/>
              <a:gd name="connsiteY199" fmla="*/ 501255 h 6858000"/>
              <a:gd name="connsiteX200" fmla="*/ 4087942 w 12191999"/>
              <a:gd name="connsiteY200" fmla="*/ 535462 h 6858000"/>
              <a:gd name="connsiteX201" fmla="*/ 4094050 w 12191999"/>
              <a:gd name="connsiteY201" fmla="*/ 644189 h 6858000"/>
              <a:gd name="connsiteX202" fmla="*/ 4127035 w 12191999"/>
              <a:gd name="connsiteY202" fmla="*/ 700384 h 6858000"/>
              <a:gd name="connsiteX203" fmla="*/ 4057400 w 12191999"/>
              <a:gd name="connsiteY203" fmla="*/ 757803 h 6858000"/>
              <a:gd name="connsiteX204" fmla="*/ 3819179 w 12191999"/>
              <a:gd name="connsiteY204" fmla="*/ 759023 h 6858000"/>
              <a:gd name="connsiteX205" fmla="*/ 3813849 w 12191999"/>
              <a:gd name="connsiteY205" fmla="*/ 756900 h 6858000"/>
              <a:gd name="connsiteX206" fmla="*/ 3810549 w 12191999"/>
              <a:gd name="connsiteY206" fmla="*/ 758781 h 6858000"/>
              <a:gd name="connsiteX207" fmla="*/ 3815750 w 12191999"/>
              <a:gd name="connsiteY207" fmla="*/ 768157 h 6858000"/>
              <a:gd name="connsiteX208" fmla="*/ 3817238 w 12191999"/>
              <a:gd name="connsiteY208" fmla="*/ 788353 h 6858000"/>
              <a:gd name="connsiteX209" fmla="*/ 3816018 w 12191999"/>
              <a:gd name="connsiteY209" fmla="*/ 983816 h 6858000"/>
              <a:gd name="connsiteX210" fmla="*/ 3789144 w 12191999"/>
              <a:gd name="connsiteY210" fmla="*/ 1057116 h 6858000"/>
              <a:gd name="connsiteX211" fmla="*/ 3708516 w 12191999"/>
              <a:gd name="connsiteY211" fmla="*/ 1053451 h 6858000"/>
              <a:gd name="connsiteX212" fmla="*/ 3635219 w 12191999"/>
              <a:gd name="connsiteY212" fmla="*/ 1014358 h 6858000"/>
              <a:gd name="connsiteX213" fmla="*/ 3560696 w 12191999"/>
              <a:gd name="connsiteY213" fmla="*/ 1098651 h 6858000"/>
              <a:gd name="connsiteX214" fmla="*/ 3603457 w 12191999"/>
              <a:gd name="connsiteY214" fmla="*/ 1235477 h 6858000"/>
              <a:gd name="connsiteX215" fmla="*/ 3697521 w 12191999"/>
              <a:gd name="connsiteY215" fmla="*/ 1226924 h 6858000"/>
              <a:gd name="connsiteX216" fmla="*/ 3759825 w 12191999"/>
              <a:gd name="connsiteY216" fmla="*/ 1190276 h 6858000"/>
              <a:gd name="connsiteX217" fmla="*/ 3816018 w 12191999"/>
              <a:gd name="connsiteY217" fmla="*/ 1270905 h 6858000"/>
              <a:gd name="connsiteX218" fmla="*/ 3817238 w 12191999"/>
              <a:gd name="connsiteY218" fmla="*/ 1489580 h 6858000"/>
              <a:gd name="connsiteX219" fmla="*/ 3811589 w 12191999"/>
              <a:gd name="connsiteY219" fmla="*/ 1511264 h 6858000"/>
              <a:gd name="connsiteX220" fmla="*/ 3801031 w 12191999"/>
              <a:gd name="connsiteY220" fmla="*/ 1513846 h 6858000"/>
              <a:gd name="connsiteX221" fmla="*/ 3806488 w 12191999"/>
              <a:gd name="connsiteY221" fmla="*/ 1516917 h 6858000"/>
              <a:gd name="connsiteX222" fmla="*/ 3807926 w 12191999"/>
              <a:gd name="connsiteY222" fmla="*/ 1520360 h 6858000"/>
              <a:gd name="connsiteX223" fmla="*/ 3814241 w 12191999"/>
              <a:gd name="connsiteY223" fmla="*/ 1520360 h 6858000"/>
              <a:gd name="connsiteX224" fmla="*/ 3829058 w 12191999"/>
              <a:gd name="connsiteY224" fmla="*/ 1502514 h 6858000"/>
              <a:gd name="connsiteX225" fmla="*/ 3863824 w 12191999"/>
              <a:gd name="connsiteY225" fmla="*/ 1499658 h 6858000"/>
              <a:gd name="connsiteX226" fmla="*/ 4049516 w 12191999"/>
              <a:gd name="connsiteY226" fmla="*/ 1500879 h 6858000"/>
              <a:gd name="connsiteX227" fmla="*/ 4117929 w 12191999"/>
              <a:gd name="connsiteY227" fmla="*/ 1460565 h 6858000"/>
              <a:gd name="connsiteX228" fmla="*/ 4084945 w 12191999"/>
              <a:gd name="connsiteY228" fmla="*/ 1416587 h 6858000"/>
              <a:gd name="connsiteX229" fmla="*/ 4070285 w 12191999"/>
              <a:gd name="connsiteY229" fmla="*/ 1306638 h 6858000"/>
              <a:gd name="connsiteX230" fmla="*/ 4178554 w 12191999"/>
              <a:gd name="connsiteY230" fmla="*/ 1241127 h 6858000"/>
              <a:gd name="connsiteX231" fmla="*/ 4298729 w 12191999"/>
              <a:gd name="connsiteY231" fmla="*/ 1277318 h 6858000"/>
              <a:gd name="connsiteX232" fmla="*/ 4293841 w 12191999"/>
              <a:gd name="connsiteY232" fmla="*/ 1427580 h 6858000"/>
              <a:gd name="connsiteX233" fmla="*/ 4295062 w 12191999"/>
              <a:gd name="connsiteY233" fmla="*/ 1487441 h 6858000"/>
              <a:gd name="connsiteX234" fmla="*/ 4348815 w 12191999"/>
              <a:gd name="connsiteY234" fmla="*/ 1502101 h 6858000"/>
              <a:gd name="connsiteX235" fmla="*/ 4554055 w 12191999"/>
              <a:gd name="connsiteY235" fmla="*/ 1502101 h 6858000"/>
              <a:gd name="connsiteX236" fmla="*/ 4580339 w 12191999"/>
              <a:gd name="connsiteY236" fmla="*/ 1513955 h 6858000"/>
              <a:gd name="connsiteX237" fmla="*/ 4580382 w 12191999"/>
              <a:gd name="connsiteY237" fmla="*/ 1514287 h 6858000"/>
              <a:gd name="connsiteX238" fmla="*/ 4581432 w 12191999"/>
              <a:gd name="connsiteY238" fmla="*/ 1513558 h 6858000"/>
              <a:gd name="connsiteX239" fmla="*/ 4598057 w 12191999"/>
              <a:gd name="connsiteY239" fmla="*/ 1511994 h 6858000"/>
              <a:gd name="connsiteX240" fmla="*/ 4811845 w 12191999"/>
              <a:gd name="connsiteY240" fmla="*/ 1513216 h 6858000"/>
              <a:gd name="connsiteX241" fmla="*/ 4894918 w 12191999"/>
              <a:gd name="connsiteY241" fmla="*/ 1571855 h 6858000"/>
              <a:gd name="connsiteX242" fmla="*/ 4859491 w 12191999"/>
              <a:gd name="connsiteY242" fmla="*/ 1630493 h 6858000"/>
              <a:gd name="connsiteX243" fmla="*/ 4853383 w 12191999"/>
              <a:gd name="connsiteY243" fmla="*/ 1731891 h 6858000"/>
              <a:gd name="connsiteX244" fmla="*/ 4969438 w 12191999"/>
              <a:gd name="connsiteY244" fmla="*/ 1770984 h 6858000"/>
              <a:gd name="connsiteX245" fmla="*/ 5069614 w 12191999"/>
              <a:gd name="connsiteY245" fmla="*/ 1696462 h 6858000"/>
              <a:gd name="connsiteX246" fmla="*/ 5025634 w 12191999"/>
              <a:gd name="connsiteY246" fmla="*/ 1617055 h 6858000"/>
              <a:gd name="connsiteX247" fmla="*/ 5020749 w 12191999"/>
              <a:gd name="connsiteY247" fmla="*/ 1548643 h 6858000"/>
              <a:gd name="connsiteX248" fmla="*/ 5094050 w 12191999"/>
              <a:gd name="connsiteY248" fmla="*/ 1513216 h 6858000"/>
              <a:gd name="connsiteX249" fmla="*/ 5302949 w 12191999"/>
              <a:gd name="connsiteY249" fmla="*/ 1513216 h 6858000"/>
              <a:gd name="connsiteX250" fmla="*/ 5335935 w 12191999"/>
              <a:gd name="connsiteY250" fmla="*/ 1548643 h 6858000"/>
              <a:gd name="connsiteX251" fmla="*/ 5335935 w 12191999"/>
              <a:gd name="connsiteY251" fmla="*/ 1648817 h 6858000"/>
              <a:gd name="connsiteX252" fmla="*/ 5335935 w 12191999"/>
              <a:gd name="connsiteY252" fmla="*/ 1706237 h 6858000"/>
              <a:gd name="connsiteX253" fmla="*/ 5335935 w 12191999"/>
              <a:gd name="connsiteY253" fmla="*/ 1768539 h 6858000"/>
              <a:gd name="connsiteX254" fmla="*/ 5279741 w 12191999"/>
              <a:gd name="connsiteY254" fmla="*/ 1844283 h 6858000"/>
              <a:gd name="connsiteX255" fmla="*/ 5219879 w 12191999"/>
              <a:gd name="connsiteY255" fmla="*/ 1808854 h 6858000"/>
              <a:gd name="connsiteX256" fmla="*/ 5122147 w 12191999"/>
              <a:gd name="connsiteY256" fmla="*/ 1799081 h 6858000"/>
              <a:gd name="connsiteX257" fmla="*/ 5080610 w 12191999"/>
              <a:gd name="connsiteY257" fmla="*/ 1935906 h 6858000"/>
              <a:gd name="connsiteX258" fmla="*/ 5156351 w 12191999"/>
              <a:gd name="connsiteY258" fmla="*/ 2018979 h 6858000"/>
              <a:gd name="connsiteX259" fmla="*/ 5229651 w 12191999"/>
              <a:gd name="connsiteY259" fmla="*/ 1978665 h 6858000"/>
              <a:gd name="connsiteX260" fmla="*/ 5311502 w 12191999"/>
              <a:gd name="connsiteY260" fmla="*/ 1977443 h 6858000"/>
              <a:gd name="connsiteX261" fmla="*/ 5335935 w 12191999"/>
              <a:gd name="connsiteY261" fmla="*/ 2047077 h 6858000"/>
              <a:gd name="connsiteX262" fmla="*/ 5335935 w 12191999"/>
              <a:gd name="connsiteY262" fmla="*/ 2247429 h 6858000"/>
              <a:gd name="connsiteX263" fmla="*/ 5300506 w 12191999"/>
              <a:gd name="connsiteY263" fmla="*/ 2284079 h 6858000"/>
              <a:gd name="connsiteX264" fmla="*/ 5091606 w 12191999"/>
              <a:gd name="connsiteY264" fmla="*/ 2282856 h 6858000"/>
              <a:gd name="connsiteX265" fmla="*/ 5030522 w 12191999"/>
              <a:gd name="connsiteY265" fmla="*/ 2320726 h 6858000"/>
              <a:gd name="connsiteX266" fmla="*/ 5058619 w 12191999"/>
              <a:gd name="connsiteY266" fmla="*/ 2362263 h 6858000"/>
              <a:gd name="connsiteX267" fmla="*/ 5070837 w 12191999"/>
              <a:gd name="connsiteY267" fmla="*/ 2486872 h 6858000"/>
              <a:gd name="connsiteX268" fmla="*/ 4926682 w 12191999"/>
              <a:gd name="connsiteY268" fmla="*/ 2539402 h 6858000"/>
              <a:gd name="connsiteX269" fmla="*/ 4813067 w 12191999"/>
              <a:gd name="connsiteY269" fmla="*/ 2452666 h 6858000"/>
              <a:gd name="connsiteX270" fmla="*/ 4855825 w 12191999"/>
              <a:gd name="connsiteY270" fmla="*/ 2352491 h 6858000"/>
              <a:gd name="connsiteX271" fmla="*/ 4853383 w 12191999"/>
              <a:gd name="connsiteY271" fmla="*/ 2296294 h 6858000"/>
              <a:gd name="connsiteX272" fmla="*/ 4799629 w 12191999"/>
              <a:gd name="connsiteY272" fmla="*/ 2281634 h 6858000"/>
              <a:gd name="connsiteX273" fmla="*/ 4633486 w 12191999"/>
              <a:gd name="connsiteY273" fmla="*/ 2281634 h 6858000"/>
              <a:gd name="connsiteX274" fmla="*/ 4568545 w 12191999"/>
              <a:gd name="connsiteY274" fmla="*/ 2254834 h 6858000"/>
              <a:gd name="connsiteX275" fmla="*/ 4568533 w 12191999"/>
              <a:gd name="connsiteY275" fmla="*/ 2254378 h 6858000"/>
              <a:gd name="connsiteX276" fmla="*/ 4567644 w 12191999"/>
              <a:gd name="connsiteY276" fmla="*/ 2255861 h 6858000"/>
              <a:gd name="connsiteX277" fmla="*/ 4544720 w 12191999"/>
              <a:gd name="connsiteY277" fmla="*/ 2264404 h 6858000"/>
              <a:gd name="connsiteX278" fmla="*/ 4554906 w 12191999"/>
              <a:gd name="connsiteY278" fmla="*/ 2264379 h 6858000"/>
              <a:gd name="connsiteX279" fmla="*/ 4573231 w 12191999"/>
              <a:gd name="connsiteY279" fmla="*/ 2293699 h 6858000"/>
              <a:gd name="connsiteX280" fmla="*/ 4573231 w 12191999"/>
              <a:gd name="connsiteY280" fmla="*/ 2494050 h 6858000"/>
              <a:gd name="connsiteX281" fmla="*/ 4590334 w 12191999"/>
              <a:gd name="connsiteY281" fmla="*/ 2551467 h 6858000"/>
              <a:gd name="connsiteX282" fmla="*/ 4646530 w 12191999"/>
              <a:gd name="connsiteY282" fmla="*/ 2551467 h 6858000"/>
              <a:gd name="connsiteX283" fmla="*/ 4815115 w 12191999"/>
              <a:gd name="connsiteY283" fmla="*/ 2567347 h 6858000"/>
              <a:gd name="connsiteX284" fmla="*/ 4778466 w 12191999"/>
              <a:gd name="connsiteY284" fmla="*/ 2768920 h 6858000"/>
              <a:gd name="connsiteX285" fmla="*/ 4657524 w 12191999"/>
              <a:gd name="connsiteY285" fmla="*/ 2757926 h 6858000"/>
              <a:gd name="connsiteX286" fmla="*/ 4612323 w 12191999"/>
              <a:gd name="connsiteY286" fmla="*/ 2728606 h 6858000"/>
              <a:gd name="connsiteX287" fmla="*/ 4575675 w 12191999"/>
              <a:gd name="connsiteY287" fmla="*/ 2790910 h 6858000"/>
              <a:gd name="connsiteX288" fmla="*/ 4576894 w 12191999"/>
              <a:gd name="connsiteY288" fmla="*/ 2991261 h 6858000"/>
              <a:gd name="connsiteX289" fmla="*/ 4570481 w 12191999"/>
              <a:gd name="connsiteY289" fmla="*/ 3024856 h 6858000"/>
              <a:gd name="connsiteX290" fmla="*/ 4561944 w 12191999"/>
              <a:gd name="connsiteY290" fmla="*/ 3029609 h 6858000"/>
              <a:gd name="connsiteX291" fmla="*/ 4568608 w 12191999"/>
              <a:gd name="connsiteY291" fmla="*/ 3030206 h 6858000"/>
              <a:gd name="connsiteX292" fmla="*/ 4578857 w 12191999"/>
              <a:gd name="connsiteY292" fmla="*/ 3036715 h 6858000"/>
              <a:gd name="connsiteX293" fmla="*/ 4581540 w 12191999"/>
              <a:gd name="connsiteY293" fmla="*/ 3051267 h 6858000"/>
              <a:gd name="connsiteX294" fmla="*/ 4595169 w 12191999"/>
              <a:gd name="connsiteY294" fmla="*/ 3045892 h 6858000"/>
              <a:gd name="connsiteX295" fmla="*/ 4620385 w 12191999"/>
              <a:gd name="connsiteY295" fmla="*/ 3045454 h 6858000"/>
              <a:gd name="connsiteX296" fmla="*/ 4806076 w 12191999"/>
              <a:gd name="connsiteY296" fmla="*/ 3046674 h 6858000"/>
              <a:gd name="connsiteX297" fmla="*/ 4874487 w 12191999"/>
              <a:gd name="connsiteY297" fmla="*/ 3006359 h 6858000"/>
              <a:gd name="connsiteX298" fmla="*/ 4841504 w 12191999"/>
              <a:gd name="connsiteY298" fmla="*/ 2962382 h 6858000"/>
              <a:gd name="connsiteX299" fmla="*/ 4826843 w 12191999"/>
              <a:gd name="connsiteY299" fmla="*/ 2852433 h 6858000"/>
              <a:gd name="connsiteX300" fmla="*/ 5055294 w 12191999"/>
              <a:gd name="connsiteY300" fmla="*/ 2823113 h 6858000"/>
              <a:gd name="connsiteX301" fmla="*/ 5050406 w 12191999"/>
              <a:gd name="connsiteY301" fmla="*/ 2973375 h 6858000"/>
              <a:gd name="connsiteX302" fmla="*/ 5051628 w 12191999"/>
              <a:gd name="connsiteY302" fmla="*/ 3033236 h 6858000"/>
              <a:gd name="connsiteX303" fmla="*/ 5105382 w 12191999"/>
              <a:gd name="connsiteY303" fmla="*/ 3047896 h 6858000"/>
              <a:gd name="connsiteX304" fmla="*/ 5310620 w 12191999"/>
              <a:gd name="connsiteY304" fmla="*/ 3047896 h 6858000"/>
              <a:gd name="connsiteX305" fmla="*/ 5338715 w 12191999"/>
              <a:gd name="connsiteY305" fmla="*/ 3073551 h 6858000"/>
              <a:gd name="connsiteX306" fmla="*/ 5337493 w 12191999"/>
              <a:gd name="connsiteY306" fmla="*/ 3297112 h 6858000"/>
              <a:gd name="connsiteX307" fmla="*/ 5278853 w 12191999"/>
              <a:gd name="connsiteY307" fmla="*/ 3375299 h 6858000"/>
              <a:gd name="connsiteX308" fmla="*/ 5221435 w 12191999"/>
              <a:gd name="connsiteY308" fmla="*/ 3339871 h 6858000"/>
              <a:gd name="connsiteX309" fmla="*/ 5123706 w 12191999"/>
              <a:gd name="connsiteY309" fmla="*/ 3330097 h 6858000"/>
              <a:gd name="connsiteX310" fmla="*/ 5079725 w 12191999"/>
              <a:gd name="connsiteY310" fmla="*/ 3443711 h 6858000"/>
              <a:gd name="connsiteX311" fmla="*/ 5153026 w 12191999"/>
              <a:gd name="connsiteY311" fmla="*/ 3549995 h 6858000"/>
              <a:gd name="connsiteX312" fmla="*/ 5233655 w 12191999"/>
              <a:gd name="connsiteY312" fmla="*/ 3507238 h 6858000"/>
              <a:gd name="connsiteX313" fmla="*/ 5305732 w 12191999"/>
              <a:gd name="connsiteY313" fmla="*/ 3503573 h 6858000"/>
              <a:gd name="connsiteX314" fmla="*/ 5337493 w 12191999"/>
              <a:gd name="connsiteY314" fmla="*/ 3574428 h 6858000"/>
              <a:gd name="connsiteX315" fmla="*/ 5337493 w 12191999"/>
              <a:gd name="connsiteY315" fmla="*/ 3707588 h 6858000"/>
              <a:gd name="connsiteX316" fmla="*/ 5231209 w 12191999"/>
              <a:gd name="connsiteY316" fmla="*/ 3815093 h 6858000"/>
              <a:gd name="connsiteX317" fmla="*/ 5088277 w 12191999"/>
              <a:gd name="connsiteY317" fmla="*/ 3815093 h 6858000"/>
              <a:gd name="connsiteX318" fmla="*/ 5032081 w 12191999"/>
              <a:gd name="connsiteY318" fmla="*/ 3852965 h 6858000"/>
              <a:gd name="connsiteX319" fmla="*/ 5060180 w 12191999"/>
              <a:gd name="connsiteY319" fmla="*/ 3894500 h 6858000"/>
              <a:gd name="connsiteX320" fmla="*/ 5079725 w 12191999"/>
              <a:gd name="connsiteY320" fmla="*/ 4006891 h 6858000"/>
              <a:gd name="connsiteX321" fmla="*/ 4909915 w 12191999"/>
              <a:gd name="connsiteY321" fmla="*/ 4069196 h 6858000"/>
              <a:gd name="connsiteX322" fmla="*/ 4812184 w 12191999"/>
              <a:gd name="connsiteY322" fmla="*/ 3976351 h 6858000"/>
              <a:gd name="connsiteX323" fmla="*/ 4857383 w 12191999"/>
              <a:gd name="connsiteY323" fmla="*/ 3885949 h 6858000"/>
              <a:gd name="connsiteX324" fmla="*/ 4856163 w 12191999"/>
              <a:gd name="connsiteY324" fmla="*/ 3829753 h 6858000"/>
              <a:gd name="connsiteX325" fmla="*/ 4802409 w 12191999"/>
              <a:gd name="connsiteY325" fmla="*/ 3815093 h 6858000"/>
              <a:gd name="connsiteX326" fmla="*/ 4606946 w 12191999"/>
              <a:gd name="connsiteY326" fmla="*/ 3816315 h 6858000"/>
              <a:gd name="connsiteX327" fmla="*/ 4581843 w 12191999"/>
              <a:gd name="connsiteY327" fmla="*/ 3811533 h 6858000"/>
              <a:gd name="connsiteX328" fmla="*/ 4581798 w 12191999"/>
              <a:gd name="connsiteY328" fmla="*/ 3821095 h 6858000"/>
              <a:gd name="connsiteX329" fmla="*/ 4581798 w 12191999"/>
              <a:gd name="connsiteY329" fmla="*/ 4049544 h 6858000"/>
              <a:gd name="connsiteX330" fmla="*/ 4528044 w 12191999"/>
              <a:gd name="connsiteY330" fmla="*/ 4121621 h 6858000"/>
              <a:gd name="connsiteX331" fmla="*/ 4468182 w 12191999"/>
              <a:gd name="connsiteY331" fmla="*/ 4089859 h 6858000"/>
              <a:gd name="connsiteX332" fmla="*/ 4364344 w 12191999"/>
              <a:gd name="connsiteY332" fmla="*/ 4081306 h 6858000"/>
              <a:gd name="connsiteX333" fmla="*/ 4360678 w 12191999"/>
              <a:gd name="connsiteY333" fmla="*/ 4271879 h 6858000"/>
              <a:gd name="connsiteX334" fmla="*/ 4469406 w 12191999"/>
              <a:gd name="connsiteY334" fmla="*/ 4266992 h 6858000"/>
              <a:gd name="connsiteX335" fmla="*/ 4529266 w 12191999"/>
              <a:gd name="connsiteY335" fmla="*/ 4235230 h 6858000"/>
              <a:gd name="connsiteX336" fmla="*/ 4583017 w 12191999"/>
              <a:gd name="connsiteY336" fmla="*/ 4312195 h 6858000"/>
              <a:gd name="connsiteX337" fmla="*/ 4585462 w 12191999"/>
              <a:gd name="connsiteY337" fmla="*/ 4420922 h 6858000"/>
              <a:gd name="connsiteX338" fmla="*/ 4585462 w 12191999"/>
              <a:gd name="connsiteY338" fmla="*/ 4535755 h 6858000"/>
              <a:gd name="connsiteX339" fmla="*/ 4580270 w 12191999"/>
              <a:gd name="connsiteY339" fmla="*/ 4556981 h 6858000"/>
              <a:gd name="connsiteX340" fmla="*/ 4558623 w 12191999"/>
              <a:gd name="connsiteY340" fmla="*/ 4562623 h 6858000"/>
              <a:gd name="connsiteX341" fmla="*/ 4558623 w 12191999"/>
              <a:gd name="connsiteY341" fmla="*/ 4566440 h 6858000"/>
              <a:gd name="connsiteX342" fmla="*/ 4573343 w 12191999"/>
              <a:gd name="connsiteY342" fmla="*/ 4568280 h 6858000"/>
              <a:gd name="connsiteX343" fmla="*/ 4583997 w 12191999"/>
              <a:gd name="connsiteY343" fmla="*/ 4582238 h 6858000"/>
              <a:gd name="connsiteX344" fmla="*/ 4584236 w 12191999"/>
              <a:gd name="connsiteY344" fmla="*/ 4584622 h 6858000"/>
              <a:gd name="connsiteX345" fmla="*/ 4590467 w 12191999"/>
              <a:gd name="connsiteY345" fmla="*/ 4573843 h 6858000"/>
              <a:gd name="connsiteX346" fmla="*/ 4626810 w 12191999"/>
              <a:gd name="connsiteY346" fmla="*/ 4567125 h 6858000"/>
              <a:gd name="connsiteX347" fmla="*/ 4827160 w 12191999"/>
              <a:gd name="connsiteY347" fmla="*/ 4567125 h 6858000"/>
              <a:gd name="connsiteX348" fmla="*/ 4890685 w 12191999"/>
              <a:gd name="connsiteY348" fmla="*/ 4591556 h 6858000"/>
              <a:gd name="connsiteX349" fmla="*/ 4887021 w 12191999"/>
              <a:gd name="connsiteY349" fmla="*/ 4672186 h 6858000"/>
              <a:gd name="connsiteX350" fmla="*/ 4847929 w 12191999"/>
              <a:gd name="connsiteY350" fmla="*/ 4741820 h 6858000"/>
              <a:gd name="connsiteX351" fmla="*/ 4920006 w 12191999"/>
              <a:gd name="connsiteY351" fmla="*/ 4817562 h 6858000"/>
              <a:gd name="connsiteX352" fmla="*/ 5064161 w 12191999"/>
              <a:gd name="connsiteY352" fmla="*/ 4784578 h 6858000"/>
              <a:gd name="connsiteX353" fmla="*/ 5056831 w 12191999"/>
              <a:gd name="connsiteY353" fmla="*/ 4679516 h 6858000"/>
              <a:gd name="connsiteX354" fmla="*/ 5022625 w 12191999"/>
              <a:gd name="connsiteY354" fmla="*/ 4624541 h 6858000"/>
              <a:gd name="connsiteX355" fmla="*/ 5092258 w 12191999"/>
              <a:gd name="connsiteY355" fmla="*/ 4568344 h 6858000"/>
              <a:gd name="connsiteX356" fmla="*/ 5330479 w 12191999"/>
              <a:gd name="connsiteY356" fmla="*/ 4567125 h 6858000"/>
              <a:gd name="connsiteX357" fmla="*/ 5353691 w 12191999"/>
              <a:gd name="connsiteY357" fmla="*/ 4597667 h 6858000"/>
              <a:gd name="connsiteX358" fmla="*/ 5353691 w 12191999"/>
              <a:gd name="connsiteY358" fmla="*/ 4802902 h 6858000"/>
              <a:gd name="connsiteX359" fmla="*/ 5372016 w 12191999"/>
              <a:gd name="connsiteY359" fmla="*/ 4859100 h 6858000"/>
              <a:gd name="connsiteX360" fmla="*/ 5422104 w 12191999"/>
              <a:gd name="connsiteY360" fmla="*/ 4856655 h 6858000"/>
              <a:gd name="connsiteX361" fmla="*/ 5512505 w 12191999"/>
              <a:gd name="connsiteY361" fmla="*/ 4809011 h 6858000"/>
              <a:gd name="connsiteX362" fmla="*/ 5607793 w 12191999"/>
              <a:gd name="connsiteY362" fmla="*/ 4905522 h 6858000"/>
              <a:gd name="connsiteX363" fmla="*/ 5562593 w 12191999"/>
              <a:gd name="connsiteY363" fmla="*/ 5065559 h 6858000"/>
              <a:gd name="connsiteX364" fmla="*/ 5430656 w 12191999"/>
              <a:gd name="connsiteY364" fmla="*/ 5057007 h 6858000"/>
              <a:gd name="connsiteX365" fmla="*/ 5392783 w 12191999"/>
              <a:gd name="connsiteY365" fmla="*/ 5030132 h 6858000"/>
              <a:gd name="connsiteX366" fmla="*/ 5354913 w 12191999"/>
              <a:gd name="connsiteY366" fmla="*/ 5085106 h 6858000"/>
              <a:gd name="connsiteX367" fmla="*/ 5356135 w 12191999"/>
              <a:gd name="connsiteY367" fmla="*/ 5294008 h 6858000"/>
              <a:gd name="connsiteX368" fmla="*/ 5350738 w 12191999"/>
              <a:gd name="connsiteY368" fmla="*/ 5321930 h 6858000"/>
              <a:gd name="connsiteX369" fmla="*/ 5371287 w 12191999"/>
              <a:gd name="connsiteY369" fmla="*/ 5318874 h 6858000"/>
              <a:gd name="connsiteX370" fmla="*/ 5585072 w 12191999"/>
              <a:gd name="connsiteY370" fmla="*/ 5318874 h 6858000"/>
              <a:gd name="connsiteX371" fmla="*/ 5651043 w 12191999"/>
              <a:gd name="connsiteY371" fmla="*/ 5349416 h 6858000"/>
              <a:gd name="connsiteX372" fmla="*/ 5646155 w 12191999"/>
              <a:gd name="connsiteY372" fmla="*/ 5421493 h 6858000"/>
              <a:gd name="connsiteX373" fmla="*/ 5603399 w 12191999"/>
              <a:gd name="connsiteY373" fmla="*/ 5498458 h 6858000"/>
              <a:gd name="connsiteX374" fmla="*/ 5692578 w 12191999"/>
              <a:gd name="connsiteY374" fmla="*/ 5574200 h 6858000"/>
              <a:gd name="connsiteX375" fmla="*/ 5812299 w 12191999"/>
              <a:gd name="connsiteY375" fmla="*/ 5544881 h 6858000"/>
              <a:gd name="connsiteX376" fmla="*/ 5808637 w 12191999"/>
              <a:gd name="connsiteY376" fmla="*/ 5430047 h 6858000"/>
              <a:gd name="connsiteX377" fmla="*/ 5778092 w 12191999"/>
              <a:gd name="connsiteY377" fmla="*/ 5378737 h 6858000"/>
              <a:gd name="connsiteX378" fmla="*/ 5837954 w 12191999"/>
              <a:gd name="connsiteY378" fmla="*/ 5323761 h 6858000"/>
              <a:gd name="connsiteX379" fmla="*/ 6089611 w 12191999"/>
              <a:gd name="connsiteY379" fmla="*/ 5320096 h 6858000"/>
              <a:gd name="connsiteX380" fmla="*/ 6106714 w 12191999"/>
              <a:gd name="connsiteY380" fmla="*/ 5345752 h 6858000"/>
              <a:gd name="connsiteX381" fmla="*/ 6106714 w 12191999"/>
              <a:gd name="connsiteY381" fmla="*/ 5574200 h 6858000"/>
              <a:gd name="connsiteX382" fmla="*/ 6052963 w 12191999"/>
              <a:gd name="connsiteY382" fmla="*/ 5646278 h 6858000"/>
              <a:gd name="connsiteX383" fmla="*/ 5993101 w 12191999"/>
              <a:gd name="connsiteY383" fmla="*/ 5614516 h 6858000"/>
              <a:gd name="connsiteX384" fmla="*/ 5889264 w 12191999"/>
              <a:gd name="connsiteY384" fmla="*/ 5605962 h 6858000"/>
              <a:gd name="connsiteX385" fmla="*/ 5885598 w 12191999"/>
              <a:gd name="connsiteY385" fmla="*/ 5796541 h 6858000"/>
              <a:gd name="connsiteX386" fmla="*/ 5994323 w 12191999"/>
              <a:gd name="connsiteY386" fmla="*/ 5791654 h 6858000"/>
              <a:gd name="connsiteX387" fmla="*/ 6054184 w 12191999"/>
              <a:gd name="connsiteY387" fmla="*/ 5759891 h 6858000"/>
              <a:gd name="connsiteX388" fmla="*/ 6107935 w 12191999"/>
              <a:gd name="connsiteY388" fmla="*/ 5836855 h 6858000"/>
              <a:gd name="connsiteX389" fmla="*/ 6110381 w 12191999"/>
              <a:gd name="connsiteY389" fmla="*/ 5945582 h 6858000"/>
              <a:gd name="connsiteX390" fmla="*/ 6110381 w 12191999"/>
              <a:gd name="connsiteY390" fmla="*/ 6060417 h 6858000"/>
              <a:gd name="connsiteX391" fmla="*/ 6106055 w 12191999"/>
              <a:gd name="connsiteY391" fmla="*/ 6078094 h 6858000"/>
              <a:gd name="connsiteX392" fmla="*/ 6108059 w 12191999"/>
              <a:gd name="connsiteY392" fmla="*/ 6078201 h 6858000"/>
              <a:gd name="connsiteX393" fmla="*/ 6121268 w 12191999"/>
              <a:gd name="connsiteY393" fmla="*/ 6085837 h 6858000"/>
              <a:gd name="connsiteX394" fmla="*/ 6125405 w 12191999"/>
              <a:gd name="connsiteY394" fmla="*/ 6096044 h 6858000"/>
              <a:gd name="connsiteX395" fmla="*/ 6126156 w 12191999"/>
              <a:gd name="connsiteY395" fmla="*/ 6094323 h 6858000"/>
              <a:gd name="connsiteX396" fmla="*/ 6161736 w 12191999"/>
              <a:gd name="connsiteY396" fmla="*/ 6086077 h 6858000"/>
              <a:gd name="connsiteX397" fmla="*/ 6366973 w 12191999"/>
              <a:gd name="connsiteY397" fmla="*/ 6086077 h 6858000"/>
              <a:gd name="connsiteX398" fmla="*/ 6439050 w 12191999"/>
              <a:gd name="connsiteY398" fmla="*/ 6125170 h 6858000"/>
              <a:gd name="connsiteX399" fmla="*/ 6431720 w 12191999"/>
              <a:gd name="connsiteY399" fmla="*/ 6186252 h 6858000"/>
              <a:gd name="connsiteX400" fmla="*/ 6388963 w 12191999"/>
              <a:gd name="connsiteY400" fmla="*/ 6279097 h 6858000"/>
              <a:gd name="connsiteX401" fmla="*/ 6524567 w 12191999"/>
              <a:gd name="connsiteY401" fmla="*/ 6343846 h 6858000"/>
              <a:gd name="connsiteX402" fmla="*/ 6624741 w 12191999"/>
              <a:gd name="connsiteY402" fmla="*/ 6260772 h 6858000"/>
              <a:gd name="connsiteX403" fmla="*/ 6589314 w 12191999"/>
              <a:gd name="connsiteY403" fmla="*/ 6197247 h 6858000"/>
              <a:gd name="connsiteX404" fmla="*/ 6559994 w 12191999"/>
              <a:gd name="connsiteY404" fmla="*/ 6139830 h 6858000"/>
              <a:gd name="connsiteX405" fmla="*/ 6622298 w 12191999"/>
              <a:gd name="connsiteY405" fmla="*/ 6087298 h 6858000"/>
              <a:gd name="connsiteX406" fmla="*/ 6870294 w 12191999"/>
              <a:gd name="connsiteY406" fmla="*/ 6086077 h 6858000"/>
              <a:gd name="connsiteX407" fmla="*/ 6878000 w 12191999"/>
              <a:gd name="connsiteY407" fmla="*/ 6089431 h 6858000"/>
              <a:gd name="connsiteX408" fmla="*/ 6879007 w 12191999"/>
              <a:gd name="connsiteY408" fmla="*/ 6086924 h 6858000"/>
              <a:gd name="connsiteX409" fmla="*/ 6877557 w 12191999"/>
              <a:gd name="connsiteY409" fmla="*/ 6084401 h 6858000"/>
              <a:gd name="connsiteX410" fmla="*/ 6876069 w 12191999"/>
              <a:gd name="connsiteY410" fmla="*/ 6064396 h 6858000"/>
              <a:gd name="connsiteX411" fmla="*/ 6877291 w 12191999"/>
              <a:gd name="connsiteY411" fmla="*/ 5860381 h 6858000"/>
              <a:gd name="connsiteX412" fmla="*/ 6835754 w 12191999"/>
              <a:gd name="connsiteY412" fmla="*/ 5796854 h 6858000"/>
              <a:gd name="connsiteX413" fmla="*/ 6794219 w 12191999"/>
              <a:gd name="connsiteY413" fmla="*/ 5827396 h 6858000"/>
              <a:gd name="connsiteX414" fmla="*/ 6672053 w 12191999"/>
              <a:gd name="connsiteY414" fmla="*/ 5838391 h 6858000"/>
              <a:gd name="connsiteX415" fmla="*/ 6618301 w 12191999"/>
              <a:gd name="connsiteY415" fmla="*/ 5690570 h 6858000"/>
              <a:gd name="connsiteX416" fmla="*/ 6707480 w 12191999"/>
              <a:gd name="connsiteY416" fmla="*/ 5578181 h 6858000"/>
              <a:gd name="connsiteX417" fmla="*/ 6806435 w 12191999"/>
              <a:gd name="connsiteY417" fmla="*/ 5623380 h 6858000"/>
              <a:gd name="connsiteX418" fmla="*/ 6856522 w 12191999"/>
              <a:gd name="connsiteY418" fmla="*/ 5623380 h 6858000"/>
              <a:gd name="connsiteX419" fmla="*/ 6876069 w 12191999"/>
              <a:gd name="connsiteY419" fmla="*/ 5567184 h 6858000"/>
              <a:gd name="connsiteX420" fmla="*/ 6874847 w 12191999"/>
              <a:gd name="connsiteY420" fmla="*/ 5371720 h 6858000"/>
              <a:gd name="connsiteX421" fmla="*/ 6912719 w 12191999"/>
              <a:gd name="connsiteY421" fmla="*/ 5332627 h 6858000"/>
              <a:gd name="connsiteX422" fmla="*/ 7113069 w 12191999"/>
              <a:gd name="connsiteY422" fmla="*/ 5333849 h 6858000"/>
              <a:gd name="connsiteX423" fmla="*/ 7179039 w 12191999"/>
              <a:gd name="connsiteY423" fmla="*/ 5295978 h 6858000"/>
              <a:gd name="connsiteX424" fmla="*/ 7147275 w 12191999"/>
              <a:gd name="connsiteY424" fmla="*/ 5250776 h 6858000"/>
              <a:gd name="connsiteX425" fmla="*/ 7136280 w 12191999"/>
              <a:gd name="connsiteY425" fmla="*/ 5133498 h 6858000"/>
              <a:gd name="connsiteX426" fmla="*/ 7292651 w 12191999"/>
              <a:gd name="connsiteY426" fmla="*/ 5078525 h 6858000"/>
              <a:gd name="connsiteX427" fmla="*/ 7400157 w 12191999"/>
              <a:gd name="connsiteY427" fmla="*/ 5167705 h 6858000"/>
              <a:gd name="connsiteX428" fmla="*/ 7354955 w 12191999"/>
              <a:gd name="connsiteY428" fmla="*/ 5264216 h 6858000"/>
              <a:gd name="connsiteX429" fmla="*/ 7357398 w 12191999"/>
              <a:gd name="connsiteY429" fmla="*/ 5319191 h 6858000"/>
              <a:gd name="connsiteX430" fmla="*/ 7409930 w 12191999"/>
              <a:gd name="connsiteY430" fmla="*/ 5335071 h 6858000"/>
              <a:gd name="connsiteX431" fmla="*/ 7615166 w 12191999"/>
              <a:gd name="connsiteY431" fmla="*/ 5333849 h 6858000"/>
              <a:gd name="connsiteX432" fmla="*/ 7644486 w 12191999"/>
              <a:gd name="connsiteY432" fmla="*/ 5363168 h 6858000"/>
              <a:gd name="connsiteX433" fmla="*/ 7644486 w 12191999"/>
              <a:gd name="connsiteY433" fmla="*/ 5581843 h 6858000"/>
              <a:gd name="connsiteX434" fmla="*/ 7588291 w 12191999"/>
              <a:gd name="connsiteY434" fmla="*/ 5661252 h 6858000"/>
              <a:gd name="connsiteX435" fmla="*/ 7529651 w 12191999"/>
              <a:gd name="connsiteY435" fmla="*/ 5627045 h 6858000"/>
              <a:gd name="connsiteX436" fmla="*/ 7428255 w 12191999"/>
              <a:gd name="connsiteY436" fmla="*/ 5619716 h 6858000"/>
              <a:gd name="connsiteX437" fmla="*/ 7390383 w 12191999"/>
              <a:gd name="connsiteY437" fmla="*/ 5754097 h 6858000"/>
              <a:gd name="connsiteX438" fmla="*/ 7466127 w 12191999"/>
              <a:gd name="connsiteY438" fmla="*/ 5837169 h 6858000"/>
              <a:gd name="connsiteX439" fmla="*/ 7538204 w 12191999"/>
              <a:gd name="connsiteY439" fmla="*/ 5795633 h 6858000"/>
              <a:gd name="connsiteX440" fmla="*/ 7617611 w 12191999"/>
              <a:gd name="connsiteY440" fmla="*/ 5791968 h 6858000"/>
              <a:gd name="connsiteX441" fmla="*/ 7644486 w 12191999"/>
              <a:gd name="connsiteY441" fmla="*/ 5855493 h 6858000"/>
              <a:gd name="connsiteX442" fmla="*/ 7644486 w 12191999"/>
              <a:gd name="connsiteY442" fmla="*/ 5960555 h 6858000"/>
              <a:gd name="connsiteX443" fmla="*/ 7645708 w 12191999"/>
              <a:gd name="connsiteY443" fmla="*/ 6072947 h 6858000"/>
              <a:gd name="connsiteX444" fmla="*/ 7643676 w 12191999"/>
              <a:gd name="connsiteY444" fmla="*/ 6091527 h 6858000"/>
              <a:gd name="connsiteX445" fmla="*/ 7645318 w 12191999"/>
              <a:gd name="connsiteY445" fmla="*/ 6082343 h 6858000"/>
              <a:gd name="connsiteX446" fmla="*/ 7677538 w 12191999"/>
              <a:gd name="connsiteY446" fmla="*/ 6073639 h 6858000"/>
              <a:gd name="connsiteX447" fmla="*/ 7886441 w 12191999"/>
              <a:gd name="connsiteY447" fmla="*/ 6074861 h 6858000"/>
              <a:gd name="connsiteX448" fmla="*/ 7956073 w 12191999"/>
              <a:gd name="connsiteY448" fmla="*/ 6107844 h 6858000"/>
              <a:gd name="connsiteX449" fmla="*/ 7949965 w 12191999"/>
              <a:gd name="connsiteY449" fmla="*/ 6176258 h 6858000"/>
              <a:gd name="connsiteX450" fmla="*/ 7905986 w 12191999"/>
              <a:gd name="connsiteY450" fmla="*/ 6256885 h 6858000"/>
              <a:gd name="connsiteX451" fmla="*/ 8002497 w 12191999"/>
              <a:gd name="connsiteY451" fmla="*/ 6331407 h 6858000"/>
              <a:gd name="connsiteX452" fmla="*/ 8110001 w 12191999"/>
              <a:gd name="connsiteY452" fmla="*/ 6304530 h 6858000"/>
              <a:gd name="connsiteX453" fmla="*/ 8110001 w 12191999"/>
              <a:gd name="connsiteY453" fmla="*/ 6183586 h 6858000"/>
              <a:gd name="connsiteX454" fmla="*/ 8079461 w 12191999"/>
              <a:gd name="connsiteY454" fmla="*/ 6135943 h 6858000"/>
              <a:gd name="connsiteX455" fmla="*/ 8141764 w 12191999"/>
              <a:gd name="connsiteY455" fmla="*/ 6077304 h 6858000"/>
              <a:gd name="connsiteX456" fmla="*/ 8393425 w 12191999"/>
              <a:gd name="connsiteY456" fmla="*/ 6074861 h 6858000"/>
              <a:gd name="connsiteX457" fmla="*/ 8406729 w 12191999"/>
              <a:gd name="connsiteY457" fmla="*/ 6078106 h 6858000"/>
              <a:gd name="connsiteX458" fmla="*/ 8410249 w 12191999"/>
              <a:gd name="connsiteY458" fmla="*/ 6084768 h 6858000"/>
              <a:gd name="connsiteX459" fmla="*/ 8414744 w 12191999"/>
              <a:gd name="connsiteY459" fmla="*/ 6080797 h 6858000"/>
              <a:gd name="connsiteX460" fmla="*/ 8436581 w 12191999"/>
              <a:gd name="connsiteY460" fmla="*/ 6079422 h 6858000"/>
              <a:gd name="connsiteX461" fmla="*/ 8641819 w 12191999"/>
              <a:gd name="connsiteY461" fmla="*/ 6079422 h 6858000"/>
              <a:gd name="connsiteX462" fmla="*/ 8690684 w 12191999"/>
              <a:gd name="connsiteY462" fmla="*/ 6065984 h 6858000"/>
              <a:gd name="connsiteX463" fmla="*/ 8693127 w 12191999"/>
              <a:gd name="connsiteY463" fmla="*/ 6003680 h 6858000"/>
              <a:gd name="connsiteX464" fmla="*/ 8688242 w 12191999"/>
              <a:gd name="connsiteY464" fmla="*/ 5855861 h 6858000"/>
              <a:gd name="connsiteX465" fmla="*/ 8909360 w 12191999"/>
              <a:gd name="connsiteY465" fmla="*/ 5870521 h 6858000"/>
              <a:gd name="connsiteX466" fmla="*/ 8900808 w 12191999"/>
              <a:gd name="connsiteY466" fmla="*/ 5998795 h 6858000"/>
              <a:gd name="connsiteX467" fmla="*/ 8873933 w 12191999"/>
              <a:gd name="connsiteY467" fmla="*/ 6041552 h 6858000"/>
              <a:gd name="connsiteX468" fmla="*/ 8931350 w 12191999"/>
              <a:gd name="connsiteY468" fmla="*/ 6078202 h 6858000"/>
              <a:gd name="connsiteX469" fmla="*/ 9136587 w 12191999"/>
              <a:gd name="connsiteY469" fmla="*/ 6076979 h 6858000"/>
              <a:gd name="connsiteX470" fmla="*/ 9159416 w 12191999"/>
              <a:gd name="connsiteY470" fmla="*/ 6078201 h 6858000"/>
              <a:gd name="connsiteX471" fmla="*/ 9160395 w 12191999"/>
              <a:gd name="connsiteY471" fmla="*/ 6078767 h 6858000"/>
              <a:gd name="connsiteX472" fmla="*/ 9159383 w 12191999"/>
              <a:gd name="connsiteY472" fmla="*/ 6065178 h 6858000"/>
              <a:gd name="connsiteX473" fmla="*/ 9160606 w 12191999"/>
              <a:gd name="connsiteY473" fmla="*/ 5856275 h 6858000"/>
              <a:gd name="connsiteX474" fmla="*/ 9125178 w 12191999"/>
              <a:gd name="connsiteY474" fmla="*/ 5798859 h 6858000"/>
              <a:gd name="connsiteX475" fmla="*/ 9083641 w 12191999"/>
              <a:gd name="connsiteY475" fmla="*/ 5825735 h 6858000"/>
              <a:gd name="connsiteX476" fmla="*/ 8954147 w 12191999"/>
              <a:gd name="connsiteY476" fmla="*/ 5835507 h 6858000"/>
              <a:gd name="connsiteX477" fmla="*/ 8901615 w 12191999"/>
              <a:gd name="connsiteY477" fmla="*/ 5764652 h 6858000"/>
              <a:gd name="connsiteX478" fmla="*/ 8902838 w 12191999"/>
              <a:gd name="connsiteY478" fmla="*/ 5668142 h 6858000"/>
              <a:gd name="connsiteX479" fmla="*/ 9099523 w 12191999"/>
              <a:gd name="connsiteY479" fmla="*/ 5630271 h 6858000"/>
              <a:gd name="connsiteX480" fmla="*/ 9132508 w 12191999"/>
              <a:gd name="connsiteY480" fmla="*/ 5633936 h 6858000"/>
              <a:gd name="connsiteX481" fmla="*/ 9161828 w 12191999"/>
              <a:gd name="connsiteY481" fmla="*/ 5572855 h 6858000"/>
              <a:gd name="connsiteX482" fmla="*/ 9160606 w 12191999"/>
              <a:gd name="connsiteY482" fmla="*/ 5382276 h 6858000"/>
              <a:gd name="connsiteX483" fmla="*/ 9213137 w 12191999"/>
              <a:gd name="connsiteY483" fmla="*/ 5332188 h 6858000"/>
              <a:gd name="connsiteX484" fmla="*/ 9398827 w 12191999"/>
              <a:gd name="connsiteY484" fmla="*/ 5333410 h 6858000"/>
              <a:gd name="connsiteX485" fmla="*/ 9467240 w 12191999"/>
              <a:gd name="connsiteY485" fmla="*/ 5293094 h 6858000"/>
              <a:gd name="connsiteX486" fmla="*/ 9434256 w 12191999"/>
              <a:gd name="connsiteY486" fmla="*/ 5249118 h 6858000"/>
              <a:gd name="connsiteX487" fmla="*/ 9419596 w 12191999"/>
              <a:gd name="connsiteY487" fmla="*/ 5139169 h 6858000"/>
              <a:gd name="connsiteX488" fmla="*/ 9648044 w 12191999"/>
              <a:gd name="connsiteY488" fmla="*/ 5109848 h 6858000"/>
              <a:gd name="connsiteX489" fmla="*/ 9643157 w 12191999"/>
              <a:gd name="connsiteY489" fmla="*/ 5260110 h 6858000"/>
              <a:gd name="connsiteX490" fmla="*/ 9644379 w 12191999"/>
              <a:gd name="connsiteY490" fmla="*/ 5319971 h 6858000"/>
              <a:gd name="connsiteX491" fmla="*/ 9698131 w 12191999"/>
              <a:gd name="connsiteY491" fmla="*/ 5334631 h 6858000"/>
              <a:gd name="connsiteX492" fmla="*/ 9903370 w 12191999"/>
              <a:gd name="connsiteY492" fmla="*/ 5334631 h 6858000"/>
              <a:gd name="connsiteX493" fmla="*/ 9929654 w 12191999"/>
              <a:gd name="connsiteY493" fmla="*/ 5346485 h 6858000"/>
              <a:gd name="connsiteX494" fmla="*/ 9930724 w 12191999"/>
              <a:gd name="connsiteY494" fmla="*/ 5354628 h 6858000"/>
              <a:gd name="connsiteX495" fmla="*/ 9932264 w 12191999"/>
              <a:gd name="connsiteY495" fmla="*/ 5354628 h 6858000"/>
              <a:gd name="connsiteX496" fmla="*/ 9932800 w 12191999"/>
              <a:gd name="connsiteY496" fmla="*/ 5349644 h 6858000"/>
              <a:gd name="connsiteX497" fmla="*/ 9947918 w 12191999"/>
              <a:gd name="connsiteY497" fmla="*/ 5337597 h 6858000"/>
              <a:gd name="connsiteX498" fmla="*/ 9951318 w 12191999"/>
              <a:gd name="connsiteY498" fmla="*/ 5337347 h 6858000"/>
              <a:gd name="connsiteX499" fmla="*/ 9952291 w 12191999"/>
              <a:gd name="connsiteY499" fmla="*/ 5335521 h 6858000"/>
              <a:gd name="connsiteX500" fmla="*/ 9934946 w 12191999"/>
              <a:gd name="connsiteY500" fmla="*/ 5330599 h 6858000"/>
              <a:gd name="connsiteX501" fmla="*/ 9930821 w 12191999"/>
              <a:gd name="connsiteY501" fmla="*/ 5309831 h 6858000"/>
              <a:gd name="connsiteX502" fmla="*/ 9930821 w 12191999"/>
              <a:gd name="connsiteY502" fmla="*/ 5086269 h 6858000"/>
              <a:gd name="connsiteX503" fmla="*/ 9976023 w 12191999"/>
              <a:gd name="connsiteY503" fmla="*/ 5012969 h 6858000"/>
              <a:gd name="connsiteX504" fmla="*/ 10026111 w 12191999"/>
              <a:gd name="connsiteY504" fmla="*/ 5020300 h 6858000"/>
              <a:gd name="connsiteX505" fmla="*/ 10151942 w 12191999"/>
              <a:gd name="connsiteY505" fmla="*/ 5045954 h 6858000"/>
              <a:gd name="connsiteX506" fmla="*/ 10160492 w 12191999"/>
              <a:gd name="connsiteY506" fmla="*/ 4868816 h 6858000"/>
              <a:gd name="connsiteX507" fmla="*/ 10039550 w 12191999"/>
              <a:gd name="connsiteY507" fmla="*/ 4867593 h 6858000"/>
              <a:gd name="connsiteX508" fmla="*/ 9987018 w 12191999"/>
              <a:gd name="connsiteY508" fmla="*/ 4895690 h 6858000"/>
              <a:gd name="connsiteX509" fmla="*/ 9932044 w 12191999"/>
              <a:gd name="connsiteY509" fmla="*/ 4830943 h 6858000"/>
              <a:gd name="connsiteX510" fmla="*/ 9929601 w 12191999"/>
              <a:gd name="connsiteY510" fmla="*/ 4587835 h 6858000"/>
              <a:gd name="connsiteX511" fmla="*/ 9957699 w 12191999"/>
              <a:gd name="connsiteY511" fmla="*/ 4568288 h 6858000"/>
              <a:gd name="connsiteX512" fmla="*/ 10158050 w 12191999"/>
              <a:gd name="connsiteY512" fmla="*/ 4568288 h 6858000"/>
              <a:gd name="connsiteX513" fmla="*/ 10204472 w 12191999"/>
              <a:gd name="connsiteY513" fmla="*/ 4560959 h 6858000"/>
              <a:gd name="connsiteX514" fmla="*/ 10213024 w 12191999"/>
              <a:gd name="connsiteY514" fmla="*/ 4493768 h 6858000"/>
              <a:gd name="connsiteX515" fmla="*/ 10209359 w 12191999"/>
              <a:gd name="connsiteY515" fmla="*/ 4345948 h 6858000"/>
              <a:gd name="connsiteX516" fmla="*/ 10325263 w 12191999"/>
              <a:gd name="connsiteY516" fmla="*/ 4307925 h 6858000"/>
              <a:gd name="connsiteX517" fmla="*/ 10432920 w 12191999"/>
              <a:gd name="connsiteY517" fmla="*/ 4364272 h 6858000"/>
              <a:gd name="connsiteX518" fmla="*/ 10423148 w 12191999"/>
              <a:gd name="connsiteY518" fmla="*/ 4486437 h 6858000"/>
              <a:gd name="connsiteX519" fmla="*/ 10393828 w 12191999"/>
              <a:gd name="connsiteY519" fmla="*/ 4531639 h 6858000"/>
              <a:gd name="connsiteX520" fmla="*/ 10459798 w 12191999"/>
              <a:gd name="connsiteY520" fmla="*/ 4569509 h 6858000"/>
              <a:gd name="connsiteX521" fmla="*/ 10660149 w 12191999"/>
              <a:gd name="connsiteY521" fmla="*/ 4568288 h 6858000"/>
              <a:gd name="connsiteX522" fmla="*/ 10700463 w 12191999"/>
              <a:gd name="connsiteY522" fmla="*/ 4607381 h 6858000"/>
              <a:gd name="connsiteX523" fmla="*/ 10699241 w 12191999"/>
              <a:gd name="connsiteY523" fmla="*/ 4802845 h 6858000"/>
              <a:gd name="connsiteX524" fmla="*/ 10672366 w 12191999"/>
              <a:gd name="connsiteY524" fmla="*/ 4876145 h 6858000"/>
              <a:gd name="connsiteX525" fmla="*/ 10591736 w 12191999"/>
              <a:gd name="connsiteY525" fmla="*/ 4872480 h 6858000"/>
              <a:gd name="connsiteX526" fmla="*/ 10518437 w 12191999"/>
              <a:gd name="connsiteY526" fmla="*/ 4833387 h 6858000"/>
              <a:gd name="connsiteX527" fmla="*/ 10443915 w 12191999"/>
              <a:gd name="connsiteY527" fmla="*/ 4917681 h 6858000"/>
              <a:gd name="connsiteX528" fmla="*/ 10486675 w 12191999"/>
              <a:gd name="connsiteY528" fmla="*/ 5054507 h 6858000"/>
              <a:gd name="connsiteX529" fmla="*/ 10580742 w 12191999"/>
              <a:gd name="connsiteY529" fmla="*/ 5045954 h 6858000"/>
              <a:gd name="connsiteX530" fmla="*/ 10643046 w 12191999"/>
              <a:gd name="connsiteY530" fmla="*/ 5009304 h 6858000"/>
              <a:gd name="connsiteX531" fmla="*/ 10699241 w 12191999"/>
              <a:gd name="connsiteY531" fmla="*/ 5089935 h 6858000"/>
              <a:gd name="connsiteX532" fmla="*/ 10700463 w 12191999"/>
              <a:gd name="connsiteY532" fmla="*/ 5308610 h 6858000"/>
              <a:gd name="connsiteX533" fmla="*/ 10695953 w 12191999"/>
              <a:gd name="connsiteY533" fmla="*/ 5325919 h 6858000"/>
              <a:gd name="connsiteX534" fmla="*/ 10695953 w 12191999"/>
              <a:gd name="connsiteY534" fmla="*/ 5342506 h 6858000"/>
              <a:gd name="connsiteX535" fmla="*/ 10697005 w 12191999"/>
              <a:gd name="connsiteY535" fmla="*/ 5340688 h 6858000"/>
              <a:gd name="connsiteX536" fmla="*/ 10739305 w 12191999"/>
              <a:gd name="connsiteY536" fmla="*/ 5333510 h 6858000"/>
              <a:gd name="connsiteX537" fmla="*/ 10924995 w 12191999"/>
              <a:gd name="connsiteY537" fmla="*/ 5334732 h 6858000"/>
              <a:gd name="connsiteX538" fmla="*/ 10993408 w 12191999"/>
              <a:gd name="connsiteY538" fmla="*/ 5294417 h 6858000"/>
              <a:gd name="connsiteX539" fmla="*/ 10960424 w 12191999"/>
              <a:gd name="connsiteY539" fmla="*/ 5250439 h 6858000"/>
              <a:gd name="connsiteX540" fmla="*/ 10945764 w 12191999"/>
              <a:gd name="connsiteY540" fmla="*/ 5140490 h 6858000"/>
              <a:gd name="connsiteX541" fmla="*/ 11174212 w 12191999"/>
              <a:gd name="connsiteY541" fmla="*/ 5111172 h 6858000"/>
              <a:gd name="connsiteX542" fmla="*/ 11169325 w 12191999"/>
              <a:gd name="connsiteY542" fmla="*/ 5261432 h 6858000"/>
              <a:gd name="connsiteX543" fmla="*/ 11170547 w 12191999"/>
              <a:gd name="connsiteY543" fmla="*/ 5321293 h 6858000"/>
              <a:gd name="connsiteX544" fmla="*/ 11224299 w 12191999"/>
              <a:gd name="connsiteY544" fmla="*/ 5335954 h 6858000"/>
              <a:gd name="connsiteX545" fmla="*/ 11429538 w 12191999"/>
              <a:gd name="connsiteY545" fmla="*/ 5335954 h 6858000"/>
              <a:gd name="connsiteX546" fmla="*/ 11457635 w 12191999"/>
              <a:gd name="connsiteY546" fmla="*/ 5361608 h 6858000"/>
              <a:gd name="connsiteX547" fmla="*/ 11456413 w 12191999"/>
              <a:gd name="connsiteY547" fmla="*/ 5585169 h 6858000"/>
              <a:gd name="connsiteX548" fmla="*/ 11397773 w 12191999"/>
              <a:gd name="connsiteY548" fmla="*/ 5663355 h 6858000"/>
              <a:gd name="connsiteX549" fmla="*/ 11340356 w 12191999"/>
              <a:gd name="connsiteY549" fmla="*/ 5627928 h 6858000"/>
              <a:gd name="connsiteX550" fmla="*/ 11242624 w 12191999"/>
              <a:gd name="connsiteY550" fmla="*/ 5618154 h 6858000"/>
              <a:gd name="connsiteX551" fmla="*/ 11198645 w 12191999"/>
              <a:gd name="connsiteY551" fmla="*/ 5731767 h 6858000"/>
              <a:gd name="connsiteX552" fmla="*/ 11271944 w 12191999"/>
              <a:gd name="connsiteY552" fmla="*/ 5838051 h 6858000"/>
              <a:gd name="connsiteX553" fmla="*/ 11352573 w 12191999"/>
              <a:gd name="connsiteY553" fmla="*/ 5795294 h 6858000"/>
              <a:gd name="connsiteX554" fmla="*/ 11424650 w 12191999"/>
              <a:gd name="connsiteY554" fmla="*/ 5791629 h 6858000"/>
              <a:gd name="connsiteX555" fmla="*/ 11456413 w 12191999"/>
              <a:gd name="connsiteY555" fmla="*/ 5862484 h 6858000"/>
              <a:gd name="connsiteX556" fmla="*/ 11456413 w 12191999"/>
              <a:gd name="connsiteY556" fmla="*/ 5995645 h 6858000"/>
              <a:gd name="connsiteX557" fmla="*/ 11450808 w 12191999"/>
              <a:gd name="connsiteY557" fmla="*/ 6076903 h 6858000"/>
              <a:gd name="connsiteX558" fmla="*/ 11443434 w 12191999"/>
              <a:gd name="connsiteY558" fmla="*/ 6089200 h 6858000"/>
              <a:gd name="connsiteX559" fmla="*/ 11447629 w 12191999"/>
              <a:gd name="connsiteY559" fmla="*/ 6089179 h 6858000"/>
              <a:gd name="connsiteX560" fmla="*/ 11460380 w 12191999"/>
              <a:gd name="connsiteY560" fmla="*/ 6094729 h 6858000"/>
              <a:gd name="connsiteX561" fmla="*/ 11461414 w 12191999"/>
              <a:gd name="connsiteY561" fmla="*/ 6089396 h 6858000"/>
              <a:gd name="connsiteX562" fmla="*/ 11491039 w 12191999"/>
              <a:gd name="connsiteY562" fmla="*/ 6081456 h 6858000"/>
              <a:gd name="connsiteX563" fmla="*/ 11686503 w 12191999"/>
              <a:gd name="connsiteY563" fmla="*/ 6082676 h 6858000"/>
              <a:gd name="connsiteX564" fmla="*/ 11732927 w 12191999"/>
              <a:gd name="connsiteY564" fmla="*/ 6074124 h 6858000"/>
              <a:gd name="connsiteX565" fmla="*/ 11741477 w 12191999"/>
              <a:gd name="connsiteY565" fmla="*/ 6008156 h 6858000"/>
              <a:gd name="connsiteX566" fmla="*/ 11698720 w 12191999"/>
              <a:gd name="connsiteY566" fmla="*/ 5923862 h 6858000"/>
              <a:gd name="connsiteX567" fmla="*/ 11785457 w 12191999"/>
              <a:gd name="connsiteY567" fmla="*/ 5829795 h 6858000"/>
              <a:gd name="connsiteX568" fmla="*/ 11834763 w 12191999"/>
              <a:gd name="connsiteY568" fmla="*/ 5820594 h 6858000"/>
              <a:gd name="connsiteX569" fmla="*/ 11961375 w 12191999"/>
              <a:gd name="connsiteY569" fmla="*/ 5878660 h 6858000"/>
              <a:gd name="connsiteX570" fmla="*/ 11949158 w 12191999"/>
              <a:gd name="connsiteY570" fmla="*/ 6003269 h 6858000"/>
              <a:gd name="connsiteX571" fmla="*/ 11922283 w 12191999"/>
              <a:gd name="connsiteY571" fmla="*/ 6046026 h 6858000"/>
              <a:gd name="connsiteX572" fmla="*/ 11983365 w 12191999"/>
              <a:gd name="connsiteY572" fmla="*/ 6082676 h 6858000"/>
              <a:gd name="connsiteX573" fmla="*/ 12183716 w 12191999"/>
              <a:gd name="connsiteY573" fmla="*/ 6081456 h 6858000"/>
              <a:gd name="connsiteX574" fmla="*/ 12191999 w 12191999"/>
              <a:gd name="connsiteY574" fmla="*/ 6083007 h 6858000"/>
              <a:gd name="connsiteX575" fmla="*/ 12191999 w 12191999"/>
              <a:gd name="connsiteY575" fmla="*/ 6858000 h 6858000"/>
              <a:gd name="connsiteX576" fmla="*/ 0 w 12191999"/>
              <a:gd name="connsiteY57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</a:cxnLst>
            <a:rect l="l" t="t" r="r" b="b"/>
            <a:pathLst>
              <a:path w="12191999" h="6858000">
                <a:moveTo>
                  <a:pt x="10699779" y="6099402"/>
                </a:moveTo>
                <a:lnTo>
                  <a:pt x="10700365" y="6104567"/>
                </a:lnTo>
                <a:lnTo>
                  <a:pt x="10702406" y="6099903"/>
                </a:lnTo>
                <a:close/>
                <a:moveTo>
                  <a:pt x="9177921" y="6098901"/>
                </a:moveTo>
                <a:lnTo>
                  <a:pt x="9178505" y="6100344"/>
                </a:lnTo>
                <a:lnTo>
                  <a:pt x="9178605" y="6102927"/>
                </a:lnTo>
                <a:lnTo>
                  <a:pt x="9183635" y="6102927"/>
                </a:lnTo>
                <a:lnTo>
                  <a:pt x="9185303" y="6100308"/>
                </a:lnTo>
                <a:close/>
                <a:moveTo>
                  <a:pt x="5342410" y="5330181"/>
                </a:moveTo>
                <a:lnTo>
                  <a:pt x="5338269" y="5332661"/>
                </a:lnTo>
                <a:lnTo>
                  <a:pt x="5322064" y="5334006"/>
                </a:lnTo>
                <a:lnTo>
                  <a:pt x="5335111" y="5336578"/>
                </a:lnTo>
                <a:lnTo>
                  <a:pt x="5337848" y="5340523"/>
                </a:lnTo>
                <a:lnTo>
                  <a:pt x="5338130" y="5335883"/>
                </a:lnTo>
                <a:close/>
                <a:moveTo>
                  <a:pt x="11820900" y="4311166"/>
                </a:moveTo>
                <a:cubicBezTo>
                  <a:pt x="11873927" y="4308131"/>
                  <a:pt x="11925923" y="4331037"/>
                  <a:pt x="11955244" y="4373182"/>
                </a:cubicBezTo>
                <a:cubicBezTo>
                  <a:pt x="11985785" y="4418384"/>
                  <a:pt x="11980898" y="4451368"/>
                  <a:pt x="11941805" y="4490463"/>
                </a:cubicBezTo>
                <a:cubicBezTo>
                  <a:pt x="11929590" y="4502678"/>
                  <a:pt x="11901490" y="4507563"/>
                  <a:pt x="11911265" y="4531997"/>
                </a:cubicBezTo>
                <a:cubicBezTo>
                  <a:pt x="11922260" y="4557650"/>
                  <a:pt x="11944250" y="4573534"/>
                  <a:pt x="11974790" y="4572310"/>
                </a:cubicBezTo>
                <a:cubicBezTo>
                  <a:pt x="12041982" y="4571090"/>
                  <a:pt x="12107951" y="4573534"/>
                  <a:pt x="12175141" y="4571090"/>
                </a:cubicBezTo>
                <a:lnTo>
                  <a:pt x="12191999" y="4574294"/>
                </a:lnTo>
                <a:lnTo>
                  <a:pt x="12191999" y="5337457"/>
                </a:lnTo>
                <a:lnTo>
                  <a:pt x="12177584" y="5340730"/>
                </a:lnTo>
                <a:cubicBezTo>
                  <a:pt x="12112836" y="5338287"/>
                  <a:pt x="12048089" y="5339507"/>
                  <a:pt x="11982120" y="5339507"/>
                </a:cubicBezTo>
                <a:cubicBezTo>
                  <a:pt x="11962574" y="5339507"/>
                  <a:pt x="11944250" y="5340730"/>
                  <a:pt x="11928367" y="5354166"/>
                </a:cubicBezTo>
                <a:cubicBezTo>
                  <a:pt x="11908820" y="5372491"/>
                  <a:pt x="11896605" y="5388373"/>
                  <a:pt x="11927145" y="5409142"/>
                </a:cubicBezTo>
                <a:cubicBezTo>
                  <a:pt x="11960130" y="5432354"/>
                  <a:pt x="11987007" y="5462893"/>
                  <a:pt x="11971125" y="5504430"/>
                </a:cubicBezTo>
                <a:cubicBezTo>
                  <a:pt x="11955244" y="5548410"/>
                  <a:pt x="11924702" y="5582614"/>
                  <a:pt x="11873393" y="5592389"/>
                </a:cubicBezTo>
                <a:cubicBezTo>
                  <a:pt x="11795208" y="5608269"/>
                  <a:pt x="11739011" y="5587502"/>
                  <a:pt x="11703584" y="5530084"/>
                </a:cubicBezTo>
                <a:cubicBezTo>
                  <a:pt x="11676707" y="5486105"/>
                  <a:pt x="11682816" y="5456786"/>
                  <a:pt x="11723129" y="5417694"/>
                </a:cubicBezTo>
                <a:cubicBezTo>
                  <a:pt x="11735346" y="5406699"/>
                  <a:pt x="11763444" y="5401812"/>
                  <a:pt x="11751228" y="5374936"/>
                </a:cubicBezTo>
                <a:cubicBezTo>
                  <a:pt x="11739011" y="5350502"/>
                  <a:pt x="11718244" y="5338287"/>
                  <a:pt x="11690146" y="5338287"/>
                </a:cubicBezTo>
                <a:cubicBezTo>
                  <a:pt x="11622955" y="5338287"/>
                  <a:pt x="11556985" y="5335842"/>
                  <a:pt x="11489795" y="5339507"/>
                </a:cubicBezTo>
                <a:cubicBezTo>
                  <a:pt x="11453145" y="5341952"/>
                  <a:pt x="11443371" y="5329735"/>
                  <a:pt x="11447036" y="5295528"/>
                </a:cubicBezTo>
                <a:cubicBezTo>
                  <a:pt x="11451923" y="5266207"/>
                  <a:pt x="11449481" y="5234446"/>
                  <a:pt x="11449481" y="5202683"/>
                </a:cubicBezTo>
                <a:cubicBezTo>
                  <a:pt x="11449481" y="5166034"/>
                  <a:pt x="11450701" y="5129384"/>
                  <a:pt x="11449481" y="5092735"/>
                </a:cubicBezTo>
                <a:cubicBezTo>
                  <a:pt x="11448258" y="5058528"/>
                  <a:pt x="11466583" y="5036539"/>
                  <a:pt x="11492238" y="5018215"/>
                </a:cubicBezTo>
                <a:cubicBezTo>
                  <a:pt x="11511785" y="5004774"/>
                  <a:pt x="11528888" y="5007220"/>
                  <a:pt x="11545990" y="5025544"/>
                </a:cubicBezTo>
                <a:cubicBezTo>
                  <a:pt x="11608295" y="5089069"/>
                  <a:pt x="11622955" y="5091513"/>
                  <a:pt x="11668156" y="5051198"/>
                </a:cubicBezTo>
                <a:cubicBezTo>
                  <a:pt x="11713357" y="5010884"/>
                  <a:pt x="11720686" y="4925368"/>
                  <a:pt x="11682816" y="4877723"/>
                </a:cubicBezTo>
                <a:cubicBezTo>
                  <a:pt x="11638837" y="4822748"/>
                  <a:pt x="11602187" y="4821529"/>
                  <a:pt x="11555765" y="4874058"/>
                </a:cubicBezTo>
                <a:cubicBezTo>
                  <a:pt x="11543547" y="4887496"/>
                  <a:pt x="11536218" y="4913152"/>
                  <a:pt x="11508120" y="4902158"/>
                </a:cubicBezTo>
                <a:cubicBezTo>
                  <a:pt x="11477578" y="4891162"/>
                  <a:pt x="11451923" y="4871616"/>
                  <a:pt x="11450701" y="4839852"/>
                </a:cubicBezTo>
                <a:cubicBezTo>
                  <a:pt x="11447036" y="4758002"/>
                  <a:pt x="11449481" y="4674930"/>
                  <a:pt x="11448258" y="4591857"/>
                </a:cubicBezTo>
                <a:cubicBezTo>
                  <a:pt x="11448258" y="4567425"/>
                  <a:pt x="11465361" y="4573534"/>
                  <a:pt x="11477578" y="4573534"/>
                </a:cubicBezTo>
                <a:cubicBezTo>
                  <a:pt x="11544768" y="4573534"/>
                  <a:pt x="11610737" y="4573534"/>
                  <a:pt x="11677929" y="4573534"/>
                </a:cubicBezTo>
                <a:cubicBezTo>
                  <a:pt x="11695032" y="4573534"/>
                  <a:pt x="11713357" y="4574756"/>
                  <a:pt x="11728016" y="4562539"/>
                </a:cubicBezTo>
                <a:cubicBezTo>
                  <a:pt x="11751228" y="4544213"/>
                  <a:pt x="11769553" y="4529553"/>
                  <a:pt x="11735346" y="4500233"/>
                </a:cubicBezTo>
                <a:cubicBezTo>
                  <a:pt x="11666934" y="4441595"/>
                  <a:pt x="11682816" y="4358522"/>
                  <a:pt x="11768331" y="4323095"/>
                </a:cubicBezTo>
                <a:cubicBezTo>
                  <a:pt x="11785434" y="4316070"/>
                  <a:pt x="11803224" y="4312177"/>
                  <a:pt x="11820900" y="4311166"/>
                </a:cubicBezTo>
                <a:close/>
                <a:moveTo>
                  <a:pt x="5742911" y="3557222"/>
                </a:moveTo>
                <a:cubicBezTo>
                  <a:pt x="5785237" y="3561738"/>
                  <a:pt x="5826597" y="3581666"/>
                  <a:pt x="5851336" y="3613963"/>
                </a:cubicBezTo>
                <a:cubicBezTo>
                  <a:pt x="5884320" y="3659163"/>
                  <a:pt x="5880655" y="3697035"/>
                  <a:pt x="5840341" y="3736128"/>
                </a:cubicBezTo>
                <a:cubicBezTo>
                  <a:pt x="5828123" y="3748345"/>
                  <a:pt x="5795140" y="3750787"/>
                  <a:pt x="5811021" y="3780107"/>
                </a:cubicBezTo>
                <a:cubicBezTo>
                  <a:pt x="5823239" y="3804540"/>
                  <a:pt x="5844004" y="3815534"/>
                  <a:pt x="5873327" y="3815534"/>
                </a:cubicBezTo>
                <a:cubicBezTo>
                  <a:pt x="5942958" y="3814314"/>
                  <a:pt x="6012594" y="3816757"/>
                  <a:pt x="6082230" y="3814314"/>
                </a:cubicBezTo>
                <a:cubicBezTo>
                  <a:pt x="6102386" y="3813398"/>
                  <a:pt x="6112234" y="3817291"/>
                  <a:pt x="6115900" y="3831149"/>
                </a:cubicBezTo>
                <a:lnTo>
                  <a:pt x="6116334" y="3835442"/>
                </a:lnTo>
                <a:lnTo>
                  <a:pt x="6135367" y="3820781"/>
                </a:lnTo>
                <a:cubicBezTo>
                  <a:pt x="6143326" y="3819255"/>
                  <a:pt x="6153251" y="3819407"/>
                  <a:pt x="6165468" y="3821240"/>
                </a:cubicBezTo>
                <a:cubicBezTo>
                  <a:pt x="6193565" y="3826127"/>
                  <a:pt x="6221664" y="3822462"/>
                  <a:pt x="6250984" y="3822462"/>
                </a:cubicBezTo>
                <a:cubicBezTo>
                  <a:pt x="6286411" y="3822462"/>
                  <a:pt x="6320618" y="3823685"/>
                  <a:pt x="6356045" y="3822462"/>
                </a:cubicBezTo>
                <a:cubicBezTo>
                  <a:pt x="6393917" y="3821240"/>
                  <a:pt x="6419570" y="3842009"/>
                  <a:pt x="6434230" y="3873772"/>
                </a:cubicBezTo>
                <a:cubicBezTo>
                  <a:pt x="6451333" y="3907977"/>
                  <a:pt x="6419570" y="3920194"/>
                  <a:pt x="6401245" y="3938519"/>
                </a:cubicBezTo>
                <a:cubicBezTo>
                  <a:pt x="6362153" y="3975168"/>
                  <a:pt x="6359710" y="3998381"/>
                  <a:pt x="6395138" y="4039916"/>
                </a:cubicBezTo>
                <a:cubicBezTo>
                  <a:pt x="6437895" y="4090005"/>
                  <a:pt x="6527076" y="4097333"/>
                  <a:pt x="6574721" y="4054576"/>
                </a:cubicBezTo>
                <a:cubicBezTo>
                  <a:pt x="6628473" y="4008153"/>
                  <a:pt x="6628473" y="3977611"/>
                  <a:pt x="6575941" y="3931189"/>
                </a:cubicBezTo>
                <a:cubicBezTo>
                  <a:pt x="6562504" y="3918974"/>
                  <a:pt x="6538071" y="3910422"/>
                  <a:pt x="6547844" y="3883545"/>
                </a:cubicBezTo>
                <a:cubicBezTo>
                  <a:pt x="6558839" y="3853004"/>
                  <a:pt x="6578386" y="3827349"/>
                  <a:pt x="6610148" y="3826127"/>
                </a:cubicBezTo>
                <a:cubicBezTo>
                  <a:pt x="6691998" y="3822462"/>
                  <a:pt x="6775070" y="3824905"/>
                  <a:pt x="6856921" y="3823685"/>
                </a:cubicBezTo>
                <a:cubicBezTo>
                  <a:pt x="6881354" y="3823685"/>
                  <a:pt x="6875246" y="3840787"/>
                  <a:pt x="6875246" y="3853004"/>
                </a:cubicBezTo>
                <a:cubicBezTo>
                  <a:pt x="6875246" y="3920194"/>
                  <a:pt x="6875246" y="3986164"/>
                  <a:pt x="6875246" y="4053355"/>
                </a:cubicBezTo>
                <a:cubicBezTo>
                  <a:pt x="6875246" y="4074123"/>
                  <a:pt x="6877689" y="4093668"/>
                  <a:pt x="6892348" y="4110773"/>
                </a:cubicBezTo>
                <a:cubicBezTo>
                  <a:pt x="6911895" y="4132762"/>
                  <a:pt x="6926555" y="4137648"/>
                  <a:pt x="6948545" y="4110773"/>
                </a:cubicBezTo>
                <a:cubicBezTo>
                  <a:pt x="7005962" y="4043581"/>
                  <a:pt x="7068267" y="4049690"/>
                  <a:pt x="7117131" y="4126653"/>
                </a:cubicBezTo>
                <a:cubicBezTo>
                  <a:pt x="7155003" y="4186514"/>
                  <a:pt x="7136679" y="4286688"/>
                  <a:pt x="7080482" y="4328224"/>
                </a:cubicBezTo>
                <a:cubicBezTo>
                  <a:pt x="7034060" y="4362430"/>
                  <a:pt x="6999854" y="4357545"/>
                  <a:pt x="6959540" y="4317229"/>
                </a:cubicBezTo>
                <a:cubicBezTo>
                  <a:pt x="6947323" y="4305014"/>
                  <a:pt x="6942436" y="4273250"/>
                  <a:pt x="6914338" y="4287910"/>
                </a:cubicBezTo>
                <a:cubicBezTo>
                  <a:pt x="6891126" y="4300127"/>
                  <a:pt x="6877689" y="4320896"/>
                  <a:pt x="6877689" y="4350213"/>
                </a:cubicBezTo>
                <a:cubicBezTo>
                  <a:pt x="6878911" y="4417403"/>
                  <a:pt x="6876468" y="4483374"/>
                  <a:pt x="6878911" y="4550565"/>
                </a:cubicBezTo>
                <a:cubicBezTo>
                  <a:pt x="6880133" y="4582327"/>
                  <a:pt x="6874024" y="4594544"/>
                  <a:pt x="6838596" y="4592100"/>
                </a:cubicBezTo>
                <a:cubicBezTo>
                  <a:pt x="6775070" y="4588436"/>
                  <a:pt x="6711545" y="4590880"/>
                  <a:pt x="6648020" y="4590880"/>
                </a:cubicBezTo>
                <a:cubicBezTo>
                  <a:pt x="6628473" y="4590880"/>
                  <a:pt x="6610148" y="4592100"/>
                  <a:pt x="6594266" y="4604318"/>
                </a:cubicBezTo>
                <a:cubicBezTo>
                  <a:pt x="6571056" y="4623864"/>
                  <a:pt x="6562504" y="4638522"/>
                  <a:pt x="6591823" y="4662956"/>
                </a:cubicBezTo>
                <a:cubicBezTo>
                  <a:pt x="6655348" y="4715488"/>
                  <a:pt x="6652905" y="4766796"/>
                  <a:pt x="6589381" y="4819328"/>
                </a:cubicBezTo>
                <a:cubicBezTo>
                  <a:pt x="6530741" y="4866973"/>
                  <a:pt x="6422015" y="4855979"/>
                  <a:pt x="6375592" y="4796116"/>
                </a:cubicBezTo>
                <a:cubicBezTo>
                  <a:pt x="6338943" y="4749693"/>
                  <a:pt x="6342608" y="4711821"/>
                  <a:pt x="6385365" y="4670287"/>
                </a:cubicBezTo>
                <a:cubicBezTo>
                  <a:pt x="6397580" y="4658070"/>
                  <a:pt x="6425680" y="4653182"/>
                  <a:pt x="6415905" y="4628749"/>
                </a:cubicBezTo>
                <a:cubicBezTo>
                  <a:pt x="6404910" y="4603096"/>
                  <a:pt x="6381700" y="4588436"/>
                  <a:pt x="6351158" y="4589658"/>
                </a:cubicBezTo>
                <a:cubicBezTo>
                  <a:pt x="6283968" y="4590880"/>
                  <a:pt x="6217999" y="4587214"/>
                  <a:pt x="6150809" y="4590880"/>
                </a:cubicBezTo>
                <a:cubicBezTo>
                  <a:pt x="6133707" y="4591491"/>
                  <a:pt x="6123322" y="4589047"/>
                  <a:pt x="6117367" y="4582327"/>
                </a:cubicBezTo>
                <a:lnTo>
                  <a:pt x="6114197" y="4575109"/>
                </a:lnTo>
                <a:lnTo>
                  <a:pt x="6109104" y="4582272"/>
                </a:lnTo>
                <a:cubicBezTo>
                  <a:pt x="6104218" y="4585785"/>
                  <a:pt x="6096888" y="4586396"/>
                  <a:pt x="6087114" y="4586396"/>
                </a:cubicBezTo>
                <a:cubicBezTo>
                  <a:pt x="6012594" y="4585175"/>
                  <a:pt x="5938072" y="4586396"/>
                  <a:pt x="5863552" y="4586396"/>
                </a:cubicBezTo>
                <a:cubicBezTo>
                  <a:pt x="5837898" y="4586396"/>
                  <a:pt x="5818351" y="4572957"/>
                  <a:pt x="5802472" y="4555854"/>
                </a:cubicBezTo>
                <a:cubicBezTo>
                  <a:pt x="5778036" y="4528977"/>
                  <a:pt x="5774373" y="4504545"/>
                  <a:pt x="5807356" y="4480114"/>
                </a:cubicBezTo>
                <a:cubicBezTo>
                  <a:pt x="5833011" y="4461788"/>
                  <a:pt x="5863552" y="4441018"/>
                  <a:pt x="5847670" y="4403148"/>
                </a:cubicBezTo>
                <a:cubicBezTo>
                  <a:pt x="5830567" y="4361611"/>
                  <a:pt x="5801250" y="4332291"/>
                  <a:pt x="5752384" y="4329849"/>
                </a:cubicBezTo>
                <a:cubicBezTo>
                  <a:pt x="5704740" y="4327406"/>
                  <a:pt x="5660758" y="4329849"/>
                  <a:pt x="5628995" y="4372606"/>
                </a:cubicBezTo>
                <a:cubicBezTo>
                  <a:pt x="5599676" y="4412923"/>
                  <a:pt x="5600896" y="4436133"/>
                  <a:pt x="5638769" y="4470339"/>
                </a:cubicBezTo>
                <a:cubicBezTo>
                  <a:pt x="5655874" y="4486221"/>
                  <a:pt x="5688856" y="4493550"/>
                  <a:pt x="5674197" y="4527758"/>
                </a:cubicBezTo>
                <a:cubicBezTo>
                  <a:pt x="5659538" y="4564408"/>
                  <a:pt x="5632660" y="4586396"/>
                  <a:pt x="5591125" y="4586396"/>
                </a:cubicBezTo>
                <a:cubicBezTo>
                  <a:pt x="5520269" y="4586396"/>
                  <a:pt x="5448192" y="4585175"/>
                  <a:pt x="5377337" y="4586396"/>
                </a:cubicBezTo>
                <a:cubicBezTo>
                  <a:pt x="5350458" y="4587617"/>
                  <a:pt x="5346796" y="4576623"/>
                  <a:pt x="5346796" y="4553411"/>
                </a:cubicBezTo>
                <a:cubicBezTo>
                  <a:pt x="5348016" y="4486221"/>
                  <a:pt x="5346796" y="4420251"/>
                  <a:pt x="5348016" y="4353059"/>
                </a:cubicBezTo>
                <a:cubicBezTo>
                  <a:pt x="5348016" y="4329849"/>
                  <a:pt x="5344352" y="4309081"/>
                  <a:pt x="5327249" y="4291978"/>
                </a:cubicBezTo>
                <a:cubicBezTo>
                  <a:pt x="5310145" y="4274875"/>
                  <a:pt x="5295486" y="4267544"/>
                  <a:pt x="5278383" y="4293199"/>
                </a:cubicBezTo>
                <a:cubicBezTo>
                  <a:pt x="5253948" y="4328628"/>
                  <a:pt x="5222185" y="4357946"/>
                  <a:pt x="5174543" y="4337181"/>
                </a:cubicBezTo>
                <a:cubicBezTo>
                  <a:pt x="5125677" y="4315189"/>
                  <a:pt x="5092692" y="4279761"/>
                  <a:pt x="5089026" y="4221122"/>
                </a:cubicBezTo>
                <a:cubicBezTo>
                  <a:pt x="5085363" y="4164927"/>
                  <a:pt x="5093914" y="4113618"/>
                  <a:pt x="5144002" y="4078190"/>
                </a:cubicBezTo>
                <a:cubicBezTo>
                  <a:pt x="5191646" y="4043983"/>
                  <a:pt x="5224631" y="4046428"/>
                  <a:pt x="5264946" y="4087965"/>
                </a:cubicBezTo>
                <a:cubicBezTo>
                  <a:pt x="5277159" y="4101402"/>
                  <a:pt x="5283271" y="4130722"/>
                  <a:pt x="5311367" y="4117283"/>
                </a:cubicBezTo>
                <a:cubicBezTo>
                  <a:pt x="5335801" y="4105067"/>
                  <a:pt x="5346796" y="4083077"/>
                  <a:pt x="5346796" y="4054980"/>
                </a:cubicBezTo>
                <a:cubicBezTo>
                  <a:pt x="5346796" y="3986566"/>
                  <a:pt x="5348016" y="3918154"/>
                  <a:pt x="5345574" y="3849742"/>
                </a:cubicBezTo>
                <a:cubicBezTo>
                  <a:pt x="5344352" y="3821644"/>
                  <a:pt x="5349236" y="3809427"/>
                  <a:pt x="5381003" y="3811870"/>
                </a:cubicBezTo>
                <a:cubicBezTo>
                  <a:pt x="5416429" y="3817979"/>
                  <a:pt x="5451858" y="3815534"/>
                  <a:pt x="5486063" y="3815534"/>
                </a:cubicBezTo>
                <a:cubicBezTo>
                  <a:pt x="5522713" y="3815534"/>
                  <a:pt x="5559361" y="3814314"/>
                  <a:pt x="5596012" y="3815534"/>
                </a:cubicBezTo>
                <a:cubicBezTo>
                  <a:pt x="5624110" y="3816757"/>
                  <a:pt x="5641213" y="3799654"/>
                  <a:pt x="5650984" y="3777664"/>
                </a:cubicBezTo>
                <a:cubicBezTo>
                  <a:pt x="5660758" y="3755674"/>
                  <a:pt x="5636325" y="3748345"/>
                  <a:pt x="5625329" y="3738570"/>
                </a:cubicBezTo>
                <a:cubicBezTo>
                  <a:pt x="5567914" y="3684820"/>
                  <a:pt x="5576466" y="3622514"/>
                  <a:pt x="5649765" y="3576091"/>
                </a:cubicBezTo>
                <a:cubicBezTo>
                  <a:pt x="5665035" y="3566624"/>
                  <a:pt x="5682520" y="3560668"/>
                  <a:pt x="5700845" y="3557958"/>
                </a:cubicBezTo>
                <a:cubicBezTo>
                  <a:pt x="5714588" y="3555925"/>
                  <a:pt x="5728804" y="3555718"/>
                  <a:pt x="5742911" y="3557222"/>
                </a:cubicBezTo>
                <a:close/>
                <a:moveTo>
                  <a:pt x="5726517" y="2017504"/>
                </a:moveTo>
                <a:cubicBezTo>
                  <a:pt x="5769733" y="2023154"/>
                  <a:pt x="5810962" y="2045754"/>
                  <a:pt x="5834786" y="2083015"/>
                </a:cubicBezTo>
                <a:cubicBezTo>
                  <a:pt x="5861661" y="2124551"/>
                  <a:pt x="5855555" y="2157535"/>
                  <a:pt x="5820126" y="2192965"/>
                </a:cubicBezTo>
                <a:cubicBezTo>
                  <a:pt x="5806689" y="2206402"/>
                  <a:pt x="5777368" y="2210067"/>
                  <a:pt x="5787140" y="2236943"/>
                </a:cubicBezTo>
                <a:cubicBezTo>
                  <a:pt x="5798136" y="2266262"/>
                  <a:pt x="5823790" y="2277258"/>
                  <a:pt x="5855555" y="2277258"/>
                </a:cubicBezTo>
                <a:cubicBezTo>
                  <a:pt x="5917857" y="2276037"/>
                  <a:pt x="5978941" y="2279702"/>
                  <a:pt x="6041243" y="2276037"/>
                </a:cubicBezTo>
                <a:cubicBezTo>
                  <a:pt x="6080338" y="2273592"/>
                  <a:pt x="6097440" y="2280923"/>
                  <a:pt x="6093775" y="2326124"/>
                </a:cubicBezTo>
                <a:cubicBezTo>
                  <a:pt x="6088888" y="2389649"/>
                  <a:pt x="6093775" y="2453175"/>
                  <a:pt x="6092553" y="2516703"/>
                </a:cubicBezTo>
                <a:cubicBezTo>
                  <a:pt x="6092553" y="2543577"/>
                  <a:pt x="6101105" y="2561902"/>
                  <a:pt x="6121873" y="2577785"/>
                </a:cubicBezTo>
                <a:cubicBezTo>
                  <a:pt x="6134090" y="2586335"/>
                  <a:pt x="6142641" y="2585115"/>
                  <a:pt x="6154856" y="2574120"/>
                </a:cubicBezTo>
                <a:cubicBezTo>
                  <a:pt x="6241593" y="2494711"/>
                  <a:pt x="6290460" y="2503263"/>
                  <a:pt x="6351542" y="2611990"/>
                </a:cubicBezTo>
                <a:cubicBezTo>
                  <a:pt x="6352764" y="2644975"/>
                  <a:pt x="6352764" y="2676738"/>
                  <a:pt x="6352764" y="2708501"/>
                </a:cubicBezTo>
                <a:cubicBezTo>
                  <a:pt x="6338104" y="2734156"/>
                  <a:pt x="6325887" y="2761033"/>
                  <a:pt x="6300232" y="2779356"/>
                </a:cubicBezTo>
                <a:cubicBezTo>
                  <a:pt x="6251367" y="2817228"/>
                  <a:pt x="6212273" y="2813563"/>
                  <a:pt x="6170739" y="2769584"/>
                </a:cubicBezTo>
                <a:cubicBezTo>
                  <a:pt x="6159745" y="2757366"/>
                  <a:pt x="6154856" y="2729269"/>
                  <a:pt x="6129202" y="2742708"/>
                </a:cubicBezTo>
                <a:cubicBezTo>
                  <a:pt x="6107212" y="2753701"/>
                  <a:pt x="6093775" y="2772026"/>
                  <a:pt x="6093775" y="2800124"/>
                </a:cubicBezTo>
                <a:cubicBezTo>
                  <a:pt x="6094997" y="2869758"/>
                  <a:pt x="6092553" y="2939392"/>
                  <a:pt x="6094997" y="3009027"/>
                </a:cubicBezTo>
                <a:cubicBezTo>
                  <a:pt x="6096218" y="3042011"/>
                  <a:pt x="6085222" y="3048121"/>
                  <a:pt x="6054683" y="3046899"/>
                </a:cubicBezTo>
                <a:cubicBezTo>
                  <a:pt x="5989937" y="3044455"/>
                  <a:pt x="5923966" y="3045676"/>
                  <a:pt x="5859220" y="3045676"/>
                </a:cubicBezTo>
                <a:cubicBezTo>
                  <a:pt x="5839672" y="3045676"/>
                  <a:pt x="5821349" y="3046899"/>
                  <a:pt x="5805467" y="3060336"/>
                </a:cubicBezTo>
                <a:cubicBezTo>
                  <a:pt x="5785921" y="3078662"/>
                  <a:pt x="5774925" y="3095764"/>
                  <a:pt x="5804246" y="3116533"/>
                </a:cubicBezTo>
                <a:cubicBezTo>
                  <a:pt x="5834786" y="3138522"/>
                  <a:pt x="5861661" y="3165399"/>
                  <a:pt x="5849445" y="3206935"/>
                </a:cubicBezTo>
                <a:cubicBezTo>
                  <a:pt x="5834786" y="3254578"/>
                  <a:pt x="5803023" y="3288785"/>
                  <a:pt x="5751713" y="3299780"/>
                </a:cubicBezTo>
                <a:cubicBezTo>
                  <a:pt x="5674750" y="3315662"/>
                  <a:pt x="5616113" y="3293673"/>
                  <a:pt x="5581905" y="3237475"/>
                </a:cubicBezTo>
                <a:cubicBezTo>
                  <a:pt x="5555029" y="3193496"/>
                  <a:pt x="5561135" y="3162956"/>
                  <a:pt x="5601451" y="3125084"/>
                </a:cubicBezTo>
                <a:cubicBezTo>
                  <a:pt x="5613669" y="3114088"/>
                  <a:pt x="5640546" y="3109203"/>
                  <a:pt x="5629551" y="3083549"/>
                </a:cubicBezTo>
                <a:cubicBezTo>
                  <a:pt x="5619775" y="3059114"/>
                  <a:pt x="5599008" y="3046899"/>
                  <a:pt x="5573353" y="3045676"/>
                </a:cubicBezTo>
                <a:cubicBezTo>
                  <a:pt x="5525708" y="3044455"/>
                  <a:pt x="5478065" y="3045676"/>
                  <a:pt x="5430421" y="3045676"/>
                </a:cubicBezTo>
                <a:cubicBezTo>
                  <a:pt x="5324139" y="3045676"/>
                  <a:pt x="5324139" y="3045676"/>
                  <a:pt x="5324139" y="2938172"/>
                </a:cubicBezTo>
                <a:cubicBezTo>
                  <a:pt x="5324139" y="2894192"/>
                  <a:pt x="5325358" y="2848990"/>
                  <a:pt x="5324139" y="2805010"/>
                </a:cubicBezTo>
                <a:cubicBezTo>
                  <a:pt x="5322917" y="2775691"/>
                  <a:pt x="5335133" y="2752481"/>
                  <a:pt x="5355900" y="2734156"/>
                </a:cubicBezTo>
                <a:cubicBezTo>
                  <a:pt x="5380332" y="2712165"/>
                  <a:pt x="5403544" y="2707279"/>
                  <a:pt x="5427977" y="2737821"/>
                </a:cubicBezTo>
                <a:cubicBezTo>
                  <a:pt x="5447526" y="2763474"/>
                  <a:pt x="5467069" y="2795238"/>
                  <a:pt x="5508607" y="2780578"/>
                </a:cubicBezTo>
                <a:cubicBezTo>
                  <a:pt x="5552586" y="2765919"/>
                  <a:pt x="5579462" y="2724383"/>
                  <a:pt x="5581905" y="2674294"/>
                </a:cubicBezTo>
                <a:cubicBezTo>
                  <a:pt x="5584348" y="2629092"/>
                  <a:pt x="5577018" y="2590001"/>
                  <a:pt x="5537926" y="2560681"/>
                </a:cubicBezTo>
                <a:cubicBezTo>
                  <a:pt x="5497612" y="2530140"/>
                  <a:pt x="5475621" y="2532583"/>
                  <a:pt x="5440195" y="2570454"/>
                </a:cubicBezTo>
                <a:cubicBezTo>
                  <a:pt x="5424312" y="2587558"/>
                  <a:pt x="5418205" y="2619320"/>
                  <a:pt x="5382779" y="2605882"/>
                </a:cubicBezTo>
                <a:cubicBezTo>
                  <a:pt x="5347348" y="2591221"/>
                  <a:pt x="5325358" y="2565567"/>
                  <a:pt x="5324139" y="2527695"/>
                </a:cubicBezTo>
                <a:cubicBezTo>
                  <a:pt x="5322917" y="2453175"/>
                  <a:pt x="5324139" y="2378654"/>
                  <a:pt x="5322917" y="2304134"/>
                </a:cubicBezTo>
                <a:cubicBezTo>
                  <a:pt x="5322917" y="2280923"/>
                  <a:pt x="5332689" y="2278479"/>
                  <a:pt x="5351016" y="2278479"/>
                </a:cubicBezTo>
                <a:cubicBezTo>
                  <a:pt x="5419427" y="2279702"/>
                  <a:pt x="5487839" y="2278479"/>
                  <a:pt x="5556254" y="2278479"/>
                </a:cubicBezTo>
                <a:cubicBezTo>
                  <a:pt x="5575797" y="2278479"/>
                  <a:pt x="5594120" y="2277258"/>
                  <a:pt x="5610003" y="2263820"/>
                </a:cubicBezTo>
                <a:cubicBezTo>
                  <a:pt x="5631992" y="2244274"/>
                  <a:pt x="5641767" y="2228392"/>
                  <a:pt x="5611225" y="2203958"/>
                </a:cubicBezTo>
                <a:cubicBezTo>
                  <a:pt x="5547698" y="2152649"/>
                  <a:pt x="5548920" y="2108671"/>
                  <a:pt x="5606337" y="2053696"/>
                </a:cubicBezTo>
                <a:cubicBezTo>
                  <a:pt x="5638102" y="2023155"/>
                  <a:pt x="5683302" y="2011854"/>
                  <a:pt x="5726517" y="2017504"/>
                </a:cubicBezTo>
                <a:close/>
                <a:moveTo>
                  <a:pt x="0" y="0"/>
                </a:moveTo>
                <a:lnTo>
                  <a:pt x="5329115" y="0"/>
                </a:lnTo>
                <a:lnTo>
                  <a:pt x="5332434" y="5729"/>
                </a:lnTo>
                <a:cubicBezTo>
                  <a:pt x="5333904" y="11284"/>
                  <a:pt x="5334438" y="18309"/>
                  <a:pt x="5334132" y="27166"/>
                </a:cubicBezTo>
                <a:cubicBezTo>
                  <a:pt x="5331688" y="93135"/>
                  <a:pt x="5332910" y="160325"/>
                  <a:pt x="5332910" y="227517"/>
                </a:cubicBezTo>
                <a:cubicBezTo>
                  <a:pt x="5332910" y="245842"/>
                  <a:pt x="5334132" y="262944"/>
                  <a:pt x="5346347" y="276382"/>
                </a:cubicBezTo>
                <a:cubicBezTo>
                  <a:pt x="5364674" y="295929"/>
                  <a:pt x="5378111" y="304481"/>
                  <a:pt x="5402544" y="277604"/>
                </a:cubicBezTo>
                <a:cubicBezTo>
                  <a:pt x="5463627" y="204305"/>
                  <a:pt x="5551584" y="225072"/>
                  <a:pt x="5582127" y="317919"/>
                </a:cubicBezTo>
                <a:cubicBezTo>
                  <a:pt x="5606557" y="392438"/>
                  <a:pt x="5583346" y="463295"/>
                  <a:pt x="5523486" y="501165"/>
                </a:cubicBezTo>
                <a:cubicBezTo>
                  <a:pt x="5479508" y="529263"/>
                  <a:pt x="5450188" y="523155"/>
                  <a:pt x="5411097" y="481620"/>
                </a:cubicBezTo>
                <a:cubicBezTo>
                  <a:pt x="5398879" y="469403"/>
                  <a:pt x="5393991" y="441305"/>
                  <a:pt x="5369558" y="453522"/>
                </a:cubicBezTo>
                <a:cubicBezTo>
                  <a:pt x="5345127" y="464516"/>
                  <a:pt x="5332910" y="485285"/>
                  <a:pt x="5332910" y="514605"/>
                </a:cubicBezTo>
                <a:cubicBezTo>
                  <a:pt x="5334132" y="583017"/>
                  <a:pt x="5331688" y="651429"/>
                  <a:pt x="5334132" y="719841"/>
                </a:cubicBezTo>
                <a:cubicBezTo>
                  <a:pt x="5335356" y="750383"/>
                  <a:pt x="5328023" y="761378"/>
                  <a:pt x="5295041" y="760156"/>
                </a:cubicBezTo>
                <a:cubicBezTo>
                  <a:pt x="5229072" y="757713"/>
                  <a:pt x="5161881" y="758935"/>
                  <a:pt x="5094692" y="758935"/>
                </a:cubicBezTo>
                <a:cubicBezTo>
                  <a:pt x="5077586" y="758935"/>
                  <a:pt x="5060482" y="758935"/>
                  <a:pt x="5045820" y="772373"/>
                </a:cubicBezTo>
                <a:cubicBezTo>
                  <a:pt x="5025053" y="791918"/>
                  <a:pt x="5011616" y="805357"/>
                  <a:pt x="5043379" y="831012"/>
                </a:cubicBezTo>
                <a:cubicBezTo>
                  <a:pt x="5109351" y="883542"/>
                  <a:pt x="5102018" y="948291"/>
                  <a:pt x="5031161" y="997156"/>
                </a:cubicBezTo>
                <a:cubicBezTo>
                  <a:pt x="4963969" y="1042356"/>
                  <a:pt x="4861351" y="1019146"/>
                  <a:pt x="4818594" y="949511"/>
                </a:cubicBezTo>
                <a:cubicBezTo>
                  <a:pt x="4791718" y="905532"/>
                  <a:pt x="4797826" y="878656"/>
                  <a:pt x="4840582" y="837120"/>
                </a:cubicBezTo>
                <a:cubicBezTo>
                  <a:pt x="4852797" y="824903"/>
                  <a:pt x="4879674" y="818795"/>
                  <a:pt x="4866234" y="793140"/>
                </a:cubicBezTo>
                <a:cubicBezTo>
                  <a:pt x="4854020" y="772373"/>
                  <a:pt x="4836918" y="757713"/>
                  <a:pt x="4808822" y="758935"/>
                </a:cubicBezTo>
                <a:cubicBezTo>
                  <a:pt x="4737964" y="760156"/>
                  <a:pt x="4665887" y="758935"/>
                  <a:pt x="4595032" y="760156"/>
                </a:cubicBezTo>
                <a:cubicBezTo>
                  <a:pt x="4585870" y="760156"/>
                  <a:pt x="4578942" y="759469"/>
                  <a:pt x="4573923" y="757192"/>
                </a:cubicBezTo>
                <a:lnTo>
                  <a:pt x="4572290" y="755075"/>
                </a:lnTo>
                <a:lnTo>
                  <a:pt x="4542110" y="755075"/>
                </a:lnTo>
                <a:lnTo>
                  <a:pt x="4532620" y="757803"/>
                </a:lnTo>
                <a:cubicBezTo>
                  <a:pt x="4461765" y="756580"/>
                  <a:pt x="4389688" y="756580"/>
                  <a:pt x="4318830" y="757803"/>
                </a:cubicBezTo>
                <a:cubicBezTo>
                  <a:pt x="4291954" y="757803"/>
                  <a:pt x="4269964" y="746808"/>
                  <a:pt x="4252861" y="727261"/>
                </a:cubicBezTo>
                <a:cubicBezTo>
                  <a:pt x="4230872" y="701606"/>
                  <a:pt x="4222318" y="677173"/>
                  <a:pt x="4257749" y="652741"/>
                </a:cubicBezTo>
                <a:cubicBezTo>
                  <a:pt x="4284626" y="633194"/>
                  <a:pt x="4315164" y="611204"/>
                  <a:pt x="4298063" y="570889"/>
                </a:cubicBezTo>
                <a:cubicBezTo>
                  <a:pt x="4280960" y="531797"/>
                  <a:pt x="4251638" y="503698"/>
                  <a:pt x="4205214" y="501255"/>
                </a:cubicBezTo>
                <a:cubicBezTo>
                  <a:pt x="4161241" y="498812"/>
                  <a:pt x="4119705" y="498812"/>
                  <a:pt x="4087942" y="535462"/>
                </a:cubicBezTo>
                <a:cubicBezTo>
                  <a:pt x="4050070" y="578219"/>
                  <a:pt x="4051293" y="606317"/>
                  <a:pt x="4094050" y="644189"/>
                </a:cubicBezTo>
                <a:cubicBezTo>
                  <a:pt x="4111153" y="658848"/>
                  <a:pt x="4138030" y="669843"/>
                  <a:pt x="4127035" y="700384"/>
                </a:cubicBezTo>
                <a:cubicBezTo>
                  <a:pt x="4114818" y="732148"/>
                  <a:pt x="4090385" y="756580"/>
                  <a:pt x="4057400" y="757803"/>
                </a:cubicBezTo>
                <a:cubicBezTo>
                  <a:pt x="3977993" y="761467"/>
                  <a:pt x="3898585" y="759023"/>
                  <a:pt x="3819179" y="759023"/>
                </a:cubicBezTo>
                <a:lnTo>
                  <a:pt x="3813849" y="756900"/>
                </a:lnTo>
                <a:lnTo>
                  <a:pt x="3810549" y="758781"/>
                </a:lnTo>
                <a:lnTo>
                  <a:pt x="3815750" y="768157"/>
                </a:lnTo>
                <a:cubicBezTo>
                  <a:pt x="3817087" y="773464"/>
                  <a:pt x="3817545" y="780106"/>
                  <a:pt x="3817238" y="788353"/>
                </a:cubicBezTo>
                <a:cubicBezTo>
                  <a:pt x="3814797" y="853100"/>
                  <a:pt x="3816018" y="919069"/>
                  <a:pt x="3816018" y="983816"/>
                </a:cubicBezTo>
                <a:cubicBezTo>
                  <a:pt x="3816018" y="1011914"/>
                  <a:pt x="3809910" y="1036348"/>
                  <a:pt x="3789144" y="1057116"/>
                </a:cubicBezTo>
                <a:cubicBezTo>
                  <a:pt x="3757381" y="1088878"/>
                  <a:pt x="3737836" y="1087658"/>
                  <a:pt x="3708516" y="1053451"/>
                </a:cubicBezTo>
                <a:cubicBezTo>
                  <a:pt x="3688971" y="1031461"/>
                  <a:pt x="3670645" y="1000919"/>
                  <a:pt x="3635219" y="1014358"/>
                </a:cubicBezTo>
                <a:cubicBezTo>
                  <a:pt x="3596125" y="1029018"/>
                  <a:pt x="3566806" y="1054673"/>
                  <a:pt x="3560696" y="1098651"/>
                </a:cubicBezTo>
                <a:cubicBezTo>
                  <a:pt x="3553368" y="1151183"/>
                  <a:pt x="3555811" y="1200050"/>
                  <a:pt x="3603457" y="1235477"/>
                </a:cubicBezTo>
                <a:cubicBezTo>
                  <a:pt x="3642548" y="1264796"/>
                  <a:pt x="3664539" y="1262352"/>
                  <a:pt x="3697521" y="1226924"/>
                </a:cubicBezTo>
                <a:cubicBezTo>
                  <a:pt x="3714624" y="1208600"/>
                  <a:pt x="3724397" y="1174394"/>
                  <a:pt x="3759825" y="1190276"/>
                </a:cubicBezTo>
                <a:cubicBezTo>
                  <a:pt x="3794029" y="1204935"/>
                  <a:pt x="3814797" y="1233032"/>
                  <a:pt x="3816018" y="1270905"/>
                </a:cubicBezTo>
                <a:cubicBezTo>
                  <a:pt x="3817238" y="1344204"/>
                  <a:pt x="3816018" y="1417503"/>
                  <a:pt x="3817238" y="1489580"/>
                </a:cubicBezTo>
                <a:cubicBezTo>
                  <a:pt x="3817238" y="1499964"/>
                  <a:pt x="3815711" y="1506988"/>
                  <a:pt x="3811589" y="1511264"/>
                </a:cubicBezTo>
                <a:lnTo>
                  <a:pt x="3801031" y="1513846"/>
                </a:lnTo>
                <a:lnTo>
                  <a:pt x="3806488" y="1516917"/>
                </a:lnTo>
                <a:lnTo>
                  <a:pt x="3807926" y="1520360"/>
                </a:lnTo>
                <a:lnTo>
                  <a:pt x="3814241" y="1520360"/>
                </a:lnTo>
                <a:lnTo>
                  <a:pt x="3829058" y="1502514"/>
                </a:lnTo>
                <a:cubicBezTo>
                  <a:pt x="3837597" y="1499199"/>
                  <a:pt x="3849165" y="1498742"/>
                  <a:pt x="3863824" y="1499658"/>
                </a:cubicBezTo>
                <a:cubicBezTo>
                  <a:pt x="3926128" y="1503323"/>
                  <a:pt x="3987214" y="1499658"/>
                  <a:pt x="4049516" y="1500879"/>
                </a:cubicBezTo>
                <a:cubicBezTo>
                  <a:pt x="4081280" y="1500879"/>
                  <a:pt x="4106935" y="1489884"/>
                  <a:pt x="4117929" y="1460565"/>
                </a:cubicBezTo>
                <a:cubicBezTo>
                  <a:pt x="4127702" y="1433689"/>
                  <a:pt x="4098382" y="1430024"/>
                  <a:pt x="4084945" y="1416587"/>
                </a:cubicBezTo>
                <a:cubicBezTo>
                  <a:pt x="4049516" y="1381158"/>
                  <a:pt x="4043408" y="1348173"/>
                  <a:pt x="4070285" y="1306638"/>
                </a:cubicBezTo>
                <a:cubicBezTo>
                  <a:pt x="4094107" y="1269377"/>
                  <a:pt x="4135338" y="1246777"/>
                  <a:pt x="4178554" y="1241127"/>
                </a:cubicBezTo>
                <a:cubicBezTo>
                  <a:pt x="4221764" y="1235476"/>
                  <a:pt x="4266966" y="1246777"/>
                  <a:pt x="4298729" y="1277318"/>
                </a:cubicBezTo>
                <a:cubicBezTo>
                  <a:pt x="4356145" y="1332293"/>
                  <a:pt x="4357369" y="1376272"/>
                  <a:pt x="4293841" y="1427580"/>
                </a:cubicBezTo>
                <a:cubicBezTo>
                  <a:pt x="4263300" y="1452014"/>
                  <a:pt x="4273074" y="1467896"/>
                  <a:pt x="4295062" y="1487441"/>
                </a:cubicBezTo>
                <a:cubicBezTo>
                  <a:pt x="4310947" y="1500879"/>
                  <a:pt x="4329269" y="1502101"/>
                  <a:pt x="4348815" y="1502101"/>
                </a:cubicBezTo>
                <a:cubicBezTo>
                  <a:pt x="4417231" y="1502101"/>
                  <a:pt x="4485641" y="1503323"/>
                  <a:pt x="4554055" y="1502101"/>
                </a:cubicBezTo>
                <a:cubicBezTo>
                  <a:pt x="4567798" y="1502101"/>
                  <a:pt x="4576731" y="1503475"/>
                  <a:pt x="4580339" y="1513955"/>
                </a:cubicBezTo>
                <a:lnTo>
                  <a:pt x="4580382" y="1514287"/>
                </a:lnTo>
                <a:lnTo>
                  <a:pt x="4581432" y="1513558"/>
                </a:lnTo>
                <a:cubicBezTo>
                  <a:pt x="4585612" y="1512222"/>
                  <a:pt x="4591033" y="1511688"/>
                  <a:pt x="4598057" y="1511994"/>
                </a:cubicBezTo>
                <a:cubicBezTo>
                  <a:pt x="4668913" y="1514436"/>
                  <a:pt x="4740990" y="1513216"/>
                  <a:pt x="4811845" y="1513216"/>
                </a:cubicBezTo>
                <a:cubicBezTo>
                  <a:pt x="4853383" y="1513216"/>
                  <a:pt x="4880258" y="1535205"/>
                  <a:pt x="4894918" y="1571855"/>
                </a:cubicBezTo>
                <a:cubicBezTo>
                  <a:pt x="4908357" y="1606060"/>
                  <a:pt x="4876594" y="1614613"/>
                  <a:pt x="4859491" y="1630493"/>
                </a:cubicBezTo>
                <a:cubicBezTo>
                  <a:pt x="4821621" y="1665922"/>
                  <a:pt x="4820399" y="1690354"/>
                  <a:pt x="4853383" y="1731891"/>
                </a:cubicBezTo>
                <a:cubicBezTo>
                  <a:pt x="4883921" y="1769762"/>
                  <a:pt x="4925460" y="1772204"/>
                  <a:pt x="4969438" y="1770984"/>
                </a:cubicBezTo>
                <a:cubicBezTo>
                  <a:pt x="5020749" y="1768539"/>
                  <a:pt x="5052511" y="1740442"/>
                  <a:pt x="5069614" y="1696462"/>
                </a:cubicBezTo>
                <a:cubicBezTo>
                  <a:pt x="5085496" y="1656148"/>
                  <a:pt x="5051292" y="1636602"/>
                  <a:pt x="5025634" y="1617055"/>
                </a:cubicBezTo>
                <a:cubicBezTo>
                  <a:pt x="4997537" y="1595065"/>
                  <a:pt x="5001201" y="1573075"/>
                  <a:pt x="5020749" y="1548643"/>
                </a:cubicBezTo>
                <a:cubicBezTo>
                  <a:pt x="5039074" y="1525431"/>
                  <a:pt x="5062283" y="1513216"/>
                  <a:pt x="5094050" y="1513216"/>
                </a:cubicBezTo>
                <a:cubicBezTo>
                  <a:pt x="5163683" y="1514436"/>
                  <a:pt x="5233316" y="1515658"/>
                  <a:pt x="5302949" y="1513216"/>
                </a:cubicBezTo>
                <a:cubicBezTo>
                  <a:pt x="5332270" y="1511994"/>
                  <a:pt x="5337157" y="1524210"/>
                  <a:pt x="5335935" y="1548643"/>
                </a:cubicBezTo>
                <a:cubicBezTo>
                  <a:pt x="5334713" y="1581628"/>
                  <a:pt x="5335935" y="1615833"/>
                  <a:pt x="5335935" y="1648817"/>
                </a:cubicBezTo>
                <a:cubicBezTo>
                  <a:pt x="5337157" y="1668364"/>
                  <a:pt x="5337157" y="1686689"/>
                  <a:pt x="5335935" y="1706237"/>
                </a:cubicBezTo>
                <a:cubicBezTo>
                  <a:pt x="5335935" y="1727004"/>
                  <a:pt x="5337157" y="1747772"/>
                  <a:pt x="5335935" y="1768539"/>
                </a:cubicBezTo>
                <a:cubicBezTo>
                  <a:pt x="5333492" y="1805189"/>
                  <a:pt x="5312721" y="1830844"/>
                  <a:pt x="5279741" y="1844283"/>
                </a:cubicBezTo>
                <a:cubicBezTo>
                  <a:pt x="5246756" y="1857721"/>
                  <a:pt x="5235760" y="1827179"/>
                  <a:pt x="5219879" y="1808854"/>
                </a:cubicBezTo>
                <a:cubicBezTo>
                  <a:pt x="5185675" y="1770984"/>
                  <a:pt x="5161239" y="1768539"/>
                  <a:pt x="5122147" y="1799081"/>
                </a:cubicBezTo>
                <a:cubicBezTo>
                  <a:pt x="5074501" y="1834509"/>
                  <a:pt x="5070837" y="1883375"/>
                  <a:pt x="5080610" y="1935906"/>
                </a:cubicBezTo>
                <a:cubicBezTo>
                  <a:pt x="5087938" y="1979885"/>
                  <a:pt x="5117259" y="2005540"/>
                  <a:pt x="5156351" y="2018979"/>
                </a:cubicBezTo>
                <a:cubicBezTo>
                  <a:pt x="5193002" y="2029974"/>
                  <a:pt x="5210105" y="2000654"/>
                  <a:pt x="5229651" y="1978665"/>
                </a:cubicBezTo>
                <a:cubicBezTo>
                  <a:pt x="5260193" y="1945680"/>
                  <a:pt x="5278517" y="1945680"/>
                  <a:pt x="5311502" y="1977443"/>
                </a:cubicBezTo>
                <a:cubicBezTo>
                  <a:pt x="5331048" y="1996989"/>
                  <a:pt x="5335935" y="2020200"/>
                  <a:pt x="5335935" y="2047077"/>
                </a:cubicBezTo>
                <a:cubicBezTo>
                  <a:pt x="5334713" y="2114267"/>
                  <a:pt x="5333492" y="2181459"/>
                  <a:pt x="5335935" y="2247429"/>
                </a:cubicBezTo>
                <a:cubicBezTo>
                  <a:pt x="5337157" y="2275526"/>
                  <a:pt x="5331048" y="2285299"/>
                  <a:pt x="5300506" y="2284079"/>
                </a:cubicBezTo>
                <a:cubicBezTo>
                  <a:pt x="5230872" y="2281634"/>
                  <a:pt x="5161239" y="2282856"/>
                  <a:pt x="5091606" y="2282856"/>
                </a:cubicBezTo>
                <a:cubicBezTo>
                  <a:pt x="5062283" y="2282856"/>
                  <a:pt x="5041516" y="2297516"/>
                  <a:pt x="5030522" y="2320726"/>
                </a:cubicBezTo>
                <a:cubicBezTo>
                  <a:pt x="5018307" y="2346381"/>
                  <a:pt x="5046403" y="2351268"/>
                  <a:pt x="5058619" y="2362263"/>
                </a:cubicBezTo>
                <a:cubicBezTo>
                  <a:pt x="5102599" y="2402578"/>
                  <a:pt x="5106265" y="2439228"/>
                  <a:pt x="5070837" y="2486872"/>
                </a:cubicBezTo>
                <a:cubicBezTo>
                  <a:pt x="5034186" y="2535737"/>
                  <a:pt x="4982875" y="2543067"/>
                  <a:pt x="4926682" y="2539402"/>
                </a:cubicBezTo>
                <a:cubicBezTo>
                  <a:pt x="4869262" y="2535737"/>
                  <a:pt x="4833836" y="2501532"/>
                  <a:pt x="4813067" y="2452666"/>
                </a:cubicBezTo>
                <a:cubicBezTo>
                  <a:pt x="4793521" y="2406242"/>
                  <a:pt x="4822840" y="2376923"/>
                  <a:pt x="4855825" y="2352491"/>
                </a:cubicBezTo>
                <a:cubicBezTo>
                  <a:pt x="4886368" y="2329278"/>
                  <a:pt x="4872928" y="2313396"/>
                  <a:pt x="4853383" y="2296294"/>
                </a:cubicBezTo>
                <a:cubicBezTo>
                  <a:pt x="4837499" y="2282856"/>
                  <a:pt x="4819176" y="2281634"/>
                  <a:pt x="4799629" y="2281634"/>
                </a:cubicBezTo>
                <a:cubicBezTo>
                  <a:pt x="4744656" y="2281634"/>
                  <a:pt x="4688460" y="2281634"/>
                  <a:pt x="4633486" y="2281634"/>
                </a:cubicBezTo>
                <a:cubicBezTo>
                  <a:pt x="4584009" y="2281634"/>
                  <a:pt x="4571638" y="2281634"/>
                  <a:pt x="4568545" y="2254834"/>
                </a:cubicBezTo>
                <a:lnTo>
                  <a:pt x="4568533" y="2254378"/>
                </a:lnTo>
                <a:lnTo>
                  <a:pt x="4567644" y="2255861"/>
                </a:lnTo>
                <a:lnTo>
                  <a:pt x="4544720" y="2264404"/>
                </a:lnTo>
                <a:lnTo>
                  <a:pt x="4554906" y="2264379"/>
                </a:lnTo>
                <a:cubicBezTo>
                  <a:pt x="4579338" y="2264379"/>
                  <a:pt x="4573231" y="2281482"/>
                  <a:pt x="4573231" y="2293699"/>
                </a:cubicBezTo>
                <a:cubicBezTo>
                  <a:pt x="4573231" y="2360888"/>
                  <a:pt x="4573231" y="2426858"/>
                  <a:pt x="4573231" y="2494050"/>
                </a:cubicBezTo>
                <a:cubicBezTo>
                  <a:pt x="4573231" y="2514817"/>
                  <a:pt x="4575675" y="2534362"/>
                  <a:pt x="4590334" y="2551467"/>
                </a:cubicBezTo>
                <a:cubicBezTo>
                  <a:pt x="4609880" y="2573457"/>
                  <a:pt x="4624541" y="2578342"/>
                  <a:pt x="4646530" y="2551467"/>
                </a:cubicBezTo>
                <a:cubicBezTo>
                  <a:pt x="4703946" y="2484275"/>
                  <a:pt x="4766251" y="2490385"/>
                  <a:pt x="4815115" y="2567347"/>
                </a:cubicBezTo>
                <a:cubicBezTo>
                  <a:pt x="4852987" y="2627209"/>
                  <a:pt x="4834663" y="2727384"/>
                  <a:pt x="4778466" y="2768920"/>
                </a:cubicBezTo>
                <a:cubicBezTo>
                  <a:pt x="4732044" y="2803126"/>
                  <a:pt x="4697840" y="2798240"/>
                  <a:pt x="4657524" y="2757926"/>
                </a:cubicBezTo>
                <a:cubicBezTo>
                  <a:pt x="4645308" y="2745708"/>
                  <a:pt x="4640420" y="2713946"/>
                  <a:pt x="4612323" y="2728606"/>
                </a:cubicBezTo>
                <a:cubicBezTo>
                  <a:pt x="4589112" y="2740822"/>
                  <a:pt x="4575675" y="2761591"/>
                  <a:pt x="4575675" y="2790910"/>
                </a:cubicBezTo>
                <a:cubicBezTo>
                  <a:pt x="4576894" y="2858100"/>
                  <a:pt x="4574453" y="2924070"/>
                  <a:pt x="4576894" y="2991261"/>
                </a:cubicBezTo>
                <a:cubicBezTo>
                  <a:pt x="4577506" y="3007143"/>
                  <a:pt x="4576286" y="3018138"/>
                  <a:pt x="4570481" y="3024856"/>
                </a:cubicBezTo>
                <a:lnTo>
                  <a:pt x="4561944" y="3029609"/>
                </a:lnTo>
                <a:lnTo>
                  <a:pt x="4568608" y="3030206"/>
                </a:lnTo>
                <a:cubicBezTo>
                  <a:pt x="4573170" y="3031561"/>
                  <a:pt x="4576490" y="3033737"/>
                  <a:pt x="4578857" y="3036715"/>
                </a:cubicBezTo>
                <a:lnTo>
                  <a:pt x="4581540" y="3051267"/>
                </a:lnTo>
                <a:lnTo>
                  <a:pt x="4595169" y="3045892"/>
                </a:lnTo>
                <a:cubicBezTo>
                  <a:pt x="4602213" y="3044843"/>
                  <a:pt x="4610614" y="3044843"/>
                  <a:pt x="4620385" y="3045454"/>
                </a:cubicBezTo>
                <a:cubicBezTo>
                  <a:pt x="4682688" y="3049119"/>
                  <a:pt x="4743775" y="3045454"/>
                  <a:pt x="4806076" y="3046674"/>
                </a:cubicBezTo>
                <a:cubicBezTo>
                  <a:pt x="4837839" y="3046674"/>
                  <a:pt x="4863493" y="3035679"/>
                  <a:pt x="4874487" y="3006359"/>
                </a:cubicBezTo>
                <a:cubicBezTo>
                  <a:pt x="4884260" y="2979484"/>
                  <a:pt x="4854941" y="2975819"/>
                  <a:pt x="4841504" y="2962382"/>
                </a:cubicBezTo>
                <a:cubicBezTo>
                  <a:pt x="4806076" y="2926952"/>
                  <a:pt x="4799966" y="2893968"/>
                  <a:pt x="4826843" y="2852433"/>
                </a:cubicBezTo>
                <a:cubicBezTo>
                  <a:pt x="4874487" y="2777911"/>
                  <a:pt x="4991766" y="2762031"/>
                  <a:pt x="5055294" y="2823113"/>
                </a:cubicBezTo>
                <a:cubicBezTo>
                  <a:pt x="5112710" y="2878088"/>
                  <a:pt x="5113934" y="2922067"/>
                  <a:pt x="5050406" y="2973375"/>
                </a:cubicBezTo>
                <a:cubicBezTo>
                  <a:pt x="5019863" y="2997809"/>
                  <a:pt x="5029637" y="3013691"/>
                  <a:pt x="5051628" y="3033236"/>
                </a:cubicBezTo>
                <a:cubicBezTo>
                  <a:pt x="5067509" y="3046674"/>
                  <a:pt x="5085834" y="3047896"/>
                  <a:pt x="5105382" y="3047896"/>
                </a:cubicBezTo>
                <a:cubicBezTo>
                  <a:pt x="5173793" y="3047896"/>
                  <a:pt x="5242205" y="3049119"/>
                  <a:pt x="5310620" y="3047896"/>
                </a:cubicBezTo>
                <a:cubicBezTo>
                  <a:pt x="5328943" y="3047896"/>
                  <a:pt x="5338715" y="3050340"/>
                  <a:pt x="5338715" y="3073551"/>
                </a:cubicBezTo>
                <a:cubicBezTo>
                  <a:pt x="5337493" y="3148071"/>
                  <a:pt x="5338715" y="3222592"/>
                  <a:pt x="5337493" y="3297112"/>
                </a:cubicBezTo>
                <a:cubicBezTo>
                  <a:pt x="5336275" y="3334984"/>
                  <a:pt x="5314284" y="3360640"/>
                  <a:pt x="5278853" y="3375299"/>
                </a:cubicBezTo>
                <a:cubicBezTo>
                  <a:pt x="5243424" y="3388737"/>
                  <a:pt x="5237318" y="3356974"/>
                  <a:pt x="5221435" y="3339871"/>
                </a:cubicBezTo>
                <a:cubicBezTo>
                  <a:pt x="5186011" y="3302000"/>
                  <a:pt x="5164019" y="3299557"/>
                  <a:pt x="5123706" y="3330097"/>
                </a:cubicBezTo>
                <a:cubicBezTo>
                  <a:pt x="5084613" y="3359419"/>
                  <a:pt x="5077283" y="3398509"/>
                  <a:pt x="5079725" y="3443711"/>
                </a:cubicBezTo>
                <a:cubicBezTo>
                  <a:pt x="5082171" y="3493800"/>
                  <a:pt x="5109045" y="3535335"/>
                  <a:pt x="5153026" y="3549995"/>
                </a:cubicBezTo>
                <a:cubicBezTo>
                  <a:pt x="5194561" y="3564655"/>
                  <a:pt x="5214107" y="3532891"/>
                  <a:pt x="5233655" y="3507238"/>
                </a:cubicBezTo>
                <a:cubicBezTo>
                  <a:pt x="5258085" y="3476696"/>
                  <a:pt x="5281299" y="3481583"/>
                  <a:pt x="5305732" y="3503573"/>
                </a:cubicBezTo>
                <a:cubicBezTo>
                  <a:pt x="5326497" y="3521897"/>
                  <a:pt x="5338715" y="3545108"/>
                  <a:pt x="5337493" y="3574428"/>
                </a:cubicBezTo>
                <a:cubicBezTo>
                  <a:pt x="5336275" y="3618407"/>
                  <a:pt x="5337493" y="3663609"/>
                  <a:pt x="5337493" y="3707588"/>
                </a:cubicBezTo>
                <a:cubicBezTo>
                  <a:pt x="5337493" y="3815093"/>
                  <a:pt x="5337493" y="3815093"/>
                  <a:pt x="5231209" y="3815093"/>
                </a:cubicBezTo>
                <a:cubicBezTo>
                  <a:pt x="5183567" y="3815093"/>
                  <a:pt x="5135923" y="3813871"/>
                  <a:pt x="5088277" y="3815093"/>
                </a:cubicBezTo>
                <a:cubicBezTo>
                  <a:pt x="5062622" y="3816315"/>
                  <a:pt x="5041855" y="3828531"/>
                  <a:pt x="5032081" y="3852965"/>
                </a:cubicBezTo>
                <a:cubicBezTo>
                  <a:pt x="5021087" y="3878619"/>
                  <a:pt x="5047962" y="3883505"/>
                  <a:pt x="5060180" y="3894500"/>
                </a:cubicBezTo>
                <a:cubicBezTo>
                  <a:pt x="5100495" y="3932372"/>
                  <a:pt x="5106604" y="3962912"/>
                  <a:pt x="5079725" y="4006891"/>
                </a:cubicBezTo>
                <a:cubicBezTo>
                  <a:pt x="5045520" y="4063088"/>
                  <a:pt x="4986880" y="4085078"/>
                  <a:pt x="4909915" y="4069196"/>
                </a:cubicBezTo>
                <a:cubicBezTo>
                  <a:pt x="4858608" y="4058201"/>
                  <a:pt x="4826843" y="4023994"/>
                  <a:pt x="4812184" y="3976351"/>
                </a:cubicBezTo>
                <a:cubicBezTo>
                  <a:pt x="4799966" y="3934814"/>
                  <a:pt x="4826843" y="3907938"/>
                  <a:pt x="4857383" y="3885949"/>
                </a:cubicBezTo>
                <a:cubicBezTo>
                  <a:pt x="4886704" y="3865180"/>
                  <a:pt x="4875708" y="3848078"/>
                  <a:pt x="4856163" y="3829753"/>
                </a:cubicBezTo>
                <a:cubicBezTo>
                  <a:pt x="4840282" y="3816315"/>
                  <a:pt x="4821956" y="3815093"/>
                  <a:pt x="4802409" y="3815093"/>
                </a:cubicBezTo>
                <a:cubicBezTo>
                  <a:pt x="4737662" y="3815093"/>
                  <a:pt x="4671692" y="3813871"/>
                  <a:pt x="4606946" y="3816315"/>
                </a:cubicBezTo>
                <a:lnTo>
                  <a:pt x="4581843" y="3811533"/>
                </a:lnTo>
                <a:lnTo>
                  <a:pt x="4581798" y="3821095"/>
                </a:lnTo>
                <a:cubicBezTo>
                  <a:pt x="4581798" y="3896838"/>
                  <a:pt x="4583017" y="3973802"/>
                  <a:pt x="4581798" y="4049544"/>
                </a:cubicBezTo>
                <a:cubicBezTo>
                  <a:pt x="4581798" y="4084971"/>
                  <a:pt x="4558584" y="4106962"/>
                  <a:pt x="4528044" y="4121621"/>
                </a:cubicBezTo>
                <a:cubicBezTo>
                  <a:pt x="4495059" y="4137504"/>
                  <a:pt x="4484065" y="4106962"/>
                  <a:pt x="4468182" y="4089859"/>
                </a:cubicBezTo>
                <a:cubicBezTo>
                  <a:pt x="4430311" y="4047102"/>
                  <a:pt x="4407103" y="4045879"/>
                  <a:pt x="4364344" y="4081306"/>
                </a:cubicBezTo>
                <a:cubicBezTo>
                  <a:pt x="4309368" y="4127729"/>
                  <a:pt x="4306924" y="4223012"/>
                  <a:pt x="4360678" y="4271879"/>
                </a:cubicBezTo>
                <a:cubicBezTo>
                  <a:pt x="4403437" y="4310973"/>
                  <a:pt x="4430311" y="4309750"/>
                  <a:pt x="4469406" y="4266992"/>
                </a:cubicBezTo>
                <a:cubicBezTo>
                  <a:pt x="4485284" y="4249889"/>
                  <a:pt x="4496280" y="4219348"/>
                  <a:pt x="4529266" y="4235230"/>
                </a:cubicBezTo>
                <a:cubicBezTo>
                  <a:pt x="4561028" y="4249889"/>
                  <a:pt x="4583017" y="4273100"/>
                  <a:pt x="4583017" y="4312195"/>
                </a:cubicBezTo>
                <a:cubicBezTo>
                  <a:pt x="4585462" y="4347622"/>
                  <a:pt x="4585462" y="4384273"/>
                  <a:pt x="4585462" y="4420922"/>
                </a:cubicBezTo>
                <a:cubicBezTo>
                  <a:pt x="4585462" y="4458793"/>
                  <a:pt x="4584239" y="4496664"/>
                  <a:pt x="4585462" y="4535755"/>
                </a:cubicBezTo>
                <a:cubicBezTo>
                  <a:pt x="4586072" y="4546140"/>
                  <a:pt x="4584544" y="4552858"/>
                  <a:pt x="4580270" y="4556981"/>
                </a:cubicBezTo>
                <a:lnTo>
                  <a:pt x="4558623" y="4562623"/>
                </a:lnTo>
                <a:lnTo>
                  <a:pt x="4558623" y="4566440"/>
                </a:lnTo>
                <a:lnTo>
                  <a:pt x="4573343" y="4568280"/>
                </a:lnTo>
                <a:cubicBezTo>
                  <a:pt x="4578783" y="4570870"/>
                  <a:pt x="4582162" y="4575308"/>
                  <a:pt x="4583997" y="4582238"/>
                </a:cubicBezTo>
                <a:lnTo>
                  <a:pt x="4584236" y="4584622"/>
                </a:lnTo>
                <a:lnTo>
                  <a:pt x="4590467" y="4573843"/>
                </a:lnTo>
                <a:cubicBezTo>
                  <a:pt x="4597795" y="4567736"/>
                  <a:pt x="4609706" y="4566514"/>
                  <a:pt x="4626810" y="4567125"/>
                </a:cubicBezTo>
                <a:cubicBezTo>
                  <a:pt x="4692779" y="4569566"/>
                  <a:pt x="4759971" y="4568344"/>
                  <a:pt x="4827160" y="4567125"/>
                </a:cubicBezTo>
                <a:cubicBezTo>
                  <a:pt x="4852815" y="4567125"/>
                  <a:pt x="4873581" y="4573232"/>
                  <a:pt x="4890685" y="4591556"/>
                </a:cubicBezTo>
                <a:cubicBezTo>
                  <a:pt x="4922450" y="4624541"/>
                  <a:pt x="4922450" y="4641643"/>
                  <a:pt x="4887021" y="4672186"/>
                </a:cubicBezTo>
                <a:cubicBezTo>
                  <a:pt x="4865031" y="4690510"/>
                  <a:pt x="4839376" y="4707614"/>
                  <a:pt x="4847929" y="4741820"/>
                </a:cubicBezTo>
                <a:cubicBezTo>
                  <a:pt x="4857700" y="4779693"/>
                  <a:pt x="4882136" y="4806567"/>
                  <a:pt x="4920006" y="4817562"/>
                </a:cubicBezTo>
                <a:cubicBezTo>
                  <a:pt x="4973756" y="4832222"/>
                  <a:pt x="5023846" y="4829780"/>
                  <a:pt x="5064161" y="4784578"/>
                </a:cubicBezTo>
                <a:cubicBezTo>
                  <a:pt x="5100811" y="4744263"/>
                  <a:pt x="5098367" y="4714943"/>
                  <a:pt x="5056831" y="4679516"/>
                </a:cubicBezTo>
                <a:cubicBezTo>
                  <a:pt x="5039730" y="4664857"/>
                  <a:pt x="5011629" y="4653861"/>
                  <a:pt x="5022625" y="4624541"/>
                </a:cubicBezTo>
                <a:cubicBezTo>
                  <a:pt x="5034842" y="4592778"/>
                  <a:pt x="5056831" y="4568344"/>
                  <a:pt x="5092258" y="4568344"/>
                </a:cubicBezTo>
                <a:cubicBezTo>
                  <a:pt x="5171666" y="4567125"/>
                  <a:pt x="5251073" y="4568344"/>
                  <a:pt x="5330479" y="4567125"/>
                </a:cubicBezTo>
                <a:cubicBezTo>
                  <a:pt x="5354913" y="4567125"/>
                  <a:pt x="5353691" y="4581784"/>
                  <a:pt x="5353691" y="4597667"/>
                </a:cubicBezTo>
                <a:cubicBezTo>
                  <a:pt x="5353691" y="4666079"/>
                  <a:pt x="5353691" y="4734491"/>
                  <a:pt x="5353691" y="4802902"/>
                </a:cubicBezTo>
                <a:cubicBezTo>
                  <a:pt x="5353691" y="4823671"/>
                  <a:pt x="5354913" y="4843218"/>
                  <a:pt x="5372016" y="4859100"/>
                </a:cubicBezTo>
                <a:cubicBezTo>
                  <a:pt x="5390340" y="4876203"/>
                  <a:pt x="5404999" y="4881089"/>
                  <a:pt x="5422104" y="4856655"/>
                </a:cubicBezTo>
                <a:cubicBezTo>
                  <a:pt x="5444093" y="4826114"/>
                  <a:pt x="5470970" y="4796794"/>
                  <a:pt x="5512505" y="4809011"/>
                </a:cubicBezTo>
                <a:cubicBezTo>
                  <a:pt x="5560149" y="4822449"/>
                  <a:pt x="5596799" y="4854213"/>
                  <a:pt x="5607793" y="4905522"/>
                </a:cubicBezTo>
                <a:cubicBezTo>
                  <a:pt x="5620010" y="4965383"/>
                  <a:pt x="5615124" y="5021578"/>
                  <a:pt x="5562593" y="5065559"/>
                </a:cubicBezTo>
                <a:cubicBezTo>
                  <a:pt x="5512505" y="5105874"/>
                  <a:pt x="5473414" y="5103431"/>
                  <a:pt x="5430656" y="5057007"/>
                </a:cubicBezTo>
                <a:cubicBezTo>
                  <a:pt x="5419660" y="5046011"/>
                  <a:pt x="5414773" y="5020357"/>
                  <a:pt x="5392783" y="5030132"/>
                </a:cubicBezTo>
                <a:cubicBezTo>
                  <a:pt x="5370794" y="5039903"/>
                  <a:pt x="5354913" y="5058228"/>
                  <a:pt x="5354913" y="5085106"/>
                </a:cubicBezTo>
                <a:cubicBezTo>
                  <a:pt x="5354913" y="5154739"/>
                  <a:pt x="5353691" y="5224372"/>
                  <a:pt x="5356135" y="5294008"/>
                </a:cubicBezTo>
                <a:lnTo>
                  <a:pt x="5350738" y="5321930"/>
                </a:lnTo>
                <a:lnTo>
                  <a:pt x="5371287" y="5318874"/>
                </a:lnTo>
                <a:cubicBezTo>
                  <a:pt x="5442143" y="5320096"/>
                  <a:pt x="5514220" y="5320096"/>
                  <a:pt x="5585072" y="5318874"/>
                </a:cubicBezTo>
                <a:cubicBezTo>
                  <a:pt x="5613173" y="5318874"/>
                  <a:pt x="5633940" y="5328648"/>
                  <a:pt x="5651043" y="5349416"/>
                </a:cubicBezTo>
                <a:cubicBezTo>
                  <a:pt x="5673032" y="5375071"/>
                  <a:pt x="5677919" y="5398281"/>
                  <a:pt x="5646155" y="5421493"/>
                </a:cubicBezTo>
                <a:cubicBezTo>
                  <a:pt x="5620503" y="5439818"/>
                  <a:pt x="5591181" y="5460587"/>
                  <a:pt x="5603399" y="5498458"/>
                </a:cubicBezTo>
                <a:cubicBezTo>
                  <a:pt x="5616836" y="5539994"/>
                  <a:pt x="5647378" y="5568092"/>
                  <a:pt x="5692578" y="5574200"/>
                </a:cubicBezTo>
                <a:cubicBezTo>
                  <a:pt x="5736560" y="5580308"/>
                  <a:pt x="5778092" y="5577865"/>
                  <a:pt x="5812299" y="5544881"/>
                </a:cubicBezTo>
                <a:cubicBezTo>
                  <a:pt x="5855056" y="5502123"/>
                  <a:pt x="5853835" y="5469139"/>
                  <a:pt x="5808637" y="5430047"/>
                </a:cubicBezTo>
                <a:cubicBezTo>
                  <a:pt x="5792754" y="5416606"/>
                  <a:pt x="5765877" y="5408054"/>
                  <a:pt x="5778092" y="5378737"/>
                </a:cubicBezTo>
                <a:cubicBezTo>
                  <a:pt x="5789088" y="5351860"/>
                  <a:pt x="5807412" y="5324983"/>
                  <a:pt x="5837954" y="5323761"/>
                </a:cubicBezTo>
                <a:cubicBezTo>
                  <a:pt x="5922246" y="5320096"/>
                  <a:pt x="6006538" y="5321318"/>
                  <a:pt x="6089611" y="5320096"/>
                </a:cubicBezTo>
                <a:cubicBezTo>
                  <a:pt x="6110381" y="5320096"/>
                  <a:pt x="6106714" y="5333534"/>
                  <a:pt x="6106714" y="5345752"/>
                </a:cubicBezTo>
                <a:cubicBezTo>
                  <a:pt x="6106714" y="5421493"/>
                  <a:pt x="6107935" y="5498458"/>
                  <a:pt x="6106714" y="5574200"/>
                </a:cubicBezTo>
                <a:cubicBezTo>
                  <a:pt x="6106714" y="5609627"/>
                  <a:pt x="6083502" y="5631617"/>
                  <a:pt x="6052963" y="5646278"/>
                </a:cubicBezTo>
                <a:cubicBezTo>
                  <a:pt x="6019978" y="5662160"/>
                  <a:pt x="6008982" y="5631617"/>
                  <a:pt x="5993101" y="5614516"/>
                </a:cubicBezTo>
                <a:cubicBezTo>
                  <a:pt x="5955231" y="5571758"/>
                  <a:pt x="5932020" y="5570536"/>
                  <a:pt x="5889264" y="5605962"/>
                </a:cubicBezTo>
                <a:cubicBezTo>
                  <a:pt x="5834290" y="5652387"/>
                  <a:pt x="5831845" y="5747674"/>
                  <a:pt x="5885598" y="5796541"/>
                </a:cubicBezTo>
                <a:cubicBezTo>
                  <a:pt x="5928355" y="5835633"/>
                  <a:pt x="5955231" y="5834411"/>
                  <a:pt x="5994323" y="5791654"/>
                </a:cubicBezTo>
                <a:cubicBezTo>
                  <a:pt x="6010204" y="5774551"/>
                  <a:pt x="6021199" y="5744009"/>
                  <a:pt x="6054184" y="5759891"/>
                </a:cubicBezTo>
                <a:cubicBezTo>
                  <a:pt x="6085947" y="5774551"/>
                  <a:pt x="6107935" y="5797761"/>
                  <a:pt x="6107935" y="5836855"/>
                </a:cubicBezTo>
                <a:cubicBezTo>
                  <a:pt x="6110381" y="5872283"/>
                  <a:pt x="6110381" y="5908933"/>
                  <a:pt x="6110381" y="5945582"/>
                </a:cubicBezTo>
                <a:cubicBezTo>
                  <a:pt x="6110381" y="5983452"/>
                  <a:pt x="6109158" y="6021324"/>
                  <a:pt x="6110381" y="6060417"/>
                </a:cubicBezTo>
                <a:lnTo>
                  <a:pt x="6106055" y="6078094"/>
                </a:lnTo>
                <a:lnTo>
                  <a:pt x="6108059" y="6078201"/>
                </a:lnTo>
                <a:cubicBezTo>
                  <a:pt x="6113937" y="6079652"/>
                  <a:pt x="6118214" y="6082172"/>
                  <a:pt x="6121268" y="6085837"/>
                </a:cubicBezTo>
                <a:lnTo>
                  <a:pt x="6125405" y="6096044"/>
                </a:lnTo>
                <a:lnTo>
                  <a:pt x="6126156" y="6094323"/>
                </a:lnTo>
                <a:cubicBezTo>
                  <a:pt x="6132418" y="6087298"/>
                  <a:pt x="6143413" y="6084855"/>
                  <a:pt x="6161736" y="6086077"/>
                </a:cubicBezTo>
                <a:cubicBezTo>
                  <a:pt x="6230149" y="6089740"/>
                  <a:pt x="6298561" y="6088520"/>
                  <a:pt x="6366973" y="6086077"/>
                </a:cubicBezTo>
                <a:cubicBezTo>
                  <a:pt x="6399958" y="6084855"/>
                  <a:pt x="6420725" y="6100737"/>
                  <a:pt x="6439050" y="6125170"/>
                </a:cubicBezTo>
                <a:cubicBezTo>
                  <a:pt x="6454932" y="6147159"/>
                  <a:pt x="6456154" y="6166707"/>
                  <a:pt x="6431720" y="6186252"/>
                </a:cubicBezTo>
                <a:cubicBezTo>
                  <a:pt x="6403623" y="6209464"/>
                  <a:pt x="6364530" y="6230232"/>
                  <a:pt x="6388963" y="6279097"/>
                </a:cubicBezTo>
                <a:cubicBezTo>
                  <a:pt x="6413395" y="6327963"/>
                  <a:pt x="6463484" y="6351176"/>
                  <a:pt x="6524567" y="6343846"/>
                </a:cubicBezTo>
                <a:cubicBezTo>
                  <a:pt x="6570989" y="6337738"/>
                  <a:pt x="6618633" y="6299866"/>
                  <a:pt x="6624741" y="6260772"/>
                </a:cubicBezTo>
                <a:cubicBezTo>
                  <a:pt x="6629628" y="6231454"/>
                  <a:pt x="6608861" y="6214349"/>
                  <a:pt x="6589314" y="6197247"/>
                </a:cubicBezTo>
                <a:cubicBezTo>
                  <a:pt x="6572211" y="6182587"/>
                  <a:pt x="6546556" y="6170372"/>
                  <a:pt x="6559994" y="6139830"/>
                </a:cubicBezTo>
                <a:cubicBezTo>
                  <a:pt x="6572211" y="6112953"/>
                  <a:pt x="6590536" y="6088520"/>
                  <a:pt x="6622298" y="6087298"/>
                </a:cubicBezTo>
                <a:cubicBezTo>
                  <a:pt x="6705370" y="6084855"/>
                  <a:pt x="6787220" y="6086077"/>
                  <a:pt x="6870294" y="6086077"/>
                </a:cubicBezTo>
                <a:lnTo>
                  <a:pt x="6878000" y="6089431"/>
                </a:lnTo>
                <a:lnTo>
                  <a:pt x="6879007" y="6086924"/>
                </a:lnTo>
                <a:lnTo>
                  <a:pt x="6877557" y="6084401"/>
                </a:lnTo>
                <a:cubicBezTo>
                  <a:pt x="6876221" y="6079209"/>
                  <a:pt x="6875763" y="6072642"/>
                  <a:pt x="6876069" y="6064396"/>
                </a:cubicBezTo>
                <a:cubicBezTo>
                  <a:pt x="6879734" y="5997205"/>
                  <a:pt x="6877291" y="5928793"/>
                  <a:pt x="6877291" y="5860381"/>
                </a:cubicBezTo>
                <a:cubicBezTo>
                  <a:pt x="6877291" y="5829839"/>
                  <a:pt x="6861409" y="5807849"/>
                  <a:pt x="6835754" y="5796854"/>
                </a:cubicBezTo>
                <a:cubicBezTo>
                  <a:pt x="6812542" y="5787081"/>
                  <a:pt x="6806435" y="5815179"/>
                  <a:pt x="6794219" y="5827396"/>
                </a:cubicBezTo>
                <a:cubicBezTo>
                  <a:pt x="6753903" y="5867710"/>
                  <a:pt x="6717253" y="5871375"/>
                  <a:pt x="6672053" y="5838391"/>
                </a:cubicBezTo>
                <a:cubicBezTo>
                  <a:pt x="6620744" y="5800519"/>
                  <a:pt x="6613414" y="5749211"/>
                  <a:pt x="6618301" y="5690570"/>
                </a:cubicBezTo>
                <a:cubicBezTo>
                  <a:pt x="6623188" y="5633153"/>
                  <a:pt x="6657393" y="5597725"/>
                  <a:pt x="6707480" y="5578181"/>
                </a:cubicBezTo>
                <a:cubicBezTo>
                  <a:pt x="6753903" y="5559855"/>
                  <a:pt x="6782002" y="5590395"/>
                  <a:pt x="6806435" y="5623380"/>
                </a:cubicBezTo>
                <a:cubicBezTo>
                  <a:pt x="6824759" y="5647814"/>
                  <a:pt x="6839419" y="5640484"/>
                  <a:pt x="6856522" y="5623380"/>
                </a:cubicBezTo>
                <a:cubicBezTo>
                  <a:pt x="6871182" y="5607498"/>
                  <a:pt x="6876069" y="5589174"/>
                  <a:pt x="6876069" y="5567184"/>
                </a:cubicBezTo>
                <a:cubicBezTo>
                  <a:pt x="6874847" y="5501214"/>
                  <a:pt x="6877291" y="5436468"/>
                  <a:pt x="6874847" y="5371720"/>
                </a:cubicBezTo>
                <a:cubicBezTo>
                  <a:pt x="6873626" y="5342401"/>
                  <a:pt x="6879734" y="5331406"/>
                  <a:pt x="6912719" y="5332627"/>
                </a:cubicBezTo>
                <a:cubicBezTo>
                  <a:pt x="6979908" y="5335071"/>
                  <a:pt x="7045878" y="5332627"/>
                  <a:pt x="7113069" y="5333849"/>
                </a:cubicBezTo>
                <a:cubicBezTo>
                  <a:pt x="7143610" y="5333849"/>
                  <a:pt x="7166822" y="5321632"/>
                  <a:pt x="7179039" y="5295978"/>
                </a:cubicBezTo>
                <a:cubicBezTo>
                  <a:pt x="7191254" y="5269101"/>
                  <a:pt x="7159492" y="5264216"/>
                  <a:pt x="7147275" y="5250776"/>
                </a:cubicBezTo>
                <a:cubicBezTo>
                  <a:pt x="7109404" y="5212905"/>
                  <a:pt x="7104517" y="5178699"/>
                  <a:pt x="7136280" y="5133498"/>
                </a:cubicBezTo>
                <a:cubicBezTo>
                  <a:pt x="7175372" y="5077303"/>
                  <a:pt x="7231569" y="5072416"/>
                  <a:pt x="7292651" y="5078525"/>
                </a:cubicBezTo>
                <a:cubicBezTo>
                  <a:pt x="7337853" y="5083410"/>
                  <a:pt x="7389162" y="5124946"/>
                  <a:pt x="7400157" y="5167705"/>
                </a:cubicBezTo>
                <a:cubicBezTo>
                  <a:pt x="7412373" y="5211683"/>
                  <a:pt x="7387940" y="5242226"/>
                  <a:pt x="7354955" y="5264216"/>
                </a:cubicBezTo>
                <a:cubicBezTo>
                  <a:pt x="7324413" y="5284983"/>
                  <a:pt x="7336631" y="5300865"/>
                  <a:pt x="7357398" y="5319191"/>
                </a:cubicBezTo>
                <a:cubicBezTo>
                  <a:pt x="7372058" y="5332627"/>
                  <a:pt x="7390383" y="5335071"/>
                  <a:pt x="7409930" y="5335071"/>
                </a:cubicBezTo>
                <a:cubicBezTo>
                  <a:pt x="7478342" y="5333849"/>
                  <a:pt x="7546754" y="5335071"/>
                  <a:pt x="7615166" y="5333849"/>
                </a:cubicBezTo>
                <a:cubicBezTo>
                  <a:pt x="7638378" y="5333849"/>
                  <a:pt x="7644486" y="5339958"/>
                  <a:pt x="7644486" y="5363168"/>
                </a:cubicBezTo>
                <a:cubicBezTo>
                  <a:pt x="7643265" y="5436468"/>
                  <a:pt x="7644486" y="5508546"/>
                  <a:pt x="7644486" y="5581843"/>
                </a:cubicBezTo>
                <a:cubicBezTo>
                  <a:pt x="7644486" y="5622159"/>
                  <a:pt x="7622498" y="5646592"/>
                  <a:pt x="7588291" y="5661252"/>
                </a:cubicBezTo>
                <a:cubicBezTo>
                  <a:pt x="7552863" y="5677133"/>
                  <a:pt x="7545534" y="5642927"/>
                  <a:pt x="7529651" y="5627045"/>
                </a:cubicBezTo>
                <a:cubicBezTo>
                  <a:pt x="7493002" y="5589174"/>
                  <a:pt x="7468569" y="5586731"/>
                  <a:pt x="7428255" y="5619716"/>
                </a:cubicBezTo>
                <a:cubicBezTo>
                  <a:pt x="7384275" y="5656366"/>
                  <a:pt x="7381832" y="5704009"/>
                  <a:pt x="7390383" y="5754097"/>
                </a:cubicBezTo>
                <a:cubicBezTo>
                  <a:pt x="7397713" y="5798076"/>
                  <a:pt x="7428255" y="5823731"/>
                  <a:pt x="7466127" y="5837169"/>
                </a:cubicBezTo>
                <a:cubicBezTo>
                  <a:pt x="7500332" y="5849386"/>
                  <a:pt x="7521101" y="5820066"/>
                  <a:pt x="7538204" y="5795633"/>
                </a:cubicBezTo>
                <a:cubicBezTo>
                  <a:pt x="7563858" y="5760204"/>
                  <a:pt x="7589513" y="5766314"/>
                  <a:pt x="7617611" y="5791968"/>
                </a:cubicBezTo>
                <a:cubicBezTo>
                  <a:pt x="7635935" y="5809071"/>
                  <a:pt x="7645708" y="5829839"/>
                  <a:pt x="7644486" y="5855493"/>
                </a:cubicBezTo>
                <a:cubicBezTo>
                  <a:pt x="7643265" y="5890921"/>
                  <a:pt x="7644486" y="5925128"/>
                  <a:pt x="7644486" y="5960555"/>
                </a:cubicBezTo>
                <a:cubicBezTo>
                  <a:pt x="7643265" y="5998427"/>
                  <a:pt x="7643265" y="6036299"/>
                  <a:pt x="7645708" y="6072947"/>
                </a:cubicBezTo>
                <a:lnTo>
                  <a:pt x="7643676" y="6091527"/>
                </a:lnTo>
                <a:lnTo>
                  <a:pt x="7645318" y="6082343"/>
                </a:lnTo>
                <a:cubicBezTo>
                  <a:pt x="7650662" y="6075776"/>
                  <a:pt x="7660435" y="6073028"/>
                  <a:pt x="7677538" y="6073639"/>
                </a:cubicBezTo>
                <a:cubicBezTo>
                  <a:pt x="7747172" y="6077304"/>
                  <a:pt x="7816806" y="6074861"/>
                  <a:pt x="7886441" y="6074861"/>
                </a:cubicBezTo>
                <a:cubicBezTo>
                  <a:pt x="7915760" y="6074861"/>
                  <a:pt x="7938970" y="6085854"/>
                  <a:pt x="7956073" y="6107844"/>
                </a:cubicBezTo>
                <a:cubicBezTo>
                  <a:pt x="7975620" y="6132276"/>
                  <a:pt x="7979285" y="6154268"/>
                  <a:pt x="7949965" y="6176258"/>
                </a:cubicBezTo>
                <a:cubicBezTo>
                  <a:pt x="7924311" y="6195803"/>
                  <a:pt x="7890105" y="6216571"/>
                  <a:pt x="7905986" y="6256885"/>
                </a:cubicBezTo>
                <a:cubicBezTo>
                  <a:pt x="7923090" y="6298422"/>
                  <a:pt x="7953630" y="6327742"/>
                  <a:pt x="8002497" y="6331407"/>
                </a:cubicBezTo>
                <a:cubicBezTo>
                  <a:pt x="8041589" y="6335072"/>
                  <a:pt x="8078239" y="6332629"/>
                  <a:pt x="8110001" y="6304530"/>
                </a:cubicBezTo>
                <a:cubicBezTo>
                  <a:pt x="8160089" y="6258108"/>
                  <a:pt x="8160089" y="6228788"/>
                  <a:pt x="8110001" y="6183586"/>
                </a:cubicBezTo>
                <a:cubicBezTo>
                  <a:pt x="8095342" y="6171371"/>
                  <a:pt x="8070909" y="6161598"/>
                  <a:pt x="8079461" y="6135943"/>
                </a:cubicBezTo>
                <a:cubicBezTo>
                  <a:pt x="8089234" y="6106623"/>
                  <a:pt x="8108779" y="6078526"/>
                  <a:pt x="8141764" y="6077304"/>
                </a:cubicBezTo>
                <a:cubicBezTo>
                  <a:pt x="8226058" y="6073639"/>
                  <a:pt x="8310352" y="6074861"/>
                  <a:pt x="8393425" y="6074861"/>
                </a:cubicBezTo>
                <a:cubicBezTo>
                  <a:pt x="8399838" y="6074861"/>
                  <a:pt x="8404037" y="6076082"/>
                  <a:pt x="8406729" y="6078106"/>
                </a:cubicBezTo>
                <a:lnTo>
                  <a:pt x="8410249" y="6084768"/>
                </a:lnTo>
                <a:lnTo>
                  <a:pt x="8414744" y="6080797"/>
                </a:lnTo>
                <a:cubicBezTo>
                  <a:pt x="8420699" y="6078506"/>
                  <a:pt x="8428640" y="6079422"/>
                  <a:pt x="8436581" y="6079422"/>
                </a:cubicBezTo>
                <a:cubicBezTo>
                  <a:pt x="8504993" y="6079422"/>
                  <a:pt x="8573405" y="6079422"/>
                  <a:pt x="8641819" y="6079422"/>
                </a:cubicBezTo>
                <a:cubicBezTo>
                  <a:pt x="8660144" y="6079422"/>
                  <a:pt x="8677247" y="6078202"/>
                  <a:pt x="8690684" y="6065984"/>
                </a:cubicBezTo>
                <a:cubicBezTo>
                  <a:pt x="8713896" y="6046439"/>
                  <a:pt x="8726112" y="6030557"/>
                  <a:pt x="8693127" y="6003680"/>
                </a:cubicBezTo>
                <a:cubicBezTo>
                  <a:pt x="8633267" y="5957258"/>
                  <a:pt x="8633267" y="5909613"/>
                  <a:pt x="8688242" y="5855861"/>
                </a:cubicBezTo>
                <a:cubicBezTo>
                  <a:pt x="8746881" y="5798443"/>
                  <a:pt x="8856828" y="5805773"/>
                  <a:pt x="8909360" y="5870521"/>
                </a:cubicBezTo>
                <a:cubicBezTo>
                  <a:pt x="8949675" y="5919386"/>
                  <a:pt x="8946010" y="5954815"/>
                  <a:pt x="8900808" y="5998795"/>
                </a:cubicBezTo>
                <a:cubicBezTo>
                  <a:pt x="8888593" y="6011010"/>
                  <a:pt x="8861716" y="6017119"/>
                  <a:pt x="8873933" y="6041552"/>
                </a:cubicBezTo>
                <a:cubicBezTo>
                  <a:pt x="8884928" y="6063542"/>
                  <a:pt x="8904473" y="6078202"/>
                  <a:pt x="8931350" y="6078202"/>
                </a:cubicBezTo>
                <a:cubicBezTo>
                  <a:pt x="8999762" y="6078202"/>
                  <a:pt x="9068174" y="6080644"/>
                  <a:pt x="9136587" y="6076979"/>
                </a:cubicBezTo>
                <a:cubicBezTo>
                  <a:pt x="9146055" y="6076369"/>
                  <a:pt x="9153537" y="6076751"/>
                  <a:pt x="9159416" y="6078201"/>
                </a:cubicBezTo>
                <a:lnTo>
                  <a:pt x="9160395" y="6078767"/>
                </a:lnTo>
                <a:lnTo>
                  <a:pt x="9159383" y="6065178"/>
                </a:lnTo>
                <a:cubicBezTo>
                  <a:pt x="9161828" y="5995543"/>
                  <a:pt x="9159383" y="5925909"/>
                  <a:pt x="9160606" y="5856275"/>
                </a:cubicBezTo>
                <a:cubicBezTo>
                  <a:pt x="9160606" y="5828177"/>
                  <a:pt x="9147168" y="5809852"/>
                  <a:pt x="9125178" y="5798859"/>
                </a:cubicBezTo>
                <a:cubicBezTo>
                  <a:pt x="9099523" y="5785420"/>
                  <a:pt x="9094636" y="5813517"/>
                  <a:pt x="9083641" y="5825735"/>
                </a:cubicBezTo>
                <a:cubicBezTo>
                  <a:pt x="9042106" y="5869714"/>
                  <a:pt x="9003012" y="5873379"/>
                  <a:pt x="8954147" y="5835507"/>
                </a:cubicBezTo>
                <a:cubicBezTo>
                  <a:pt x="8928492" y="5817184"/>
                  <a:pt x="8916275" y="5790307"/>
                  <a:pt x="8901615" y="5764652"/>
                </a:cubicBezTo>
                <a:cubicBezTo>
                  <a:pt x="8901615" y="5732890"/>
                  <a:pt x="8901615" y="5701127"/>
                  <a:pt x="8902838" y="5668142"/>
                </a:cubicBezTo>
                <a:cubicBezTo>
                  <a:pt x="8963920" y="5559415"/>
                  <a:pt x="9012786" y="5550862"/>
                  <a:pt x="9099523" y="5630271"/>
                </a:cubicBezTo>
                <a:cubicBezTo>
                  <a:pt x="9111739" y="5641266"/>
                  <a:pt x="9120291" y="5642486"/>
                  <a:pt x="9132508" y="5633936"/>
                </a:cubicBezTo>
                <a:cubicBezTo>
                  <a:pt x="9153276" y="5618054"/>
                  <a:pt x="9161828" y="5599729"/>
                  <a:pt x="9161828" y="5572855"/>
                </a:cubicBezTo>
                <a:cubicBezTo>
                  <a:pt x="9160606" y="5509327"/>
                  <a:pt x="9165493" y="5445801"/>
                  <a:pt x="9160606" y="5382276"/>
                </a:cubicBezTo>
                <a:cubicBezTo>
                  <a:pt x="9156941" y="5337075"/>
                  <a:pt x="9174043" y="5329745"/>
                  <a:pt x="9213137" y="5332188"/>
                </a:cubicBezTo>
                <a:cubicBezTo>
                  <a:pt x="9275440" y="5335853"/>
                  <a:pt x="9336524" y="5332188"/>
                  <a:pt x="9398827" y="5333410"/>
                </a:cubicBezTo>
                <a:cubicBezTo>
                  <a:pt x="9430591" y="5333410"/>
                  <a:pt x="9456246" y="5322415"/>
                  <a:pt x="9467240" y="5293094"/>
                </a:cubicBezTo>
                <a:cubicBezTo>
                  <a:pt x="9477013" y="5266220"/>
                  <a:pt x="9447693" y="5262554"/>
                  <a:pt x="9434256" y="5249118"/>
                </a:cubicBezTo>
                <a:cubicBezTo>
                  <a:pt x="9398827" y="5213689"/>
                  <a:pt x="9392719" y="5180704"/>
                  <a:pt x="9419596" y="5139169"/>
                </a:cubicBezTo>
                <a:cubicBezTo>
                  <a:pt x="9467240" y="5064646"/>
                  <a:pt x="9584518" y="5048767"/>
                  <a:pt x="9648044" y="5109848"/>
                </a:cubicBezTo>
                <a:cubicBezTo>
                  <a:pt x="9705461" y="5164823"/>
                  <a:pt x="9706684" y="5208802"/>
                  <a:pt x="9643157" y="5260110"/>
                </a:cubicBezTo>
                <a:cubicBezTo>
                  <a:pt x="9612615" y="5284544"/>
                  <a:pt x="9622389" y="5300426"/>
                  <a:pt x="9644379" y="5319971"/>
                </a:cubicBezTo>
                <a:cubicBezTo>
                  <a:pt x="9660261" y="5333410"/>
                  <a:pt x="9678584" y="5334631"/>
                  <a:pt x="9698131" y="5334631"/>
                </a:cubicBezTo>
                <a:cubicBezTo>
                  <a:pt x="9766544" y="5334631"/>
                  <a:pt x="9834956" y="5335853"/>
                  <a:pt x="9903370" y="5334631"/>
                </a:cubicBezTo>
                <a:cubicBezTo>
                  <a:pt x="9917113" y="5334631"/>
                  <a:pt x="9926046" y="5336007"/>
                  <a:pt x="9929654" y="5346485"/>
                </a:cubicBezTo>
                <a:lnTo>
                  <a:pt x="9930724" y="5354628"/>
                </a:lnTo>
                <a:lnTo>
                  <a:pt x="9932264" y="5354628"/>
                </a:lnTo>
                <a:lnTo>
                  <a:pt x="9932800" y="5349644"/>
                </a:lnTo>
                <a:cubicBezTo>
                  <a:pt x="9935434" y="5343481"/>
                  <a:pt x="9940130" y="5339572"/>
                  <a:pt x="9947918" y="5337597"/>
                </a:cubicBezTo>
                <a:lnTo>
                  <a:pt x="9951318" y="5337347"/>
                </a:lnTo>
                <a:lnTo>
                  <a:pt x="9952291" y="5335521"/>
                </a:lnTo>
                <a:lnTo>
                  <a:pt x="9934946" y="5330599"/>
                </a:lnTo>
                <a:cubicBezTo>
                  <a:pt x="9931128" y="5326323"/>
                  <a:pt x="9930211" y="5319604"/>
                  <a:pt x="9930821" y="5309831"/>
                </a:cubicBezTo>
                <a:cubicBezTo>
                  <a:pt x="9932044" y="5235310"/>
                  <a:pt x="9932044" y="5160790"/>
                  <a:pt x="9930821" y="5086269"/>
                </a:cubicBezTo>
                <a:cubicBezTo>
                  <a:pt x="9930821" y="5052061"/>
                  <a:pt x="9950369" y="5030071"/>
                  <a:pt x="9976023" y="5012969"/>
                </a:cubicBezTo>
                <a:cubicBezTo>
                  <a:pt x="9993126" y="5001974"/>
                  <a:pt x="10009008" y="5003196"/>
                  <a:pt x="10026111" y="5020300"/>
                </a:cubicBezTo>
                <a:cubicBezTo>
                  <a:pt x="10092080" y="5086269"/>
                  <a:pt x="10106740" y="5088711"/>
                  <a:pt x="10151942" y="5045954"/>
                </a:cubicBezTo>
                <a:cubicBezTo>
                  <a:pt x="10198364" y="5001974"/>
                  <a:pt x="10203251" y="4916459"/>
                  <a:pt x="10160492" y="4868816"/>
                </a:cubicBezTo>
                <a:cubicBezTo>
                  <a:pt x="10115292" y="4817505"/>
                  <a:pt x="10084750" y="4817505"/>
                  <a:pt x="10039550" y="4867593"/>
                </a:cubicBezTo>
                <a:cubicBezTo>
                  <a:pt x="10026111" y="4882253"/>
                  <a:pt x="10017560" y="4907907"/>
                  <a:pt x="9987018" y="4895690"/>
                </a:cubicBezTo>
                <a:cubicBezTo>
                  <a:pt x="9956476" y="4883475"/>
                  <a:pt x="9933266" y="4863928"/>
                  <a:pt x="9932044" y="4830943"/>
                </a:cubicBezTo>
                <a:cubicBezTo>
                  <a:pt x="9929601" y="4750316"/>
                  <a:pt x="9930821" y="4669686"/>
                  <a:pt x="9929601" y="4587835"/>
                </a:cubicBezTo>
                <a:cubicBezTo>
                  <a:pt x="9929601" y="4564624"/>
                  <a:pt x="9944261" y="4568288"/>
                  <a:pt x="9957699" y="4568288"/>
                </a:cubicBezTo>
                <a:cubicBezTo>
                  <a:pt x="10024890" y="4568288"/>
                  <a:pt x="10090860" y="4568288"/>
                  <a:pt x="10158050" y="4568288"/>
                </a:cubicBezTo>
                <a:cubicBezTo>
                  <a:pt x="10173932" y="4568288"/>
                  <a:pt x="10189812" y="4569509"/>
                  <a:pt x="10204472" y="4560959"/>
                </a:cubicBezTo>
                <a:cubicBezTo>
                  <a:pt x="10241122" y="4540189"/>
                  <a:pt x="10243566" y="4520644"/>
                  <a:pt x="10213024" y="4493768"/>
                </a:cubicBezTo>
                <a:cubicBezTo>
                  <a:pt x="10155607" y="4442457"/>
                  <a:pt x="10154385" y="4398478"/>
                  <a:pt x="10209359" y="4345948"/>
                </a:cubicBezTo>
                <a:cubicBezTo>
                  <a:pt x="10239900" y="4316628"/>
                  <a:pt x="10283268" y="4304412"/>
                  <a:pt x="10325263" y="4307925"/>
                </a:cubicBezTo>
                <a:cubicBezTo>
                  <a:pt x="10367257" y="4311436"/>
                  <a:pt x="10407876" y="4330677"/>
                  <a:pt x="10432920" y="4364272"/>
                </a:cubicBezTo>
                <a:cubicBezTo>
                  <a:pt x="10467127" y="4409475"/>
                  <a:pt x="10462240" y="4447344"/>
                  <a:pt x="10423148" y="4486437"/>
                </a:cubicBezTo>
                <a:cubicBezTo>
                  <a:pt x="10410932" y="4498655"/>
                  <a:pt x="10377948" y="4502319"/>
                  <a:pt x="10393828" y="4531639"/>
                </a:cubicBezTo>
                <a:cubicBezTo>
                  <a:pt x="10407266" y="4557294"/>
                  <a:pt x="10429257" y="4569509"/>
                  <a:pt x="10459798" y="4569509"/>
                </a:cubicBezTo>
                <a:cubicBezTo>
                  <a:pt x="10526989" y="4568288"/>
                  <a:pt x="10592957" y="4570731"/>
                  <a:pt x="10660149" y="4568288"/>
                </a:cubicBezTo>
                <a:cubicBezTo>
                  <a:pt x="10690691" y="4567067"/>
                  <a:pt x="10701684" y="4574397"/>
                  <a:pt x="10700463" y="4607381"/>
                </a:cubicBezTo>
                <a:cubicBezTo>
                  <a:pt x="10698020" y="4672129"/>
                  <a:pt x="10699241" y="4738097"/>
                  <a:pt x="10699241" y="4802845"/>
                </a:cubicBezTo>
                <a:cubicBezTo>
                  <a:pt x="10699241" y="4830943"/>
                  <a:pt x="10693133" y="4855378"/>
                  <a:pt x="10672366" y="4876145"/>
                </a:cubicBezTo>
                <a:cubicBezTo>
                  <a:pt x="10640602" y="4907907"/>
                  <a:pt x="10621056" y="4906687"/>
                  <a:pt x="10591736" y="4872480"/>
                </a:cubicBezTo>
                <a:cubicBezTo>
                  <a:pt x="10572189" y="4850489"/>
                  <a:pt x="10553864" y="4819948"/>
                  <a:pt x="10518437" y="4833387"/>
                </a:cubicBezTo>
                <a:cubicBezTo>
                  <a:pt x="10479345" y="4848047"/>
                  <a:pt x="10450025" y="4873702"/>
                  <a:pt x="10443915" y="4917681"/>
                </a:cubicBezTo>
                <a:cubicBezTo>
                  <a:pt x="10436587" y="4970212"/>
                  <a:pt x="10439030" y="5019078"/>
                  <a:pt x="10486675" y="5054507"/>
                </a:cubicBezTo>
                <a:cubicBezTo>
                  <a:pt x="10525767" y="5083825"/>
                  <a:pt x="10547757" y="5081381"/>
                  <a:pt x="10580742" y="5045954"/>
                </a:cubicBezTo>
                <a:cubicBezTo>
                  <a:pt x="10597844" y="5027629"/>
                  <a:pt x="10607617" y="4993424"/>
                  <a:pt x="10643046" y="5009304"/>
                </a:cubicBezTo>
                <a:cubicBezTo>
                  <a:pt x="10677251" y="5023964"/>
                  <a:pt x="10698020" y="5052061"/>
                  <a:pt x="10699241" y="5089935"/>
                </a:cubicBezTo>
                <a:cubicBezTo>
                  <a:pt x="10700463" y="5163234"/>
                  <a:pt x="10699241" y="5236532"/>
                  <a:pt x="10700463" y="5308610"/>
                </a:cubicBezTo>
                <a:lnTo>
                  <a:pt x="10695953" y="5325919"/>
                </a:lnTo>
                <a:lnTo>
                  <a:pt x="10695953" y="5342506"/>
                </a:lnTo>
                <a:lnTo>
                  <a:pt x="10697005" y="5340688"/>
                </a:lnTo>
                <a:cubicBezTo>
                  <a:pt x="10705709" y="5333510"/>
                  <a:pt x="10719758" y="5332289"/>
                  <a:pt x="10739305" y="5333510"/>
                </a:cubicBezTo>
                <a:cubicBezTo>
                  <a:pt x="10801608" y="5337175"/>
                  <a:pt x="10862692" y="5333510"/>
                  <a:pt x="10924995" y="5334732"/>
                </a:cubicBezTo>
                <a:cubicBezTo>
                  <a:pt x="10956759" y="5334732"/>
                  <a:pt x="10982414" y="5323737"/>
                  <a:pt x="10993408" y="5294417"/>
                </a:cubicBezTo>
                <a:cubicBezTo>
                  <a:pt x="11003181" y="5267541"/>
                  <a:pt x="10973861" y="5263877"/>
                  <a:pt x="10960424" y="5250439"/>
                </a:cubicBezTo>
                <a:cubicBezTo>
                  <a:pt x="10924995" y="5215009"/>
                  <a:pt x="10918887" y="5182026"/>
                  <a:pt x="10945764" y="5140490"/>
                </a:cubicBezTo>
                <a:cubicBezTo>
                  <a:pt x="10993408" y="5065968"/>
                  <a:pt x="11110686" y="5050088"/>
                  <a:pt x="11174212" y="5111172"/>
                </a:cubicBezTo>
                <a:cubicBezTo>
                  <a:pt x="11231629" y="5166144"/>
                  <a:pt x="11232852" y="5210124"/>
                  <a:pt x="11169325" y="5261432"/>
                </a:cubicBezTo>
                <a:cubicBezTo>
                  <a:pt x="11138783" y="5285866"/>
                  <a:pt x="11148557" y="5301748"/>
                  <a:pt x="11170547" y="5321293"/>
                </a:cubicBezTo>
                <a:cubicBezTo>
                  <a:pt x="11186429" y="5334732"/>
                  <a:pt x="11204752" y="5335954"/>
                  <a:pt x="11224299" y="5335954"/>
                </a:cubicBezTo>
                <a:cubicBezTo>
                  <a:pt x="11292712" y="5335954"/>
                  <a:pt x="11361124" y="5337175"/>
                  <a:pt x="11429538" y="5335954"/>
                </a:cubicBezTo>
                <a:cubicBezTo>
                  <a:pt x="11447862" y="5335954"/>
                  <a:pt x="11457635" y="5338397"/>
                  <a:pt x="11457635" y="5361608"/>
                </a:cubicBezTo>
                <a:cubicBezTo>
                  <a:pt x="11456413" y="5436129"/>
                  <a:pt x="11457635" y="5510649"/>
                  <a:pt x="11456413" y="5585169"/>
                </a:cubicBezTo>
                <a:cubicBezTo>
                  <a:pt x="11455192" y="5623042"/>
                  <a:pt x="11433202" y="5648697"/>
                  <a:pt x="11397773" y="5663355"/>
                </a:cubicBezTo>
                <a:cubicBezTo>
                  <a:pt x="11362346" y="5676794"/>
                  <a:pt x="11356238" y="5645031"/>
                  <a:pt x="11340356" y="5627928"/>
                </a:cubicBezTo>
                <a:cubicBezTo>
                  <a:pt x="11304929" y="5590057"/>
                  <a:pt x="11282939" y="5587614"/>
                  <a:pt x="11242624" y="5618154"/>
                </a:cubicBezTo>
                <a:cubicBezTo>
                  <a:pt x="11203532" y="5647475"/>
                  <a:pt x="11196202" y="5686566"/>
                  <a:pt x="11198645" y="5731767"/>
                </a:cubicBezTo>
                <a:cubicBezTo>
                  <a:pt x="11201089" y="5781856"/>
                  <a:pt x="11227964" y="5823392"/>
                  <a:pt x="11271944" y="5838051"/>
                </a:cubicBezTo>
                <a:cubicBezTo>
                  <a:pt x="11313481" y="5852711"/>
                  <a:pt x="11333026" y="5820947"/>
                  <a:pt x="11352573" y="5795294"/>
                </a:cubicBezTo>
                <a:cubicBezTo>
                  <a:pt x="11377006" y="5764752"/>
                  <a:pt x="11400218" y="5769639"/>
                  <a:pt x="11424650" y="5791629"/>
                </a:cubicBezTo>
                <a:cubicBezTo>
                  <a:pt x="11445418" y="5809954"/>
                  <a:pt x="11457635" y="5833164"/>
                  <a:pt x="11456413" y="5862484"/>
                </a:cubicBezTo>
                <a:cubicBezTo>
                  <a:pt x="11455192" y="5906464"/>
                  <a:pt x="11456413" y="5951665"/>
                  <a:pt x="11456413" y="5995645"/>
                </a:cubicBezTo>
                <a:cubicBezTo>
                  <a:pt x="11456413" y="6035959"/>
                  <a:pt x="11456413" y="6061155"/>
                  <a:pt x="11450808" y="6076903"/>
                </a:cubicBezTo>
                <a:lnTo>
                  <a:pt x="11443434" y="6089200"/>
                </a:lnTo>
                <a:lnTo>
                  <a:pt x="11447629" y="6089179"/>
                </a:lnTo>
                <a:lnTo>
                  <a:pt x="11460380" y="6094729"/>
                </a:lnTo>
                <a:lnTo>
                  <a:pt x="11461414" y="6089396"/>
                </a:lnTo>
                <a:cubicBezTo>
                  <a:pt x="11466607" y="6083288"/>
                  <a:pt x="11475769" y="6080844"/>
                  <a:pt x="11491039" y="6081456"/>
                </a:cubicBezTo>
                <a:cubicBezTo>
                  <a:pt x="11555788" y="6083898"/>
                  <a:pt x="11621755" y="6082676"/>
                  <a:pt x="11686503" y="6082676"/>
                </a:cubicBezTo>
                <a:cubicBezTo>
                  <a:pt x="11702385" y="6082676"/>
                  <a:pt x="11718267" y="6082676"/>
                  <a:pt x="11732927" y="6074124"/>
                </a:cubicBezTo>
                <a:cubicBezTo>
                  <a:pt x="11768354" y="6055799"/>
                  <a:pt x="11770797" y="6033811"/>
                  <a:pt x="11741477" y="6008156"/>
                </a:cubicBezTo>
                <a:cubicBezTo>
                  <a:pt x="11715824" y="5986166"/>
                  <a:pt x="11688947" y="5961732"/>
                  <a:pt x="11698720" y="5923862"/>
                </a:cubicBezTo>
                <a:cubicBezTo>
                  <a:pt x="11710937" y="5878660"/>
                  <a:pt x="11741477" y="5844455"/>
                  <a:pt x="11785457" y="5829795"/>
                </a:cubicBezTo>
                <a:cubicBezTo>
                  <a:pt x="11801644" y="5823992"/>
                  <a:pt x="11818289" y="5821014"/>
                  <a:pt x="11834763" y="5820594"/>
                </a:cubicBezTo>
                <a:cubicBezTo>
                  <a:pt x="11884183" y="5819334"/>
                  <a:pt x="11932056" y="5841095"/>
                  <a:pt x="11961375" y="5878660"/>
                </a:cubicBezTo>
                <a:cubicBezTo>
                  <a:pt x="11998025" y="5925083"/>
                  <a:pt x="11993137" y="5961732"/>
                  <a:pt x="11949158" y="6003269"/>
                </a:cubicBezTo>
                <a:cubicBezTo>
                  <a:pt x="11936942" y="6014264"/>
                  <a:pt x="11910065" y="6019151"/>
                  <a:pt x="11922283" y="6046026"/>
                </a:cubicBezTo>
                <a:cubicBezTo>
                  <a:pt x="11934500" y="6070461"/>
                  <a:pt x="11956488" y="6082676"/>
                  <a:pt x="11983365" y="6082676"/>
                </a:cubicBezTo>
                <a:cubicBezTo>
                  <a:pt x="12050556" y="6082676"/>
                  <a:pt x="12116524" y="6085121"/>
                  <a:pt x="12183716" y="6081456"/>
                </a:cubicBezTo>
                <a:lnTo>
                  <a:pt x="12191999" y="6083007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80941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E538E-F2FD-92A0-4D2B-74D6DE84E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44FD9-7FD6-DC69-07D8-E6F5AA5F58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8AA447-D7ED-D895-3682-47D2166D9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BF627F-1255-A152-9F23-8E3CB41D2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5A5269-6215-F9E6-D39F-9980900B42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2502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6481B2-1B7B-0A6A-943C-031C0E9418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1BDCFE-1045-4492-661F-0C9A268E13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33D505-6DC9-22F3-79F2-5D1D125544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861883-2F67-E1FA-5DB5-BFCE9C37C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F824AC-CB01-81E9-556E-0152D88FB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527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28572-9182-FD02-022C-DC9DE551DB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87E70B-44F1-C437-5C0E-FF24167C5F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D8BD5A-B911-04D8-20D0-F9DE86446D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AABD7C-2B49-DB75-47B4-405D0BD7FD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BC832F-2985-B5A8-EDE4-074A4543E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449900-0C72-442A-3F33-41C17599B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7566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5DE60-EE31-936F-E1DC-B7F7554C2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3A7E5A-39B4-B7A2-95D8-5367956ECD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A54465-06A7-0D5A-DE7A-A0C02D7A86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340B3A-30EA-FABC-20F8-931DF0EBC4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5608584-9DF8-20BE-CB62-C89197F00BC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EF24BFE-917C-7357-3314-C419FE70D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7881C72-E108-82C7-E6B0-EE7A9374E1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69038F-EE17-84D7-D870-0EA56FB3C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4565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65001E-D095-6847-79F3-438E68AA9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0B3F29-4E13-64CC-6FF4-0AA17BFE7C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D76F6B-32F1-B3E5-F32C-8E131837DE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6A0DB9-883C-996B-0966-186745473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1581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6DF444-8460-0AB6-AE67-43A7BCA2E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45FE70-C114-AE9C-6501-4F067A144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92416B-ADD7-9809-20C7-6AF02E019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529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8D377-FDA4-C165-A412-DAD7B2E26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69249F-3906-3A77-8472-26F59F56BA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EA5FC2-E24A-0A9C-4C96-277FF1B921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5B7C9C-9956-8251-55D4-375A79A7B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A427D7-1819-8A52-912A-8AECBE2EE6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A77F81-B54D-445A-D3FF-DDCB14A39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8842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338D4E-33D4-1218-4E6B-7BECE230C5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0FECC2-E602-9CA3-6126-F371076F8E3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C45DD8-149D-DA3C-A731-22D8A1095A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ABB80F-2EFC-0799-CC36-8F7B6B287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78B85F-956A-0373-536C-4DDEA3C5A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D7B246-A0A6-0ACB-B25B-FE55EA9C0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6042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5A50D3-DEFB-7C23-2F0C-5026AE96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36AF08-1751-CE85-2AB0-0DF47FA406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DB6F8F-0A41-569B-242C-8D178F3394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3ADC32-6074-4D34-9B43-849A928811F4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5103D3-C1C7-B696-95FF-7381AE7FEE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CF9C0B-D8DF-DCD7-9078-2FDBB6A123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12433C-BFEE-4AC5-A211-0D058AAD40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909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11" name="Objec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918243" y="6428451"/>
            <a:ext cx="365485" cy="92333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© Detecon</a:t>
            </a:r>
            <a:endParaRPr lang="de-DE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119" y="687389"/>
            <a:ext cx="11424000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a-IR" dirty="0"/>
              <a:t>سبسیب</a:t>
            </a:r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3117" y="1484315"/>
            <a:ext cx="11424000" cy="2664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a-IR" dirty="0"/>
              <a:t>سیب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14" name="OT_FootnoteSource" hidden="1"/>
          <p:cNvSpPr txBox="1"/>
          <p:nvPr/>
        </p:nvSpPr>
        <p:spPr>
          <a:xfrm>
            <a:off x="378884" y="5949080"/>
            <a:ext cx="55372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407988" marR="0" lvl="0" indent="-40798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60363" algn="r"/>
              </a:tabLst>
              <a:defRPr/>
            </a:pPr>
            <a:r>
              <a:rPr lang="de-DE" sz="800" i="1" baseline="0" dirty="0"/>
              <a:t>	1	Text</a:t>
            </a:r>
          </a:p>
          <a:p>
            <a:pPr marL="407988" marR="0" lvl="0" indent="-40798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60363" algn="r"/>
              </a:tabLst>
              <a:defRPr/>
            </a:pPr>
            <a:r>
              <a:rPr lang="de-DE" sz="800" i="1" baseline="0" dirty="0"/>
              <a:t>Source:		</a:t>
            </a:r>
            <a:r>
              <a:rPr lang="de-DE" sz="800" i="1" dirty="0"/>
              <a:t>FootnoteAnd</a:t>
            </a:r>
            <a:r>
              <a:rPr lang="de-DE" sz="800" i="1" baseline="0" dirty="0"/>
              <a:t>Source</a:t>
            </a:r>
          </a:p>
        </p:txBody>
      </p:sp>
      <p:sp>
        <p:nvSpPr>
          <p:cNvPr id="24" name="OT_TextBox" hidden="1"/>
          <p:cNvSpPr>
            <a:spLocks/>
          </p:cNvSpPr>
          <p:nvPr/>
        </p:nvSpPr>
        <p:spPr>
          <a:xfrm>
            <a:off x="-3313306" y="3"/>
            <a:ext cx="3313308" cy="2016037"/>
          </a:xfrm>
          <a:prstGeom prst="rect">
            <a:avLst/>
          </a:prstGeom>
        </p:spPr>
        <p:txBody>
          <a:bodyPr vert="horz" lIns="108000" tIns="108000" rIns="108000" bIns="108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lvl="0"/>
            <a:r>
              <a:rPr lang="de-DE" sz="1200" noProof="0" dirty="0"/>
              <a:t>OfficeToolsTextBox</a:t>
            </a:r>
          </a:p>
          <a:p>
            <a:pPr lvl="1">
              <a:buClr>
                <a:schemeClr val="accent5"/>
              </a:buClr>
            </a:pPr>
            <a:r>
              <a:rPr lang="de-DE" sz="1200" noProof="0" dirty="0"/>
              <a:t>Zweite Ebene</a:t>
            </a:r>
          </a:p>
          <a:p>
            <a:pPr lvl="2">
              <a:buClr>
                <a:schemeClr val="accent5"/>
              </a:buClr>
            </a:pPr>
            <a:r>
              <a:rPr lang="de-DE" sz="1200" noProof="0" dirty="0"/>
              <a:t>Dritte Ebene</a:t>
            </a:r>
          </a:p>
          <a:p>
            <a:pPr lvl="3"/>
            <a:r>
              <a:rPr lang="de-DE" sz="1000" noProof="0" dirty="0"/>
              <a:t>Vierte Ebene</a:t>
            </a:r>
          </a:p>
          <a:p>
            <a:pPr lvl="4"/>
            <a:r>
              <a:rPr lang="de-DE" sz="1000" noProof="0" dirty="0"/>
              <a:t>Fünfte Ebene</a:t>
            </a:r>
          </a:p>
          <a:p>
            <a:pPr lvl="5"/>
            <a:r>
              <a:rPr lang="de-DE" sz="1000" noProof="0" dirty="0"/>
              <a:t>Sechste Ebene</a:t>
            </a:r>
          </a:p>
          <a:p>
            <a:pPr lvl="6"/>
            <a:r>
              <a:rPr lang="de-DE" sz="1000" noProof="0" dirty="0"/>
              <a:t>Siebente Ebene</a:t>
            </a:r>
          </a:p>
          <a:p>
            <a:pPr lvl="7"/>
            <a:r>
              <a:rPr lang="de-DE" sz="1000" noProof="0" dirty="0"/>
              <a:t>Achte Ebene</a:t>
            </a:r>
          </a:p>
          <a:p>
            <a:pPr lvl="8"/>
            <a:r>
              <a:rPr lang="de-DE" sz="1000" noProof="0" dirty="0"/>
              <a:t>Neunte Ebene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4"/>
          </p:nvPr>
        </p:nvSpPr>
        <p:spPr>
          <a:xfrm>
            <a:off x="5837767" y="6558767"/>
            <a:ext cx="491588" cy="13849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algn="ctr"/>
            <a:r>
              <a:rPr lang="de-DE" dirty="0"/>
              <a:t>– </a:t>
            </a:r>
            <a:fld id="{0BE42143-7310-4A8F-A2D9-68016CEE3D5A}" type="slidenum">
              <a:rPr lang="de-DE" smtClean="0"/>
              <a:pPr algn="ctr"/>
              <a:t>‹#›</a:t>
            </a:fld>
            <a:r>
              <a:rPr lang="de-DE" dirty="0"/>
              <a:t> –</a:t>
            </a:r>
          </a:p>
        </p:txBody>
      </p:sp>
      <p:pic>
        <p:nvPicPr>
          <p:cNvPr id="27" name="OT_ClientLogo" descr="C:\Users\StBerger\Desktop\DeTeCon\Template-Vorlagen\ClientsLogo.png" hidden="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79159" y="6423226"/>
            <a:ext cx="1511300" cy="247650"/>
          </a:xfrm>
          <a:prstGeom prst="rect">
            <a:avLst/>
          </a:prstGeom>
          <a:noFill/>
        </p:spPr>
      </p:pic>
      <p:grpSp>
        <p:nvGrpSpPr>
          <p:cNvPr id="17" name="OT_Sticker" hidden="1"/>
          <p:cNvGrpSpPr/>
          <p:nvPr/>
        </p:nvGrpSpPr>
        <p:grpSpPr>
          <a:xfrm>
            <a:off x="11019366" y="303049"/>
            <a:ext cx="693001" cy="167284"/>
            <a:chOff x="8264523" y="303047"/>
            <a:chExt cx="519751" cy="167284"/>
          </a:xfrm>
        </p:grpSpPr>
        <p:cxnSp>
          <p:nvCxnSpPr>
            <p:cNvPr id="32" name="OT_StickerLine"/>
            <p:cNvCxnSpPr/>
            <p:nvPr/>
          </p:nvCxnSpPr>
          <p:spPr>
            <a:xfrm rot="16200000" flipH="1">
              <a:off x="8181878" y="385692"/>
              <a:ext cx="16528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T_StickerText"/>
            <p:cNvSpPr txBox="1"/>
            <p:nvPr userDrawn="1"/>
          </p:nvSpPr>
          <p:spPr>
            <a:xfrm>
              <a:off x="8411150" y="316443"/>
              <a:ext cx="373124" cy="153888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pPr algn="r"/>
              <a:r>
                <a:rPr lang="de-DE" sz="1000" b="1" dirty="0">
                  <a:latin typeface="+mn-lt"/>
                </a:rPr>
                <a:t>Stick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8188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ransition/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n-lt"/>
          <a:ea typeface="+mj-ea"/>
          <a:cs typeface="B Nazanin" panose="00000400000000000000" pitchFamily="2" charset="-78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50"/>
        </a:spcBef>
        <a:buClr>
          <a:srgbClr val="0033AB"/>
        </a:buClr>
        <a:buSzPct val="80000"/>
        <a:buFont typeface="Wingdings" pitchFamily="2" charset="2"/>
        <a:buNone/>
        <a:defRPr sz="1200" b="0" i="0" kern="1200">
          <a:solidFill>
            <a:schemeClr val="tx1"/>
          </a:solidFill>
          <a:latin typeface="+mn-lt"/>
          <a:ea typeface="+mn-ea"/>
          <a:cs typeface="B Nazanin" panose="00000400000000000000" pitchFamily="2" charset="-78"/>
        </a:defRPr>
      </a:lvl1pPr>
      <a:lvl2pPr marL="273600" indent="-270000" algn="l" defTabSz="914400" rtl="0" eaLnBrk="1" latinLnBrk="0" hangingPunct="1">
        <a:spcBef>
          <a:spcPts val="720"/>
        </a:spcBef>
        <a:buClr>
          <a:schemeClr val="accent5"/>
        </a:buClr>
        <a:buSzPct val="80000"/>
        <a:buFont typeface="Wingdings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B Nazanin" panose="00000400000000000000" pitchFamily="2" charset="-78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720"/>
        </a:spcBef>
        <a:buClr>
          <a:schemeClr val="accent5"/>
        </a:buClr>
        <a:buSzPct val="70000"/>
        <a:buFont typeface="Wingdings" pitchFamily="2" charset="2"/>
        <a:buChar char=""/>
        <a:defRPr sz="1200" kern="1200">
          <a:solidFill>
            <a:schemeClr val="tx1"/>
          </a:solidFill>
          <a:latin typeface="+mn-lt"/>
          <a:ea typeface="+mn-ea"/>
          <a:cs typeface="B Nazanin" panose="00000400000000000000" pitchFamily="2" charset="-78"/>
        </a:defRPr>
      </a:lvl3pPr>
      <a:lvl4pPr marL="717550" indent="-165100" algn="l" defTabSz="914400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B Nazanin" panose="00000400000000000000" pitchFamily="2" charset="-78"/>
        </a:defRPr>
      </a:lvl4pPr>
      <a:lvl5pPr marL="901700" indent="-184150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B Nazanin" panose="00000400000000000000" pitchFamily="2" charset="-78"/>
        </a:defRPr>
      </a:lvl5pPr>
      <a:lvl6pPr marL="1079500" indent="-171450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1260475" indent="-18097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1438275" indent="-18097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625600" indent="-18732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0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.xml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2.xml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image" Target="../media/image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image" Target="../media/image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image" Target="../media/image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image" Target="../media/image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1.xml"/><Relationship Id="rId4" Type="http://schemas.openxmlformats.org/officeDocument/2006/relationships/image" Target="../media/image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2.xml"/><Relationship Id="rId4" Type="http://schemas.openxmlformats.org/officeDocument/2006/relationships/image" Target="../media/image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6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7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9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2D34D87-2F7C-65F6-EF55-5F611B5097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71C25C-8C3D-2132-C892-E2D0C67DD853}"/>
              </a:ext>
            </a:extLst>
          </p:cNvPr>
          <p:cNvSpPr txBox="1"/>
          <p:nvPr/>
        </p:nvSpPr>
        <p:spPr>
          <a:xfrm>
            <a:off x="2691414" y="2575271"/>
            <a:ext cx="68091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a-IR" sz="2400" dirty="0">
                <a:solidFill>
                  <a:schemeClr val="bg1"/>
                </a:solidFill>
                <a:latin typeface="Dana DemiBold" pitchFamily="2" charset="-78"/>
                <a:cs typeface="Dana DemiBold" pitchFamily="2" charset="-78"/>
              </a:rPr>
              <a:t>گزارش هفتگی گروه مالی کیمیا مس ایرانیان</a:t>
            </a:r>
            <a:endParaRPr lang="en-US" sz="2400" dirty="0">
              <a:solidFill>
                <a:schemeClr val="bg1"/>
              </a:solidFill>
              <a:latin typeface="Dana DemiBold" pitchFamily="2" charset="-78"/>
              <a:cs typeface="Dana DemiBold" pitchFamily="2" charset="-7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674A49-CDEB-9948-16FA-4FBD66F489B9}"/>
              </a:ext>
            </a:extLst>
          </p:cNvPr>
          <p:cNvSpPr txBox="1"/>
          <p:nvPr/>
        </p:nvSpPr>
        <p:spPr>
          <a:xfrm>
            <a:off x="4751387" y="3715355"/>
            <a:ext cx="2689226" cy="340519"/>
          </a:xfrm>
          <a:prstGeom prst="round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rtl="1"/>
            <a:r>
              <a:rPr lang="fa-IR" sz="1400" dirty="0">
                <a:solidFill>
                  <a:schemeClr val="accent1">
                    <a:lumMod val="75000"/>
                  </a:schemeClr>
                </a:solidFill>
                <a:latin typeface="DanaFaNum DemiBold" pitchFamily="2" charset="-78"/>
                <a:cs typeface="DanaFaNum DemiBold" pitchFamily="2" charset="-78"/>
              </a:rPr>
              <a:t>منتهی به</a:t>
            </a:r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DanaFaNum DemiBold" pitchFamily="2" charset="-78"/>
                <a:cs typeface="DanaFaNum DemiBold" pitchFamily="2" charset="-78"/>
              </a:rPr>
              <a:t> </a:t>
            </a:r>
            <a:r>
              <a:rPr lang="fa-IR" sz="1400" dirty="0">
                <a:solidFill>
                  <a:schemeClr val="accent1">
                    <a:lumMod val="75000"/>
                  </a:schemeClr>
                </a:solidFill>
                <a:latin typeface="DanaFaNum DemiBold" pitchFamily="2" charset="-78"/>
                <a:cs typeface="DanaFaNum DemiBold" pitchFamily="2" charset="-78"/>
              </a:rPr>
              <a:t> 24 اسفندماه1403</a:t>
            </a:r>
            <a:endParaRPr lang="en-US" sz="1400" dirty="0">
              <a:solidFill>
                <a:schemeClr val="accent1">
                  <a:lumMod val="75000"/>
                </a:schemeClr>
              </a:solidFill>
              <a:latin typeface="DanaFaNum DemiBold" pitchFamily="2" charset="-78"/>
              <a:cs typeface="DanaFaNum DemiBold" pitchFamily="2" charset="-78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9E1248-71B6-6052-5DB0-551E82C135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295587"/>
            <a:ext cx="1219200" cy="186343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41C092B-1AB3-4E0F-9276-37571D09AD50}"/>
              </a:ext>
            </a:extLst>
          </p:cNvPr>
          <p:cNvSpPr txBox="1"/>
          <p:nvPr/>
        </p:nvSpPr>
        <p:spPr>
          <a:xfrm>
            <a:off x="2780191" y="3206868"/>
            <a:ext cx="6809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a-IR" sz="1600" b="1" dirty="0">
                <a:solidFill>
                  <a:schemeClr val="bg1"/>
                </a:solidFill>
                <a:latin typeface="DanaFaNum" pitchFamily="2" charset="-78"/>
                <a:cs typeface="DanaFaNum" pitchFamily="2" charset="-78"/>
              </a:rPr>
              <a:t>شماره 33</a:t>
            </a:r>
            <a:endParaRPr lang="en-US" sz="1600" b="1" dirty="0">
              <a:solidFill>
                <a:schemeClr val="bg1"/>
              </a:solidFill>
              <a:latin typeface="DanaFaNum" pitchFamily="2" charset="-78"/>
              <a:cs typeface="DanaFaNum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5287409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F57F0FC-0607-4AB7-9A18-689CD2F30CD6}"/>
              </a:ext>
            </a:extLst>
          </p:cNvPr>
          <p:cNvSpPr txBox="1"/>
          <p:nvPr/>
        </p:nvSpPr>
        <p:spPr>
          <a:xfrm>
            <a:off x="8886548" y="58338"/>
            <a:ext cx="3305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fa-IR" dirty="0">
                <a:latin typeface="DanaFaNum Black" pitchFamily="2" charset="-78"/>
                <a:cs typeface="DanaFaNum Black" pitchFamily="2" charset="-78"/>
              </a:rPr>
              <a:t>نرخ بازدهی تا سررسید اوراق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F503F3-7688-4572-97F4-DAEB0CABA8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8D93C64-8C37-4F62-9D21-08FCFB90AE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4864400"/>
              </p:ext>
            </p:extLst>
          </p:nvPr>
        </p:nvGraphicFramePr>
        <p:xfrm>
          <a:off x="348286" y="821371"/>
          <a:ext cx="11350888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671614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F18F11B-2068-1156-0C21-B984287CD6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D21F059-717F-1919-F618-3D63457EEFD7}"/>
              </a:ext>
            </a:extLst>
          </p:cNvPr>
          <p:cNvSpPr txBox="1"/>
          <p:nvPr/>
        </p:nvSpPr>
        <p:spPr>
          <a:xfrm>
            <a:off x="5814875" y="2538182"/>
            <a:ext cx="5362426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>
              <a:lnSpc>
                <a:spcPct val="150000"/>
              </a:lnSpc>
            </a:pPr>
            <a:r>
              <a:rPr lang="fa-IR" sz="2400" dirty="0">
                <a:solidFill>
                  <a:schemeClr val="bg1"/>
                </a:solidFill>
                <a:latin typeface="Dana Medium" pitchFamily="2" charset="-78"/>
                <a:cs typeface="Dana Medium" pitchFamily="2" charset="-78"/>
              </a:rPr>
              <a:t>بخش دوم</a:t>
            </a:r>
          </a:p>
          <a:p>
            <a:pPr algn="ctr" rtl="1">
              <a:lnSpc>
                <a:spcPct val="150000"/>
              </a:lnSpc>
            </a:pPr>
            <a:r>
              <a:rPr lang="fa-IR" sz="2400" dirty="0">
                <a:solidFill>
                  <a:schemeClr val="bg1"/>
                </a:solidFill>
                <a:latin typeface="DanaFaNum Black" pitchFamily="2" charset="-78"/>
                <a:cs typeface="DanaFaNum Black" pitchFamily="2" charset="-78"/>
              </a:rPr>
              <a:t>تغییرات قیمت جهانی مس و سایر کالاها </a:t>
            </a:r>
            <a:endParaRPr lang="en-US" sz="2400" dirty="0">
              <a:solidFill>
                <a:schemeClr val="bg1"/>
              </a:solidFill>
              <a:latin typeface="DanaFaNum Black" pitchFamily="2" charset="-78"/>
              <a:cs typeface="DanaFaNum Black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A1EDB-22D7-8648-869B-105893D902DC}"/>
              </a:ext>
            </a:extLst>
          </p:cNvPr>
          <p:cNvSpPr/>
          <p:nvPr/>
        </p:nvSpPr>
        <p:spPr>
          <a:xfrm rot="18900000">
            <a:off x="11190168" y="2910308"/>
            <a:ext cx="62130" cy="62130"/>
          </a:xfrm>
          <a:prstGeom prst="rect">
            <a:avLst/>
          </a:prstGeom>
          <a:solidFill>
            <a:srgbClr val="2AAA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965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F57F0FC-0607-4AB7-9A18-689CD2F30CD6}"/>
              </a:ext>
            </a:extLst>
          </p:cNvPr>
          <p:cNvSpPr txBox="1"/>
          <p:nvPr/>
        </p:nvSpPr>
        <p:spPr>
          <a:xfrm>
            <a:off x="9117367" y="74547"/>
            <a:ext cx="3074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a-IR" dirty="0">
                <a:latin typeface="DanaFaNum Black" pitchFamily="2" charset="-78"/>
                <a:cs typeface="DanaFaNum Black" pitchFamily="2" charset="-78"/>
              </a:rPr>
              <a:t>قیمت های جهانی 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97F637-47A5-431D-A281-893BDBC710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A3E875E-989A-48DD-9C8F-09997C1A34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8660"/>
              </p:ext>
            </p:extLst>
          </p:nvPr>
        </p:nvGraphicFramePr>
        <p:xfrm>
          <a:off x="3493555" y="1178781"/>
          <a:ext cx="5433136" cy="4351340"/>
        </p:xfrm>
        <a:graphic>
          <a:graphicData uri="http://schemas.openxmlformats.org/drawingml/2006/table">
            <a:tbl>
              <a:tblPr rtl="1"/>
              <a:tblGrid>
                <a:gridCol w="1995494">
                  <a:extLst>
                    <a:ext uri="{9D8B030D-6E8A-4147-A177-3AD203B41FA5}">
                      <a16:colId xmlns:a16="http://schemas.microsoft.com/office/drawing/2014/main" val="1310299084"/>
                    </a:ext>
                  </a:extLst>
                </a:gridCol>
                <a:gridCol w="986279">
                  <a:extLst>
                    <a:ext uri="{9D8B030D-6E8A-4147-A177-3AD203B41FA5}">
                      <a16:colId xmlns:a16="http://schemas.microsoft.com/office/drawing/2014/main" val="3918853622"/>
                    </a:ext>
                  </a:extLst>
                </a:gridCol>
                <a:gridCol w="817121">
                  <a:extLst>
                    <a:ext uri="{9D8B030D-6E8A-4147-A177-3AD203B41FA5}">
                      <a16:colId xmlns:a16="http://schemas.microsoft.com/office/drawing/2014/main" val="3374075908"/>
                    </a:ext>
                  </a:extLst>
                </a:gridCol>
                <a:gridCol w="817121">
                  <a:extLst>
                    <a:ext uri="{9D8B030D-6E8A-4147-A177-3AD203B41FA5}">
                      <a16:colId xmlns:a16="http://schemas.microsoft.com/office/drawing/2014/main" val="2882289505"/>
                    </a:ext>
                  </a:extLst>
                </a:gridCol>
                <a:gridCol w="817121">
                  <a:extLst>
                    <a:ext uri="{9D8B030D-6E8A-4147-A177-3AD203B41FA5}">
                      <a16:colId xmlns:a16="http://schemas.microsoft.com/office/drawing/2014/main" val="2180843726"/>
                    </a:ext>
                  </a:extLst>
                </a:gridCol>
              </a:tblGrid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نام کالا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آخرین نرخ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%W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%M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%Y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295622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سنگ آهن 62%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CFR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چین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0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3.1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.9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.7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E5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5054522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پلی پروپیلن تزریقی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خلیج فارس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,026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3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BC1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3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9.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905012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آلکیل بنزن خطی (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LAB) FOB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خلیج فارس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,52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2.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CD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5.6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7.8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F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354218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اسلب فولادی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ایران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0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.3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E4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3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4.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431544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متانول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CFR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چین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301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8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2.2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C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644171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پارازایلین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کره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817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4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5.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2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57484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بلوم و بیلت فولادی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ایران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1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6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3.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162366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ورق سرد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دریای سیاه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CIS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57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4.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4078427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استایرن منومر داخلی چین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,00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9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3.3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2.3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9221231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اتیلن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CFR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جنوب شرق آسیا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921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8.9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363658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پلی اتیلن سنگین فیلم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خلیج فارس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913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.1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3.6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846041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پلی وینیل کلراید (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PVC) CFR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چین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72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7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8.6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189877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MTBE FOB </a:t>
                      </a:r>
                      <a:r>
                        <a:rPr lang="fa-IR" sz="7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سنگاپور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868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8.1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150546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بوتادین 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CFR </a:t>
                      </a:r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چین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,35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9.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2.9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681184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تولوئن 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CFR </a:t>
                      </a:r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چین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73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9.2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5445811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اتانول 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رتردام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728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.2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.1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8494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دوده صنعتی 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خلیج فارس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85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6.8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0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4219540"/>
                  </a:ext>
                </a:extLst>
              </a:tr>
              <a:tr h="310256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پلی اتیلن ترفتالات (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PET) FOB </a:t>
                      </a:r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جنوب شرق آسیا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86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6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4.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9.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0209055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بنزین پیرولیز 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خلیج فارس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56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9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7.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6.9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95873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پلی اتیلن سبک تزریقی 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خلیج فارس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,11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7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0.1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B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8435510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ورق گرم 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دریای سیاه 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CIS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8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3.5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023171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اوره پریل 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FOB </a:t>
                      </a:r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خلیج فارس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1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.2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2.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26.2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6086513"/>
                  </a:ext>
                </a:extLst>
              </a:tr>
              <a:tr h="310256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اکریلو نیتریل بوتادین استایرن (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ABS) CFR </a:t>
                      </a:r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چین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,39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.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2.8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7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E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770364"/>
                  </a:ext>
                </a:extLst>
              </a:tr>
              <a:tr h="15512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پروپیلن 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CFR </a:t>
                      </a:r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چین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83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.8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2.4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.8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513571"/>
                  </a:ext>
                </a:extLst>
              </a:tr>
              <a:tr h="162884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نفت برنت </a:t>
                      </a:r>
                    </a:p>
                  </a:txBody>
                  <a:tcPr marL="7756" marR="7756" marT="77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71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2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7.0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8.6</a:t>
                      </a:r>
                    </a:p>
                  </a:txBody>
                  <a:tcPr marL="7756" marR="7756" marT="775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85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81126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F57F0FC-0607-4AB7-9A18-689CD2F30CD6}"/>
              </a:ext>
            </a:extLst>
          </p:cNvPr>
          <p:cNvSpPr txBox="1"/>
          <p:nvPr/>
        </p:nvSpPr>
        <p:spPr>
          <a:xfrm>
            <a:off x="9357064" y="74547"/>
            <a:ext cx="2834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معاملات</a:t>
            </a:r>
            <a:r>
              <a:rPr lang="fa-IR" dirty="0">
                <a:latin typeface="DanaFaNum Black" pitchFamily="2" charset="-78"/>
                <a:cs typeface="DanaFaNum Black" pitchFamily="2" charset="-78"/>
              </a:rPr>
              <a:t> بورس کالا - صنعتی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97F637-47A5-431D-A281-893BDBC710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76DC787-FC8F-491E-95DE-19FA3CF445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7304245"/>
              </p:ext>
            </p:extLst>
          </p:nvPr>
        </p:nvGraphicFramePr>
        <p:xfrm>
          <a:off x="3456436" y="2428421"/>
          <a:ext cx="6007099" cy="1743075"/>
        </p:xfrm>
        <a:graphic>
          <a:graphicData uri="http://schemas.openxmlformats.org/drawingml/2006/table">
            <a:tbl>
              <a:tblPr rtl="1"/>
              <a:tblGrid>
                <a:gridCol w="2206302">
                  <a:extLst>
                    <a:ext uri="{9D8B030D-6E8A-4147-A177-3AD203B41FA5}">
                      <a16:colId xmlns:a16="http://schemas.microsoft.com/office/drawing/2014/main" val="2560314266"/>
                    </a:ext>
                  </a:extLst>
                </a:gridCol>
                <a:gridCol w="1090471">
                  <a:extLst>
                    <a:ext uri="{9D8B030D-6E8A-4147-A177-3AD203B41FA5}">
                      <a16:colId xmlns:a16="http://schemas.microsoft.com/office/drawing/2014/main" val="3727062367"/>
                    </a:ext>
                  </a:extLst>
                </a:gridCol>
                <a:gridCol w="903442">
                  <a:extLst>
                    <a:ext uri="{9D8B030D-6E8A-4147-A177-3AD203B41FA5}">
                      <a16:colId xmlns:a16="http://schemas.microsoft.com/office/drawing/2014/main" val="4290260994"/>
                    </a:ext>
                  </a:extLst>
                </a:gridCol>
                <a:gridCol w="903442">
                  <a:extLst>
                    <a:ext uri="{9D8B030D-6E8A-4147-A177-3AD203B41FA5}">
                      <a16:colId xmlns:a16="http://schemas.microsoft.com/office/drawing/2014/main" val="3727091226"/>
                    </a:ext>
                  </a:extLst>
                </a:gridCol>
                <a:gridCol w="903442">
                  <a:extLst>
                    <a:ext uri="{9D8B030D-6E8A-4147-A177-3AD203B41FA5}">
                      <a16:colId xmlns:a16="http://schemas.microsoft.com/office/drawing/2014/main" val="273443995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نام کالا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آخرین نرخ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%W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%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%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00010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گندله سنگ آه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62,897,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0.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8.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17144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کنسانتره سنگ آه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3,593,73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E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3.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9.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00438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شمش بلوم (150*150)5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S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295,750,23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7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5.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8.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632722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ورق سر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30,207,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9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4.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9964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آهن اسفنج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77,127,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BF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3.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4.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0692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ورق گالوانیزه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77,770,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8F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5.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7.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97183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شمش آلومینیو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2,410,341,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C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0.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55.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2228086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سیما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5,942,4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6.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2.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85497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93633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F57F0FC-0607-4AB7-9A18-689CD2F30CD6}"/>
              </a:ext>
            </a:extLst>
          </p:cNvPr>
          <p:cNvSpPr txBox="1"/>
          <p:nvPr/>
        </p:nvSpPr>
        <p:spPr>
          <a:xfrm>
            <a:off x="8398276" y="74547"/>
            <a:ext cx="3793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معاملات</a:t>
            </a:r>
            <a:r>
              <a:rPr lang="fa-IR" dirty="0">
                <a:latin typeface="DanaFaNum Black" pitchFamily="2" charset="-78"/>
                <a:cs typeface="DanaFaNum Black" pitchFamily="2" charset="-78"/>
              </a:rPr>
              <a:t> بورس کالا - شیمیایی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97F637-47A5-431D-A281-893BDBC710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DD7A53B-F998-4ED5-AAFA-900A9F85D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8253087"/>
              </p:ext>
            </p:extLst>
          </p:nvPr>
        </p:nvGraphicFramePr>
        <p:xfrm>
          <a:off x="3412047" y="2505545"/>
          <a:ext cx="6007099" cy="2085975"/>
        </p:xfrm>
        <a:graphic>
          <a:graphicData uri="http://schemas.openxmlformats.org/drawingml/2006/table">
            <a:tbl>
              <a:tblPr rtl="1"/>
              <a:tblGrid>
                <a:gridCol w="2206302">
                  <a:extLst>
                    <a:ext uri="{9D8B030D-6E8A-4147-A177-3AD203B41FA5}">
                      <a16:colId xmlns:a16="http://schemas.microsoft.com/office/drawing/2014/main" val="3997677727"/>
                    </a:ext>
                  </a:extLst>
                </a:gridCol>
                <a:gridCol w="1090471">
                  <a:extLst>
                    <a:ext uri="{9D8B030D-6E8A-4147-A177-3AD203B41FA5}">
                      <a16:colId xmlns:a16="http://schemas.microsoft.com/office/drawing/2014/main" val="3218366492"/>
                    </a:ext>
                  </a:extLst>
                </a:gridCol>
                <a:gridCol w="903442">
                  <a:extLst>
                    <a:ext uri="{9D8B030D-6E8A-4147-A177-3AD203B41FA5}">
                      <a16:colId xmlns:a16="http://schemas.microsoft.com/office/drawing/2014/main" val="1820284881"/>
                    </a:ext>
                  </a:extLst>
                </a:gridCol>
                <a:gridCol w="903442">
                  <a:extLst>
                    <a:ext uri="{9D8B030D-6E8A-4147-A177-3AD203B41FA5}">
                      <a16:colId xmlns:a16="http://schemas.microsoft.com/office/drawing/2014/main" val="3073212689"/>
                    </a:ext>
                  </a:extLst>
                </a:gridCol>
                <a:gridCol w="903442">
                  <a:extLst>
                    <a:ext uri="{9D8B030D-6E8A-4147-A177-3AD203B41FA5}">
                      <a16:colId xmlns:a16="http://schemas.microsoft.com/office/drawing/2014/main" val="303849579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نام کالا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آخرین نرخ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%W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%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%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078081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وکیوم باتو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292,482,41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4.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0.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22674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روغن پایه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515,544,4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D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38.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35389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اوره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264,038,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B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9.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53.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7458930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آلکیل بنزن خطی (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LAB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968,048,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F1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7.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3.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784019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پلی اتیلن سب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722,842,6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FAF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3.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59.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62474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پلی پروپیل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765,381,88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20.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96484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لوبکات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316,749,6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9.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59040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پلی اتیلن ترفتالات (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PET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666,737,6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2.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7.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499732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متانول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69,618,57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.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63.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781270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پلی وینیل کلراید (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PVC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650,894,08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C0006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9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6.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36.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78245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68334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56A398-FFFF-4FA7-81A3-07EDAC9CBFD7}"/>
              </a:ext>
            </a:extLst>
          </p:cNvPr>
          <p:cNvSpPr txBox="1"/>
          <p:nvPr/>
        </p:nvSpPr>
        <p:spPr>
          <a:xfrm>
            <a:off x="8634178" y="58338"/>
            <a:ext cx="355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fa-IR" dirty="0">
                <a:latin typeface="DanaFaNum Black" pitchFamily="2" charset="-78"/>
                <a:cs typeface="DanaFaNum Black" pitchFamily="2" charset="-78"/>
              </a:rPr>
              <a:t>نرخ گاز طبیعی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99042A-2AA9-4CDF-814F-3253D856D2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sp>
        <p:nvSpPr>
          <p:cNvPr id="10" name="TextBox 1">
            <a:extLst>
              <a:ext uri="{FF2B5EF4-FFF2-40B4-BE49-F238E27FC236}">
                <a16:creationId xmlns:a16="http://schemas.microsoft.com/office/drawing/2014/main" id="{5835C6F1-03AF-46F5-99EA-B80D78C0CC66}"/>
              </a:ext>
            </a:extLst>
          </p:cNvPr>
          <p:cNvSpPr txBox="1"/>
          <p:nvPr/>
        </p:nvSpPr>
        <p:spPr>
          <a:xfrm>
            <a:off x="1260629" y="612336"/>
            <a:ext cx="10840731" cy="676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just" rtl="1">
              <a:lnSpc>
                <a:spcPct val="150000"/>
              </a:lnSpc>
            </a:pPr>
            <a:r>
              <a:rPr lang="fa-IR" sz="1000" dirty="0">
                <a:latin typeface="DanaFaNum" pitchFamily="2" charset="-78"/>
                <a:cs typeface="DanaFaNum" pitchFamily="2" charset="-78"/>
              </a:rPr>
              <a:t>در</a:t>
            </a:r>
            <a:r>
              <a:rPr lang="en-US" sz="1000" dirty="0">
                <a:latin typeface="DanaFaNum" pitchFamily="2" charset="-78"/>
                <a:cs typeface="DanaFaNum" pitchFamily="2" charset="-78"/>
              </a:rPr>
              <a:t> 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نمودار</a:t>
            </a:r>
            <a:r>
              <a:rPr lang="en-US" sz="1000" dirty="0">
                <a:latin typeface="DanaFaNum" pitchFamily="2" charset="-78"/>
                <a:cs typeface="DanaFaNum" pitchFamily="2" charset="-78"/>
              </a:rPr>
              <a:t> 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زیر روند نرخ فرمول گاز خوراک صنایع به همراه روند چهار </a:t>
            </a:r>
            <a:r>
              <a:rPr lang="fa-IR" sz="1000" dirty="0" err="1">
                <a:latin typeface="DanaFaNum" pitchFamily="2" charset="-78"/>
                <a:cs typeface="DanaFaNum" pitchFamily="2" charset="-78"/>
              </a:rPr>
              <a:t>هاب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 موجود در فرمول آورده شده است، همان طور که مشاهده می شود نرخ گاز صنایع در هفته گذشته طبق فرمول به حدود 16.5 سنت در هر </a:t>
            </a:r>
            <a:r>
              <a:rPr lang="fa-IR" sz="1000" dirty="0" err="1">
                <a:latin typeface="DanaFaNum" pitchFamily="2" charset="-78"/>
                <a:cs typeface="DanaFaNum" pitchFamily="2" charset="-78"/>
              </a:rPr>
              <a:t>مترمکعب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 رسیده که با توجه به نرخ دلار نیما ، نرخ هر متر </a:t>
            </a:r>
            <a:r>
              <a:rPr lang="fa-IR" sz="1000" dirty="0" err="1">
                <a:latin typeface="DanaFaNum" pitchFamily="2" charset="-78"/>
                <a:cs typeface="DanaFaNum" pitchFamily="2" charset="-78"/>
              </a:rPr>
              <a:t>مکعب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 گاز حدود 112740 ریال به دست </a:t>
            </a:r>
            <a:r>
              <a:rPr lang="fa-IR" sz="1000" dirty="0" err="1">
                <a:latin typeface="DanaFaNum" pitchFamily="2" charset="-78"/>
                <a:cs typeface="DanaFaNum" pitchFamily="2" charset="-78"/>
              </a:rPr>
              <a:t>می‌آید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.</a:t>
            </a:r>
            <a:endParaRPr lang="en-US" sz="1000" dirty="0">
              <a:latin typeface="DanaFaNum" pitchFamily="2" charset="-78"/>
              <a:cs typeface="DanaFaNum" pitchFamily="2" charset="-78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415EDA3-33C7-4B0F-8E1B-6420F834CD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536127"/>
              </p:ext>
            </p:extLst>
          </p:nvPr>
        </p:nvGraphicFramePr>
        <p:xfrm>
          <a:off x="1068372" y="1453196"/>
          <a:ext cx="10534650" cy="501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375671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F57F0FC-0607-4AB7-9A18-689CD2F30CD6}"/>
              </a:ext>
            </a:extLst>
          </p:cNvPr>
          <p:cNvSpPr txBox="1"/>
          <p:nvPr/>
        </p:nvSpPr>
        <p:spPr>
          <a:xfrm>
            <a:off x="9564210" y="74547"/>
            <a:ext cx="2627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a-IR" dirty="0">
                <a:latin typeface="DanaFaNum Black" pitchFamily="2" charset="-78"/>
                <a:cs typeface="DanaFaNum Black" pitchFamily="2" charset="-78"/>
              </a:rPr>
              <a:t>نرخ </a:t>
            </a:r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کاتد</a:t>
            </a:r>
            <a:r>
              <a:rPr lang="fa-IR" dirty="0">
                <a:latin typeface="DanaFaNum Black" pitchFamily="2" charset="-78"/>
                <a:cs typeface="DanaFaNum Black" pitchFamily="2" charset="-78"/>
              </a:rPr>
              <a:t> مسی 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97F637-47A5-431D-A281-893BDBC710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sp>
        <p:nvSpPr>
          <p:cNvPr id="12" name="TextBox 1">
            <a:extLst>
              <a:ext uri="{FF2B5EF4-FFF2-40B4-BE49-F238E27FC236}">
                <a16:creationId xmlns:a16="http://schemas.microsoft.com/office/drawing/2014/main" id="{65224644-6922-4B62-B607-9417906E137D}"/>
              </a:ext>
            </a:extLst>
          </p:cNvPr>
          <p:cNvSpPr txBox="1"/>
          <p:nvPr/>
        </p:nvSpPr>
        <p:spPr>
          <a:xfrm>
            <a:off x="527917" y="5980937"/>
            <a:ext cx="11315797" cy="75323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just" rtl="1">
              <a:lnSpc>
                <a:spcPct val="150000"/>
              </a:lnSpc>
            </a:pPr>
            <a:r>
              <a:rPr lang="fa-IR" sz="1000" dirty="0">
                <a:latin typeface="DanaFaNum" pitchFamily="2" charset="-78"/>
                <a:cs typeface="DanaFaNum" pitchFamily="2" charset="-78"/>
              </a:rPr>
              <a:t>در</a:t>
            </a:r>
            <a:r>
              <a:rPr lang="en-US" sz="1000" dirty="0">
                <a:latin typeface="DanaFaNum" pitchFamily="2" charset="-78"/>
                <a:cs typeface="DanaFaNum" pitchFamily="2" charset="-78"/>
              </a:rPr>
              <a:t> 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نمودار</a:t>
            </a:r>
            <a:r>
              <a:rPr lang="en-US" sz="1000" dirty="0">
                <a:latin typeface="DanaFaNum" pitchFamily="2" charset="-78"/>
                <a:cs typeface="DanaFaNum" pitchFamily="2" charset="-78"/>
              </a:rPr>
              <a:t> 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بالا روند نرخ </a:t>
            </a:r>
            <a:r>
              <a:rPr lang="fa-IR" sz="1000" dirty="0" err="1">
                <a:latin typeface="DanaFaNum" pitchFamily="2" charset="-78"/>
                <a:cs typeface="DanaFaNum" pitchFamily="2" charset="-78"/>
              </a:rPr>
              <a:t>کاتد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 مس در بورس لندن به همراه روند میزان موجودی انبار بورس لندن آورده شده است. طی ماه قبل موجودی انبار 17،985 تن کاهش داشته است.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25C147D-B6E5-4B81-8440-F40DF2B8F3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3130698"/>
              </p:ext>
            </p:extLst>
          </p:nvPr>
        </p:nvGraphicFramePr>
        <p:xfrm>
          <a:off x="609809" y="822288"/>
          <a:ext cx="11233905" cy="5057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93379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B1C57F2-BE95-4527-BD65-C46F81766442}"/>
              </a:ext>
            </a:extLst>
          </p:cNvPr>
          <p:cNvSpPr txBox="1"/>
          <p:nvPr/>
        </p:nvSpPr>
        <p:spPr>
          <a:xfrm>
            <a:off x="6995604" y="58338"/>
            <a:ext cx="5196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a-IR" dirty="0">
                <a:latin typeface="DanaFaNum Black" pitchFamily="2" charset="-78"/>
                <a:cs typeface="DanaFaNum Black" pitchFamily="2" charset="-78"/>
              </a:rPr>
              <a:t>دلار کشف شده </a:t>
            </a:r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شمش</a:t>
            </a:r>
            <a:r>
              <a:rPr lang="fa-IR" dirty="0">
                <a:latin typeface="DanaFaNum Black" pitchFamily="2" charset="-78"/>
                <a:cs typeface="DanaFaNum Black" pitchFamily="2" charset="-78"/>
              </a:rPr>
              <a:t> فولاد خوزستان در بورس کالا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98A9BA7-BBF9-4ADC-A4C6-75FC3C3A37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D406453-E8E1-41BD-8B37-3955631053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363" y="1104270"/>
            <a:ext cx="11301274" cy="449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0127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B1C57F2-BE95-4527-BD65-C46F81766442}"/>
              </a:ext>
            </a:extLst>
          </p:cNvPr>
          <p:cNvSpPr txBox="1"/>
          <p:nvPr/>
        </p:nvSpPr>
        <p:spPr>
          <a:xfrm>
            <a:off x="6995604" y="58338"/>
            <a:ext cx="5196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a-IR" dirty="0">
                <a:latin typeface="DanaFaNum Black" pitchFamily="2" charset="-78"/>
                <a:cs typeface="DanaFaNum Black" pitchFamily="2" charset="-78"/>
              </a:rPr>
              <a:t>دلار کشف شده </a:t>
            </a:r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کاتد</a:t>
            </a:r>
            <a:r>
              <a:rPr lang="fa-IR" dirty="0">
                <a:latin typeface="DanaFaNum Black" pitchFamily="2" charset="-78"/>
                <a:cs typeface="DanaFaNum Black" pitchFamily="2" charset="-78"/>
              </a:rPr>
              <a:t> مس در بورس کالا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98A9BA7-BBF9-4ADC-A4C6-75FC3C3A37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546220B-F13E-4A74-B0ED-E4AD378412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884" y="1219521"/>
            <a:ext cx="11545664" cy="4418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0065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7CE0B18-2492-4ED0-8137-E44B647D5F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3A9A491-7EE8-4FD7-B2AB-B00A932AD3E8}"/>
              </a:ext>
            </a:extLst>
          </p:cNvPr>
          <p:cNvSpPr txBox="1"/>
          <p:nvPr/>
        </p:nvSpPr>
        <p:spPr>
          <a:xfrm>
            <a:off x="8424909" y="58338"/>
            <a:ext cx="3767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a-IR" dirty="0">
                <a:latin typeface="DanaFaNum Black" pitchFamily="2" charset="-78"/>
                <a:cs typeface="DanaFaNum Black" pitchFamily="2" charset="-78"/>
              </a:rPr>
              <a:t>دلار کشف شده سکه امامی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7683D3-DAD5-476C-93F5-D7BFAD4DF5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190" y="1236633"/>
            <a:ext cx="11203619" cy="438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525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F18F11B-2068-1156-0C21-B984287CD6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D21F059-717F-1919-F618-3D63457EEFD7}"/>
              </a:ext>
            </a:extLst>
          </p:cNvPr>
          <p:cNvSpPr txBox="1"/>
          <p:nvPr/>
        </p:nvSpPr>
        <p:spPr>
          <a:xfrm>
            <a:off x="7053943" y="2564815"/>
            <a:ext cx="410724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>
              <a:lnSpc>
                <a:spcPct val="150000"/>
              </a:lnSpc>
            </a:pPr>
            <a:r>
              <a:rPr lang="fa-IR" sz="2400" dirty="0">
                <a:solidFill>
                  <a:schemeClr val="bg1"/>
                </a:solidFill>
                <a:latin typeface="Dana Medium" pitchFamily="2" charset="-78"/>
                <a:cs typeface="Dana Medium" pitchFamily="2" charset="-78"/>
              </a:rPr>
              <a:t>بخش اول</a:t>
            </a:r>
          </a:p>
          <a:p>
            <a:pPr algn="ctr" rtl="1">
              <a:lnSpc>
                <a:spcPct val="150000"/>
              </a:lnSpc>
            </a:pPr>
            <a:r>
              <a:rPr lang="fa-IR" sz="2400" dirty="0">
                <a:solidFill>
                  <a:schemeClr val="bg1"/>
                </a:solidFill>
                <a:latin typeface="DanaFaNum Black" pitchFamily="2" charset="-78"/>
                <a:cs typeface="DanaFaNum Black" pitchFamily="2" charset="-78"/>
              </a:rPr>
              <a:t>بازار سرمایه</a:t>
            </a:r>
            <a:endParaRPr lang="en-US" sz="2400" dirty="0">
              <a:solidFill>
                <a:schemeClr val="bg1"/>
              </a:solidFill>
              <a:latin typeface="DanaFaNum Black" pitchFamily="2" charset="-78"/>
              <a:cs typeface="DanaFaNum Black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A1EDB-22D7-8648-869B-105893D902DC}"/>
              </a:ext>
            </a:extLst>
          </p:cNvPr>
          <p:cNvSpPr/>
          <p:nvPr/>
        </p:nvSpPr>
        <p:spPr>
          <a:xfrm rot="18900000">
            <a:off x="11190168" y="2910308"/>
            <a:ext cx="62130" cy="62130"/>
          </a:xfrm>
          <a:prstGeom prst="rect">
            <a:avLst/>
          </a:prstGeom>
          <a:solidFill>
            <a:srgbClr val="2AAA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617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F18F11B-2068-1156-0C21-B984287CD6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D21F059-717F-1919-F618-3D63457EEFD7}"/>
              </a:ext>
            </a:extLst>
          </p:cNvPr>
          <p:cNvSpPr txBox="1"/>
          <p:nvPr/>
        </p:nvSpPr>
        <p:spPr>
          <a:xfrm>
            <a:off x="5955278" y="2582570"/>
            <a:ext cx="5222022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a-IR" sz="2400" dirty="0">
                <a:solidFill>
                  <a:schemeClr val="bg1"/>
                </a:solidFill>
                <a:latin typeface="Dana Medium" pitchFamily="2" charset="-78"/>
                <a:cs typeface="Dana Medium" pitchFamily="2" charset="-78"/>
              </a:rPr>
              <a:t>بخش سوم</a:t>
            </a:r>
          </a:p>
          <a:p>
            <a:pPr algn="ctr" rtl="1">
              <a:lnSpc>
                <a:spcPct val="150000"/>
              </a:lnSpc>
            </a:pPr>
            <a:r>
              <a:rPr lang="fa-IR" sz="2400" dirty="0">
                <a:solidFill>
                  <a:schemeClr val="bg1"/>
                </a:solidFill>
                <a:latin typeface="DanaFaNum Black" pitchFamily="2" charset="-78"/>
                <a:cs typeface="DanaFaNum Black" pitchFamily="2" charset="-78"/>
              </a:rPr>
              <a:t>ملی صنایع مس ایران در بازار سرمایه</a:t>
            </a:r>
            <a:endParaRPr lang="en-US" sz="2400" dirty="0">
              <a:solidFill>
                <a:schemeClr val="bg1"/>
              </a:solidFill>
              <a:latin typeface="DanaFaNum Black" pitchFamily="2" charset="-78"/>
              <a:cs typeface="DanaFaNum Black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A1EDB-22D7-8648-869B-105893D902DC}"/>
              </a:ext>
            </a:extLst>
          </p:cNvPr>
          <p:cNvSpPr/>
          <p:nvPr/>
        </p:nvSpPr>
        <p:spPr>
          <a:xfrm rot="18900000">
            <a:off x="11190168" y="2910308"/>
            <a:ext cx="62130" cy="62130"/>
          </a:xfrm>
          <a:prstGeom prst="rect">
            <a:avLst/>
          </a:prstGeom>
          <a:solidFill>
            <a:srgbClr val="2AAA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5332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56A398-FFFF-4FA7-81A3-07EDAC9CBFD7}"/>
              </a:ext>
            </a:extLst>
          </p:cNvPr>
          <p:cNvSpPr txBox="1"/>
          <p:nvPr/>
        </p:nvSpPr>
        <p:spPr>
          <a:xfrm>
            <a:off x="8634178" y="58338"/>
            <a:ext cx="355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a-IR" dirty="0">
                <a:solidFill>
                  <a:prstClr val="black"/>
                </a:solidFill>
                <a:latin typeface="DanaFaNum Black" pitchFamily="2" charset="-78"/>
                <a:cs typeface="DanaFaNum Black" pitchFamily="2" charset="-78"/>
              </a:rPr>
              <a:t>تغییرات قیمت نماد </a:t>
            </a:r>
            <a:r>
              <a:rPr lang="fa-IR" dirty="0" err="1">
                <a:solidFill>
                  <a:prstClr val="black"/>
                </a:solidFill>
                <a:latin typeface="DanaFaNum Black" pitchFamily="2" charset="-78"/>
                <a:cs typeface="DanaFaNum Black" pitchFamily="2" charset="-78"/>
              </a:rPr>
              <a:t>فملی</a:t>
            </a:r>
            <a:endParaRPr kumimoji="0" lang="en-US" sz="1800" b="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FD3C3ED-E581-43E2-A97B-3EF62A685B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568F21D-810F-4B34-8CAA-C5CD496460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0092879"/>
              </p:ext>
            </p:extLst>
          </p:nvPr>
        </p:nvGraphicFramePr>
        <p:xfrm>
          <a:off x="213064" y="815283"/>
          <a:ext cx="6729274" cy="5724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2193D2A2-0B02-4BE0-AA90-220AECC518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4924180"/>
              </p:ext>
            </p:extLst>
          </p:nvPr>
        </p:nvGraphicFramePr>
        <p:xfrm>
          <a:off x="6533964" y="2123815"/>
          <a:ext cx="5444971" cy="3365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8450F98-6F71-4A90-AEEE-7DDD219404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0633331"/>
              </p:ext>
            </p:extLst>
          </p:nvPr>
        </p:nvGraphicFramePr>
        <p:xfrm>
          <a:off x="8137375" y="879799"/>
          <a:ext cx="2870200" cy="657225"/>
        </p:xfrm>
        <a:graphic>
          <a:graphicData uri="http://schemas.openxmlformats.org/drawingml/2006/table">
            <a:tbl>
              <a:tblPr rtl="1"/>
              <a:tblGrid>
                <a:gridCol w="1435100">
                  <a:extLst>
                    <a:ext uri="{9D8B030D-6E8A-4147-A177-3AD203B41FA5}">
                      <a16:colId xmlns:a16="http://schemas.microsoft.com/office/drawing/2014/main" val="1107376343"/>
                    </a:ext>
                  </a:extLst>
                </a:gridCol>
                <a:gridCol w="1435100">
                  <a:extLst>
                    <a:ext uri="{9D8B030D-6E8A-4147-A177-3AD203B41FA5}">
                      <a16:colId xmlns:a16="http://schemas.microsoft.com/office/drawing/2014/main" val="2654051224"/>
                    </a:ext>
                  </a:extLst>
                </a:gridCol>
              </a:tblGrid>
              <a:tr h="219075">
                <a:tc>
                  <a:txBody>
                    <a:bodyPr/>
                    <a:lstStyle/>
                    <a:p>
                      <a:pPr algn="ctr" rtl="1" fontAlgn="b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بازدهی از ابتدای سال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41.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301967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rtl="1" fontAlgn="b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بازدهی هفته اخیر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0.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752943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rtl="1" fontAlgn="b"/>
                      <a:r>
                        <a:rPr lang="fa-IR" sz="10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بازدهی ماه اخیر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9.2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0096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71647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56A398-FFFF-4FA7-81A3-07EDAC9CBFD7}"/>
              </a:ext>
            </a:extLst>
          </p:cNvPr>
          <p:cNvSpPr txBox="1"/>
          <p:nvPr/>
        </p:nvSpPr>
        <p:spPr>
          <a:xfrm>
            <a:off x="6126481" y="58338"/>
            <a:ext cx="606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a-IR" dirty="0">
                <a:solidFill>
                  <a:prstClr val="black"/>
                </a:solidFill>
                <a:latin typeface="DanaFaNum Black" pitchFamily="2" charset="-78"/>
                <a:cs typeface="DanaFaNum Black" pitchFamily="2" charset="-78"/>
              </a:rPr>
              <a:t>نسبت های قیمت به سود و قیمت به درآمد گذشته نگر</a:t>
            </a:r>
            <a:endParaRPr kumimoji="0" lang="en-US" sz="1800" b="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FD3C3ED-E581-43E2-A97B-3EF62A685B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F05867E7-560C-4528-ABCC-74DDCDAAA9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8976131"/>
              </p:ext>
            </p:extLst>
          </p:nvPr>
        </p:nvGraphicFramePr>
        <p:xfrm>
          <a:off x="330194" y="1926770"/>
          <a:ext cx="5750543" cy="4546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5995D4AE-DAC6-44F6-B2B9-0A1D4633F0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7373156"/>
              </p:ext>
            </p:extLst>
          </p:nvPr>
        </p:nvGraphicFramePr>
        <p:xfrm>
          <a:off x="6233995" y="581304"/>
          <a:ext cx="5686357" cy="4212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60558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7CE0B18-2492-4ED0-8137-E44B647D5F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3A9A491-7EE8-4FD7-B2AB-B00A932AD3E8}"/>
              </a:ext>
            </a:extLst>
          </p:cNvPr>
          <p:cNvSpPr txBox="1"/>
          <p:nvPr/>
        </p:nvSpPr>
        <p:spPr>
          <a:xfrm>
            <a:off x="8424909" y="58338"/>
            <a:ext cx="3767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a-IR" dirty="0">
                <a:latin typeface="DanaFaNum Black" pitchFamily="2" charset="-78"/>
                <a:cs typeface="DanaFaNum Black" pitchFamily="2" charset="-78"/>
              </a:rPr>
              <a:t>ارزش </a:t>
            </a:r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معاملات</a:t>
            </a:r>
            <a:r>
              <a:rPr lang="fa-IR" dirty="0">
                <a:latin typeface="DanaFaNum Black" pitchFamily="2" charset="-78"/>
                <a:cs typeface="DanaFaNum Black" pitchFamily="2" charset="-78"/>
              </a:rPr>
              <a:t> نماد </a:t>
            </a:r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فملی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4D8425D5-1E48-4EB8-B7E3-E1713C50F3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2267217"/>
              </p:ext>
            </p:extLst>
          </p:nvPr>
        </p:nvGraphicFramePr>
        <p:xfrm>
          <a:off x="6356412" y="243004"/>
          <a:ext cx="5943853" cy="4131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EFB8402-DA54-4F90-89FA-61460E5021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909775"/>
              </p:ext>
            </p:extLst>
          </p:nvPr>
        </p:nvGraphicFramePr>
        <p:xfrm>
          <a:off x="0" y="2969302"/>
          <a:ext cx="6605588" cy="36456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181250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7CE0B18-2492-4ED0-8137-E44B647D5F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3A9A491-7EE8-4FD7-B2AB-B00A932AD3E8}"/>
              </a:ext>
            </a:extLst>
          </p:cNvPr>
          <p:cNvSpPr txBox="1"/>
          <p:nvPr/>
        </p:nvSpPr>
        <p:spPr>
          <a:xfrm>
            <a:off x="8424909" y="58338"/>
            <a:ext cx="3767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a-IR" dirty="0">
                <a:latin typeface="DanaFaNum Black" pitchFamily="2" charset="-78"/>
                <a:cs typeface="DanaFaNum Black" pitchFamily="2" charset="-78"/>
              </a:rPr>
              <a:t>میزان ورود پول در نماد </a:t>
            </a:r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فملی</a:t>
            </a:r>
            <a:r>
              <a:rPr lang="fa-IR" dirty="0">
                <a:latin typeface="DanaFaNum Black" pitchFamily="2" charset="-78"/>
                <a:cs typeface="DanaFaNum Black" pitchFamily="2" charset="-78"/>
              </a:rPr>
              <a:t> 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2C74572-2847-4E64-8595-089E131E20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895668"/>
              </p:ext>
            </p:extLst>
          </p:nvPr>
        </p:nvGraphicFramePr>
        <p:xfrm>
          <a:off x="176935" y="2272683"/>
          <a:ext cx="5396109" cy="39416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6C1E909-A5AC-4538-A0EF-E588D7ED58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3982744"/>
              </p:ext>
            </p:extLst>
          </p:nvPr>
        </p:nvGraphicFramePr>
        <p:xfrm>
          <a:off x="5325486" y="581304"/>
          <a:ext cx="6796111" cy="3821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18670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7CE0B18-2492-4ED0-8137-E44B647D5F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3A9A491-7EE8-4FD7-B2AB-B00A932AD3E8}"/>
              </a:ext>
            </a:extLst>
          </p:cNvPr>
          <p:cNvSpPr txBox="1"/>
          <p:nvPr/>
        </p:nvSpPr>
        <p:spPr>
          <a:xfrm>
            <a:off x="8424909" y="58338"/>
            <a:ext cx="3767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fa-IR" dirty="0">
                <a:latin typeface="DanaFaNum Black" pitchFamily="2" charset="-78"/>
                <a:cs typeface="DanaFaNum Black" pitchFamily="2" charset="-78"/>
              </a:rPr>
              <a:t>بورس کالا – </a:t>
            </a:r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معاملات</a:t>
            </a:r>
            <a:r>
              <a:rPr lang="fa-IR" dirty="0">
                <a:latin typeface="DanaFaNum Black" pitchFamily="2" charset="-78"/>
                <a:cs typeface="DanaFaNum Black" pitchFamily="2" charset="-78"/>
              </a:rPr>
              <a:t> ماهانه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9B729E0A-BDD8-4ED1-938C-607DBC7490A9}"/>
              </a:ext>
            </a:extLst>
          </p:cNvPr>
          <p:cNvSpPr txBox="1"/>
          <p:nvPr/>
        </p:nvSpPr>
        <p:spPr>
          <a:xfrm>
            <a:off x="62144" y="5801868"/>
            <a:ext cx="11781570" cy="75323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just" rtl="1">
              <a:lnSpc>
                <a:spcPct val="150000"/>
              </a:lnSpc>
            </a:pPr>
            <a:r>
              <a:rPr lang="fa-IR" sz="1000" dirty="0">
                <a:latin typeface="DanaFaNum" pitchFamily="2" charset="-78"/>
                <a:cs typeface="DanaFaNum" pitchFamily="2" charset="-78"/>
              </a:rPr>
              <a:t>در</a:t>
            </a:r>
            <a:r>
              <a:rPr lang="en-US" sz="1000" dirty="0">
                <a:latin typeface="DanaFaNum" pitchFamily="2" charset="-78"/>
                <a:cs typeface="DanaFaNum" pitchFamily="2" charset="-78"/>
              </a:rPr>
              <a:t> 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نمودار</a:t>
            </a:r>
            <a:r>
              <a:rPr lang="en-US" sz="1000" dirty="0">
                <a:latin typeface="DanaFaNum" pitchFamily="2" charset="-78"/>
                <a:cs typeface="DanaFaNum" pitchFamily="2" charset="-78"/>
              </a:rPr>
              <a:t> 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بالا روند </a:t>
            </a:r>
            <a:r>
              <a:rPr lang="fa-IR" sz="1000" dirty="0" err="1">
                <a:latin typeface="DanaFaNum" pitchFamily="2" charset="-78"/>
                <a:cs typeface="DanaFaNum" pitchFamily="2" charset="-78"/>
              </a:rPr>
              <a:t>معاملات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 ماهانه </a:t>
            </a:r>
            <a:r>
              <a:rPr lang="fa-IR" sz="1000" dirty="0" err="1">
                <a:latin typeface="DanaFaNum" pitchFamily="2" charset="-78"/>
                <a:cs typeface="DanaFaNum" pitchFamily="2" charset="-78"/>
              </a:rPr>
              <a:t>کاتد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 مس در بورس کالا آورده شده است. </a:t>
            </a:r>
          </a:p>
          <a:p>
            <a:pPr algn="just" rtl="1">
              <a:lnSpc>
                <a:spcPct val="150000"/>
              </a:lnSpc>
            </a:pPr>
            <a:r>
              <a:rPr lang="fa-IR" sz="1000" dirty="0">
                <a:latin typeface="DanaFaNum" pitchFamily="2" charset="-78"/>
                <a:cs typeface="DanaFaNum" pitchFamily="2" charset="-78"/>
              </a:rPr>
              <a:t>در ماه اسفند مجموعا 6000 تن تاکنون عرضه </a:t>
            </a:r>
            <a:r>
              <a:rPr lang="fa-IR" sz="1000" dirty="0" err="1">
                <a:latin typeface="DanaFaNum" pitchFamily="2" charset="-78"/>
                <a:cs typeface="DanaFaNum" pitchFamily="2" charset="-78"/>
              </a:rPr>
              <a:t>کاتد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 توسط شرکت ملی صنایع مس صورت گرفت و کل تقاضا به میزان 7520  تن  بود و با میانگین قیمت 7918344 ریال معامله گردید.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2705062"/>
              </p:ext>
            </p:extLst>
          </p:nvPr>
        </p:nvGraphicFramePr>
        <p:xfrm>
          <a:off x="1263172" y="669223"/>
          <a:ext cx="9665656" cy="5070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753795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8"/>
            <a:ext cx="12192000" cy="876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7CE0B18-2492-4ED0-8137-E44B647D5F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3A9A491-7EE8-4FD7-B2AB-B00A932AD3E8}"/>
              </a:ext>
            </a:extLst>
          </p:cNvPr>
          <p:cNvSpPr txBox="1"/>
          <p:nvPr/>
        </p:nvSpPr>
        <p:spPr>
          <a:xfrm>
            <a:off x="8424909" y="58338"/>
            <a:ext cx="3767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fa-IR" dirty="0">
                <a:latin typeface="DanaFaNum Black" pitchFamily="2" charset="-78"/>
                <a:cs typeface="DanaFaNum Black" pitchFamily="2" charset="-78"/>
              </a:rPr>
              <a:t>بورس کالا - </a:t>
            </a:r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معاملات</a:t>
            </a:r>
            <a:r>
              <a:rPr lang="fa-IR" dirty="0">
                <a:latin typeface="DanaFaNum Black" pitchFamily="2" charset="-78"/>
                <a:cs typeface="DanaFaNum Black" pitchFamily="2" charset="-78"/>
              </a:rPr>
              <a:t> هفتگی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C49E525B-2658-4543-92ED-D50AA18AEDBA}"/>
              </a:ext>
            </a:extLst>
          </p:cNvPr>
          <p:cNvSpPr txBox="1"/>
          <p:nvPr/>
        </p:nvSpPr>
        <p:spPr>
          <a:xfrm>
            <a:off x="160968" y="5668316"/>
            <a:ext cx="11870063" cy="58156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 rtl="1">
              <a:lnSpc>
                <a:spcPct val="150000"/>
              </a:lnSpc>
            </a:pPr>
            <a:r>
              <a:rPr lang="fa-IR" sz="1000" dirty="0">
                <a:latin typeface="DanaFaNum" pitchFamily="2" charset="-78"/>
                <a:cs typeface="DanaFaNum" pitchFamily="2" charset="-78"/>
              </a:rPr>
              <a:t>در هفته گذشته در بورس کالا معامله </a:t>
            </a:r>
            <a:r>
              <a:rPr lang="fa-IR" sz="1000" dirty="0" err="1">
                <a:latin typeface="DanaFaNum" pitchFamily="2" charset="-78"/>
                <a:cs typeface="DanaFaNum" pitchFamily="2" charset="-78"/>
              </a:rPr>
              <a:t>کاتد</a:t>
            </a:r>
            <a:r>
              <a:rPr lang="fa-IR" sz="1000" dirty="0">
                <a:latin typeface="DanaFaNum" pitchFamily="2" charset="-78"/>
                <a:cs typeface="DanaFaNum" pitchFamily="2" charset="-78"/>
              </a:rPr>
              <a:t>  صورت نگرفت . </a:t>
            </a:r>
            <a:endParaRPr lang="en-US" sz="1000" dirty="0">
              <a:latin typeface="DanaFaNum" pitchFamily="2" charset="-78"/>
              <a:cs typeface="DanaFaNum" pitchFamily="2" charset="-78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0191933"/>
              </p:ext>
            </p:extLst>
          </p:nvPr>
        </p:nvGraphicFramePr>
        <p:xfrm>
          <a:off x="1589845" y="759812"/>
          <a:ext cx="8840957" cy="4888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477454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2D34D87-2F7C-65F6-EF55-5F611B5097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E9E1248-71B6-6052-5DB0-551E82C135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2698" y="1131924"/>
            <a:ext cx="1219200" cy="18634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5A97EE3-B8EE-46D6-8843-3167A3081711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5364" y="3811089"/>
            <a:ext cx="1020933" cy="106567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3">
            <a:extLst>
              <a:ext uri="{FF2B5EF4-FFF2-40B4-BE49-F238E27FC236}">
                <a16:creationId xmlns:a16="http://schemas.microsoft.com/office/drawing/2014/main" id="{C8331499-0B2A-420C-A98A-C5BF43880A11}"/>
              </a:ext>
            </a:extLst>
          </p:cNvPr>
          <p:cNvSpPr txBox="1"/>
          <p:nvPr/>
        </p:nvSpPr>
        <p:spPr>
          <a:xfrm>
            <a:off x="5460046" y="3722604"/>
            <a:ext cx="2491105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algn="ctr" rtl="1" fontAlgn="base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fa-IR" sz="1200" kern="1200" dirty="0">
                <a:solidFill>
                  <a:srgbClr val="FFFFFF"/>
                </a:solidFill>
                <a:effectLst/>
                <a:latin typeface="DanaFaNum" pitchFamily="2" charset="-78"/>
                <a:cs typeface="DanaFaNum" pitchFamily="2" charset="-78"/>
              </a:rPr>
              <a:t>ایمیل: </a:t>
            </a:r>
            <a:r>
              <a:rPr lang="en-US" sz="1000" kern="1200" dirty="0">
                <a:solidFill>
                  <a:srgbClr val="FFFFFF"/>
                </a:solidFill>
                <a:effectLst/>
                <a:latin typeface="DanaFaNum" pitchFamily="2" charset="-78"/>
                <a:cs typeface="DanaFaNum" pitchFamily="2" charset="-78"/>
              </a:rPr>
              <a:t>info@kimiafg.com</a:t>
            </a:r>
            <a:endParaRPr lang="en-US" sz="1200" dirty="0">
              <a:effectLst/>
              <a:latin typeface="DanaFaNum" pitchFamily="2" charset="-78"/>
              <a:ea typeface="Calibri" panose="020F0502020204030204" pitchFamily="34" charset="0"/>
              <a:cs typeface="DanaFaNum" pitchFamily="2" charset="-78"/>
            </a:endParaRPr>
          </a:p>
          <a:p>
            <a:pPr marL="0" marR="0" algn="ctr" rtl="1" fontAlgn="base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fa-IR" sz="1200" kern="1200" dirty="0">
                <a:solidFill>
                  <a:srgbClr val="FFFFFF"/>
                </a:solidFill>
                <a:effectLst/>
                <a:latin typeface="DanaFaNum" pitchFamily="2" charset="-78"/>
                <a:cs typeface="DanaFaNum" pitchFamily="2" charset="-78"/>
              </a:rPr>
              <a:t>تماس: 58619000 - 21</a:t>
            </a:r>
            <a:endParaRPr lang="en-US" sz="1200" dirty="0">
              <a:effectLst/>
              <a:latin typeface="DanaFaNum" pitchFamily="2" charset="-78"/>
              <a:ea typeface="Calibri" panose="020F0502020204030204" pitchFamily="34" charset="0"/>
              <a:cs typeface="DanaFaNum" pitchFamily="2" charset="-78"/>
            </a:endParaRPr>
          </a:p>
          <a:p>
            <a:pPr marL="0" marR="0" algn="ctr" rtl="1" fontAlgn="base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fa-IR" sz="1200" kern="1200" dirty="0">
                <a:solidFill>
                  <a:srgbClr val="FFFFFF"/>
                </a:solidFill>
                <a:effectLst/>
                <a:latin typeface="DanaFaNum" pitchFamily="2" charset="-78"/>
                <a:cs typeface="DanaFaNum" pitchFamily="2" charset="-78"/>
              </a:rPr>
              <a:t>دور نگار: 8047293 - 21</a:t>
            </a:r>
            <a:endParaRPr lang="en-US" sz="1200" dirty="0">
              <a:effectLst/>
              <a:latin typeface="DanaFaNum" pitchFamily="2" charset="-78"/>
              <a:ea typeface="Calibri" panose="020F0502020204030204" pitchFamily="34" charset="0"/>
              <a:cs typeface="DanaFaNum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61523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56A398-FFFF-4FA7-81A3-07EDAC9CBFD7}"/>
              </a:ext>
            </a:extLst>
          </p:cNvPr>
          <p:cNvSpPr txBox="1"/>
          <p:nvPr/>
        </p:nvSpPr>
        <p:spPr>
          <a:xfrm>
            <a:off x="8634178" y="58338"/>
            <a:ext cx="355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a-IR" sz="18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naFaNum Black" pitchFamily="2" charset="-78"/>
                <a:cs typeface="DanaFaNum Black" pitchFamily="2" charset="-78"/>
              </a:rPr>
              <a:t>شاخص کل</a:t>
            </a:r>
            <a:endParaRPr kumimoji="0" lang="en-US" sz="1800" b="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9054EF-A141-4750-8EE4-4234F0C865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99" y="206248"/>
            <a:ext cx="11666779" cy="676600"/>
          </a:xfrm>
          <a:prstGeom prst="rect">
            <a:avLst/>
          </a:prstGeom>
        </p:spPr>
      </p:pic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0F45589-8217-46B3-82E6-E25F52DC64F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3429322"/>
              </p:ext>
            </p:extLst>
          </p:nvPr>
        </p:nvGraphicFramePr>
        <p:xfrm>
          <a:off x="78876" y="569131"/>
          <a:ext cx="6144146" cy="5725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BFC1E7C-1C70-44FB-AAF0-65596A7921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745710"/>
              </p:ext>
            </p:extLst>
          </p:nvPr>
        </p:nvGraphicFramePr>
        <p:xfrm>
          <a:off x="6301898" y="1525470"/>
          <a:ext cx="5420384" cy="4877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C18697F-AAE9-44C3-9C53-B385542EC4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6337370"/>
              </p:ext>
            </p:extLst>
          </p:nvPr>
        </p:nvGraphicFramePr>
        <p:xfrm>
          <a:off x="9467278" y="575580"/>
          <a:ext cx="2438400" cy="657225"/>
        </p:xfrm>
        <a:graphic>
          <a:graphicData uri="http://schemas.openxmlformats.org/drawingml/2006/table">
            <a:tbl>
              <a:tblPr rtl="1"/>
              <a:tblGrid>
                <a:gridCol w="1384300">
                  <a:extLst>
                    <a:ext uri="{9D8B030D-6E8A-4147-A177-3AD203B41FA5}">
                      <a16:colId xmlns:a16="http://schemas.microsoft.com/office/drawing/2014/main" val="386306957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2176114046"/>
                    </a:ext>
                  </a:extLst>
                </a:gridCol>
              </a:tblGrid>
              <a:tr h="2190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>
                          <a:solidFill>
                            <a:srgbClr val="333333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بازدهی از ابتدای سال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17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830378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>
                          <a:solidFill>
                            <a:srgbClr val="333333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بازدهی هفته اخیر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3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1753943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>
                          <a:solidFill>
                            <a:srgbClr val="333333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بازدهی یک ماه گذشته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333333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4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471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0456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56A398-FFFF-4FA7-81A3-07EDAC9CBFD7}"/>
              </a:ext>
            </a:extLst>
          </p:cNvPr>
          <p:cNvSpPr txBox="1"/>
          <p:nvPr/>
        </p:nvSpPr>
        <p:spPr>
          <a:xfrm>
            <a:off x="8634178" y="61871"/>
            <a:ext cx="355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a-IR" sz="18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naFaNum Black" pitchFamily="2" charset="-78"/>
                <a:cs typeface="DanaFaNum Black" pitchFamily="2" charset="-78"/>
              </a:rPr>
              <a:t>ارزش </a:t>
            </a:r>
            <a:r>
              <a:rPr kumimoji="0" lang="fa-IR" sz="1800" b="0" i="0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naFaNum Black" pitchFamily="2" charset="-78"/>
                <a:cs typeface="DanaFaNum Black" pitchFamily="2" charset="-78"/>
              </a:rPr>
              <a:t>معاملات</a:t>
            </a:r>
            <a:endParaRPr kumimoji="0" lang="en-US" sz="1800" b="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FD3C3ED-E581-43E2-A97B-3EF62A685B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814ACAD-7B5D-43DC-BA90-172820EEC6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9566194"/>
              </p:ext>
            </p:extLst>
          </p:nvPr>
        </p:nvGraphicFramePr>
        <p:xfrm>
          <a:off x="1003177" y="924645"/>
          <a:ext cx="10511954" cy="5114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53021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56A398-FFFF-4FA7-81A3-07EDAC9CBFD7}"/>
              </a:ext>
            </a:extLst>
          </p:cNvPr>
          <p:cNvSpPr txBox="1"/>
          <p:nvPr/>
        </p:nvSpPr>
        <p:spPr>
          <a:xfrm>
            <a:off x="7749767" y="58338"/>
            <a:ext cx="4442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a-IR" sz="18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naFaNum Black" pitchFamily="2" charset="-78"/>
                <a:cs typeface="DanaFaNum Black" pitchFamily="2" charset="-78"/>
              </a:rPr>
              <a:t>میانگین ارزش </a:t>
            </a:r>
            <a:r>
              <a:rPr kumimoji="0" lang="fa-IR" sz="1800" b="0" i="0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naFaNum Black" pitchFamily="2" charset="-78"/>
                <a:cs typeface="DanaFaNum Black" pitchFamily="2" charset="-78"/>
              </a:rPr>
              <a:t>معاملات</a:t>
            </a:r>
            <a:r>
              <a:rPr kumimoji="0" lang="fa-IR" sz="18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naFaNum Black" pitchFamily="2" charset="-78"/>
                <a:cs typeface="DanaFaNum Black" pitchFamily="2" charset="-78"/>
              </a:rPr>
              <a:t> هفتگی و ماهانه </a:t>
            </a:r>
            <a:endParaRPr kumimoji="0" lang="en-US" sz="1800" b="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7F10EF8-543B-4AC5-AB84-563CA6BEAC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1AF776F-49B0-4520-9F43-F9651018C6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9787129"/>
              </p:ext>
            </p:extLst>
          </p:nvPr>
        </p:nvGraphicFramePr>
        <p:xfrm>
          <a:off x="68925" y="1333069"/>
          <a:ext cx="6507950" cy="42862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9557979F-A072-4C69-BE26-39E7C5D11B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9704975"/>
              </p:ext>
            </p:extLst>
          </p:nvPr>
        </p:nvGraphicFramePr>
        <p:xfrm>
          <a:off x="6514731" y="1196656"/>
          <a:ext cx="5438190" cy="3653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385490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56A398-FFFF-4FA7-81A3-07EDAC9CBFD7}"/>
              </a:ext>
            </a:extLst>
          </p:cNvPr>
          <p:cNvSpPr txBox="1"/>
          <p:nvPr/>
        </p:nvSpPr>
        <p:spPr>
          <a:xfrm>
            <a:off x="8634178" y="58338"/>
            <a:ext cx="355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a-IR" dirty="0">
                <a:solidFill>
                  <a:prstClr val="black"/>
                </a:solidFill>
                <a:latin typeface="DanaFaNum Black" pitchFamily="2" charset="-78"/>
                <a:cs typeface="DanaFaNum Black" pitchFamily="2" charset="-78"/>
              </a:rPr>
              <a:t>میزان </a:t>
            </a:r>
            <a:r>
              <a:rPr kumimoji="0" lang="fa-IR" sz="18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naFaNum Black" pitchFamily="2" charset="-78"/>
                <a:cs typeface="DanaFaNum Black" pitchFamily="2" charset="-78"/>
              </a:rPr>
              <a:t>ورود و خروج پول</a:t>
            </a:r>
            <a:endParaRPr kumimoji="0" lang="en-US" sz="1800" b="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7F10EF8-543B-4AC5-AB84-563CA6BEAC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707236E-01E8-435A-8A6A-EDB571C4F4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2570355"/>
              </p:ext>
            </p:extLst>
          </p:nvPr>
        </p:nvGraphicFramePr>
        <p:xfrm>
          <a:off x="176935" y="1709577"/>
          <a:ext cx="7912100" cy="4691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8D52395-ADDC-4771-98CA-F7260830BE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5873564"/>
              </p:ext>
            </p:extLst>
          </p:nvPr>
        </p:nvGraphicFramePr>
        <p:xfrm>
          <a:off x="8021014" y="701015"/>
          <a:ext cx="3822700" cy="800100"/>
        </p:xfrm>
        <a:graphic>
          <a:graphicData uri="http://schemas.openxmlformats.org/drawingml/2006/table">
            <a:tbl>
              <a:tblPr rtl="1"/>
              <a:tblGrid>
                <a:gridCol w="2918576">
                  <a:extLst>
                    <a:ext uri="{9D8B030D-6E8A-4147-A177-3AD203B41FA5}">
                      <a16:colId xmlns:a16="http://schemas.microsoft.com/office/drawing/2014/main" val="716977955"/>
                    </a:ext>
                  </a:extLst>
                </a:gridCol>
                <a:gridCol w="904124">
                  <a:extLst>
                    <a:ext uri="{9D8B030D-6E8A-4147-A177-3AD203B41FA5}">
                      <a16:colId xmlns:a16="http://schemas.microsoft.com/office/drawing/2014/main" val="545597457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rtl="1" fontAlgn="b"/>
                      <a:r>
                        <a:rPr lang="fa-IR" sz="9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 میزان ورود پول از 17 اردیبهشت سال 1402 (میلیون ریال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938,278,3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95655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1" fontAlgn="b"/>
                      <a:r>
                        <a:rPr lang="fa-IR" sz="9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 میزان ورود پول از ابتدای سال 1403 (میلیون ریال)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368,405,5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036379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1" fontAlgn="b"/>
                      <a:r>
                        <a:rPr lang="fa-IR" sz="9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 میزان ورود پول هفته اخیر (میلیون ریال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33,827,0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40478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1" fontAlgn="b"/>
                      <a:r>
                        <a:rPr lang="fa-IR" sz="900" b="0" i="0" u="none" strike="noStrike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 میزان ورود پول ماه اخیر (میلیون ریال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DanaFaNum" pitchFamily="2" charset="-78"/>
                          <a:cs typeface="DanaFaNum" pitchFamily="2" charset="-78"/>
                        </a:rPr>
                        <a:t>-100,884,3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75860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11277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56A398-FFFF-4FA7-81A3-07EDAC9CBFD7}"/>
              </a:ext>
            </a:extLst>
          </p:cNvPr>
          <p:cNvSpPr txBox="1"/>
          <p:nvPr/>
        </p:nvSpPr>
        <p:spPr>
          <a:xfrm>
            <a:off x="8634178" y="58338"/>
            <a:ext cx="355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a-IR" sz="18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naFaNum Black" pitchFamily="2" charset="-78"/>
                <a:cs typeface="DanaFaNum Black" pitchFamily="2" charset="-78"/>
              </a:rPr>
              <a:t>روند ارزش </a:t>
            </a:r>
            <a:r>
              <a:rPr lang="fa-IR" dirty="0">
                <a:solidFill>
                  <a:prstClr val="black"/>
                </a:solidFill>
                <a:latin typeface="DanaFaNum Black" pitchFamily="2" charset="-78"/>
                <a:cs typeface="DanaFaNum Black" pitchFamily="2" charset="-78"/>
              </a:rPr>
              <a:t>دلاری </a:t>
            </a:r>
            <a:r>
              <a:rPr kumimoji="0" lang="fa-IR" sz="18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naFaNum Black" pitchFamily="2" charset="-78"/>
                <a:cs typeface="DanaFaNum Black" pitchFamily="2" charset="-78"/>
              </a:rPr>
              <a:t>بازار</a:t>
            </a:r>
            <a:endParaRPr kumimoji="0" lang="en-US" sz="1800" b="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A0588ED-4887-4079-98BF-CECBF984FE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EDCC7F3D-D2DD-4379-9CA2-EDE8E920E6B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7623345"/>
              </p:ext>
            </p:extLst>
          </p:nvPr>
        </p:nvGraphicFramePr>
        <p:xfrm>
          <a:off x="814331" y="581304"/>
          <a:ext cx="10391985" cy="5676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390928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56A398-FFFF-4FA7-81A3-07EDAC9CBFD7}"/>
              </a:ext>
            </a:extLst>
          </p:cNvPr>
          <p:cNvSpPr txBox="1"/>
          <p:nvPr/>
        </p:nvSpPr>
        <p:spPr>
          <a:xfrm>
            <a:off x="8634178" y="69200"/>
            <a:ext cx="355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a-IR" dirty="0">
                <a:latin typeface="DanaFaNum Black" pitchFamily="2" charset="-78"/>
                <a:cs typeface="DanaFaNum Black" pitchFamily="2" charset="-78"/>
              </a:rPr>
              <a:t>روند دلار </a:t>
            </a:r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نیمایی</a:t>
            </a:r>
            <a:r>
              <a:rPr lang="fa-IR" dirty="0">
                <a:latin typeface="DanaFaNum Black" pitchFamily="2" charset="-78"/>
                <a:cs typeface="DanaFaNum Black" pitchFamily="2" charset="-78"/>
              </a:rPr>
              <a:t> و دلار آزاد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2A8C4F5-9D6F-4088-861E-9142E3560F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35" y="243004"/>
            <a:ext cx="11666779" cy="676600"/>
          </a:xfrm>
          <a:prstGeom prst="rect">
            <a:avLst/>
          </a:prstGeom>
        </p:spPr>
      </p:pic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E373DC34-85A4-4113-864F-8ABA211D71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5592684"/>
              </p:ext>
            </p:extLst>
          </p:nvPr>
        </p:nvGraphicFramePr>
        <p:xfrm>
          <a:off x="1341776" y="847344"/>
          <a:ext cx="9934575" cy="5572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349377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467A51-8877-4E5F-6D2C-82A1F89C5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80937"/>
            <a:ext cx="12202612" cy="8770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56A398-FFFF-4FA7-81A3-07EDAC9CBFD7}"/>
              </a:ext>
            </a:extLst>
          </p:cNvPr>
          <p:cNvSpPr txBox="1"/>
          <p:nvPr/>
        </p:nvSpPr>
        <p:spPr>
          <a:xfrm>
            <a:off x="8634178" y="69200"/>
            <a:ext cx="355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a-IR" dirty="0">
                <a:latin typeface="DanaFaNum Black" pitchFamily="2" charset="-78"/>
                <a:cs typeface="DanaFaNum Black" pitchFamily="2" charset="-78"/>
              </a:rPr>
              <a:t>اختلاف دلار </a:t>
            </a:r>
            <a:r>
              <a:rPr lang="fa-IR" dirty="0" err="1">
                <a:latin typeface="DanaFaNum Black" pitchFamily="2" charset="-78"/>
                <a:cs typeface="DanaFaNum Black" pitchFamily="2" charset="-78"/>
              </a:rPr>
              <a:t>نیمایی</a:t>
            </a:r>
            <a:r>
              <a:rPr lang="fa-IR" dirty="0">
                <a:latin typeface="DanaFaNum Black" pitchFamily="2" charset="-78"/>
                <a:cs typeface="DanaFaNum Black" pitchFamily="2" charset="-78"/>
              </a:rPr>
              <a:t> و دلار آزاد</a:t>
            </a:r>
            <a:endParaRPr lang="en-US" dirty="0">
              <a:latin typeface="DanaFaNum Black" pitchFamily="2" charset="-78"/>
              <a:cs typeface="DanaFaNum Black" pitchFamily="2" charset="-7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2A8C4F5-9D6F-4088-861E-9142E3560F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938" y="211972"/>
            <a:ext cx="11666779" cy="676600"/>
          </a:xfrm>
          <a:prstGeom prst="rect">
            <a:avLst/>
          </a:prstGeom>
        </p:spPr>
      </p:pic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326AB7B-156C-4672-A8E9-90D470A5BB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1903702"/>
              </p:ext>
            </p:extLst>
          </p:nvPr>
        </p:nvGraphicFramePr>
        <p:xfrm>
          <a:off x="439490" y="677268"/>
          <a:ext cx="11136991" cy="55149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086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hartpool">
  <a:themeElements>
    <a:clrScheme name="Custom 3">
      <a:dk1>
        <a:srgbClr val="000000"/>
      </a:dk1>
      <a:lt1>
        <a:srgbClr val="FFFFFF"/>
      </a:lt1>
      <a:dk2>
        <a:srgbClr val="C3CFE1"/>
      </a:dk2>
      <a:lt2>
        <a:srgbClr val="E6E6E6"/>
      </a:lt2>
      <a:accent1>
        <a:srgbClr val="6685B3"/>
      </a:accent1>
      <a:accent2>
        <a:srgbClr val="FFAA1F"/>
      </a:accent2>
      <a:accent3>
        <a:srgbClr val="969696"/>
      </a:accent3>
      <a:accent4>
        <a:srgbClr val="BEBEBE"/>
      </a:accent4>
      <a:accent5>
        <a:srgbClr val="00337F"/>
      </a:accent5>
      <a:accent6>
        <a:srgbClr val="4F4F4F"/>
      </a:accent6>
      <a:hlink>
        <a:srgbClr val="00337F"/>
      </a:hlink>
      <a:folHlink>
        <a:srgbClr val="4F4F4F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51</TotalTime>
  <Words>994</Words>
  <Application>Microsoft Office PowerPoint</Application>
  <PresentationFormat>Widescreen</PresentationFormat>
  <Paragraphs>343</Paragraphs>
  <Slides>27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0" baseType="lpstr">
      <vt:lpstr>Arial</vt:lpstr>
      <vt:lpstr>Arial Unicode MS</vt:lpstr>
      <vt:lpstr>Calibri</vt:lpstr>
      <vt:lpstr>Calibri Light</vt:lpstr>
      <vt:lpstr>Dana DemiBold</vt:lpstr>
      <vt:lpstr>Dana Medium</vt:lpstr>
      <vt:lpstr>DanaFaNum</vt:lpstr>
      <vt:lpstr>DanaFaNum Black</vt:lpstr>
      <vt:lpstr>DanaFaNum DemiBold</vt:lpstr>
      <vt:lpstr>Wingdings</vt:lpstr>
      <vt:lpstr>Office Theme</vt:lpstr>
      <vt:lpstr>Chartpool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.abbas tgvi</dc:creator>
  <cp:lastModifiedBy>Amir Mohsen. Mehrtash</cp:lastModifiedBy>
  <cp:revision>1009</cp:revision>
  <dcterms:created xsi:type="dcterms:W3CDTF">2023-05-09T10:27:44Z</dcterms:created>
  <dcterms:modified xsi:type="dcterms:W3CDTF">2025-03-17T09:09:43Z</dcterms:modified>
</cp:coreProperties>
</file>